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4"/>
    <p:sldMasterId id="2147483865" r:id="rId5"/>
    <p:sldMasterId id="2147484169" r:id="rId6"/>
    <p:sldMasterId id="2147484303" r:id="rId7"/>
    <p:sldMasterId id="2147484742" r:id="rId8"/>
    <p:sldMasterId id="2147484874" r:id="rId9"/>
    <p:sldMasterId id="2147484938" r:id="rId10"/>
    <p:sldMasterId id="2147484953" r:id="rId11"/>
    <p:sldMasterId id="2147485020" r:id="rId12"/>
    <p:sldMasterId id="2147485085" r:id="rId13"/>
  </p:sldMasterIdLst>
  <p:notesMasterIdLst>
    <p:notesMasterId r:id="rId68"/>
  </p:notesMasterIdLst>
  <p:handoutMasterIdLst>
    <p:handoutMasterId r:id="rId69"/>
  </p:handoutMasterIdLst>
  <p:sldIdLst>
    <p:sldId id="661" r:id="rId14"/>
    <p:sldId id="771" r:id="rId15"/>
    <p:sldId id="1081" r:id="rId16"/>
    <p:sldId id="1082" r:id="rId17"/>
    <p:sldId id="1083" r:id="rId18"/>
    <p:sldId id="1084" r:id="rId19"/>
    <p:sldId id="1070" r:id="rId20"/>
    <p:sldId id="667" r:id="rId21"/>
    <p:sldId id="668" r:id="rId22"/>
    <p:sldId id="669" r:id="rId23"/>
    <p:sldId id="1802" r:id="rId24"/>
    <p:sldId id="672" r:id="rId25"/>
    <p:sldId id="671" r:id="rId26"/>
    <p:sldId id="1795" r:id="rId27"/>
    <p:sldId id="1796" r:id="rId28"/>
    <p:sldId id="1788" r:id="rId29"/>
    <p:sldId id="1789" r:id="rId30"/>
    <p:sldId id="1794" r:id="rId31"/>
    <p:sldId id="1790" r:id="rId32"/>
    <p:sldId id="1791" r:id="rId33"/>
    <p:sldId id="985" r:id="rId34"/>
    <p:sldId id="774" r:id="rId35"/>
    <p:sldId id="727" r:id="rId36"/>
    <p:sldId id="1799" r:id="rId37"/>
    <p:sldId id="885" r:id="rId38"/>
    <p:sldId id="491" r:id="rId39"/>
    <p:sldId id="1126" r:id="rId40"/>
    <p:sldId id="984" r:id="rId41"/>
    <p:sldId id="1079" r:id="rId42"/>
    <p:sldId id="1074" r:id="rId43"/>
    <p:sldId id="1075" r:id="rId44"/>
    <p:sldId id="987" r:id="rId45"/>
    <p:sldId id="724" r:id="rId46"/>
    <p:sldId id="712" r:id="rId47"/>
    <p:sldId id="988" r:id="rId48"/>
    <p:sldId id="1800" r:id="rId49"/>
    <p:sldId id="893" r:id="rId50"/>
    <p:sldId id="892" r:id="rId51"/>
    <p:sldId id="263" r:id="rId52"/>
    <p:sldId id="879" r:id="rId53"/>
    <p:sldId id="880" r:id="rId54"/>
    <p:sldId id="883" r:id="rId55"/>
    <p:sldId id="1797" r:id="rId56"/>
    <p:sldId id="886" r:id="rId57"/>
    <p:sldId id="887" r:id="rId58"/>
    <p:sldId id="888" r:id="rId59"/>
    <p:sldId id="889" r:id="rId60"/>
    <p:sldId id="878" r:id="rId61"/>
    <p:sldId id="882" r:id="rId62"/>
    <p:sldId id="890" r:id="rId63"/>
    <p:sldId id="891" r:id="rId64"/>
    <p:sldId id="650" r:id="rId65"/>
    <p:sldId id="651" r:id="rId66"/>
    <p:sldId id="267" r:id="rId67"/>
  </p:sldIdLst>
  <p:sldSz cx="12192000" cy="6858000"/>
  <p:notesSz cx="7315200" cy="96012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869" userDrawn="1">
          <p15:clr>
            <a:srgbClr val="A4A3A4"/>
          </p15:clr>
        </p15:guide>
        <p15:guide id="11" orient="horz" pos="1616" userDrawn="1">
          <p15:clr>
            <a:srgbClr val="A4A3A4"/>
          </p15:clr>
        </p15:guide>
        <p15:guide id="12" orient="horz" pos="1298" userDrawn="1">
          <p15:clr>
            <a:srgbClr val="A4A3A4"/>
          </p15:clr>
        </p15:guide>
        <p15:guide id="13" orient="horz" pos="2682" userDrawn="1">
          <p15:clr>
            <a:srgbClr val="A4A3A4"/>
          </p15:clr>
        </p15:guide>
        <p15:guide id="14" orient="horz" pos="3090" userDrawn="1">
          <p15:clr>
            <a:srgbClr val="A4A3A4"/>
          </p15:clr>
        </p15:guide>
        <p15:guide id="15" orient="horz" pos="595" userDrawn="1">
          <p15:clr>
            <a:srgbClr val="A4A3A4"/>
          </p15:clr>
        </p15:guide>
        <p15:guide id="16" orient="horz" pos="3521" userDrawn="1">
          <p15:clr>
            <a:srgbClr val="A4A3A4"/>
          </p15:clr>
        </p15:guide>
        <p15:guide id="17" pos="7106" userDrawn="1">
          <p15:clr>
            <a:srgbClr val="A4A3A4"/>
          </p15:clr>
        </p15:guide>
        <p15:guide id="18" orient="horz" pos="240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jdzik, Rachel" initials="GR" lastIdx="6" clrIdx="0">
    <p:extLst>
      <p:ext uri="{19B8F6BF-5375-455C-9EA6-DF929625EA0E}">
        <p15:presenceInfo xmlns:p15="http://schemas.microsoft.com/office/powerpoint/2012/main" userId="S-1-5-21-1807443755-1164125163-14498641-13220" providerId="AD"/>
      </p:ext>
    </p:extLst>
  </p:cmAuthor>
  <p:cmAuthor id="2" name="Windows User" initials="WU" lastIdx="1" clrIdx="1">
    <p:extLst>
      <p:ext uri="{19B8F6BF-5375-455C-9EA6-DF929625EA0E}">
        <p15:presenceInfo xmlns:p15="http://schemas.microsoft.com/office/powerpoint/2012/main" userId="Windows User" providerId="None"/>
      </p:ext>
    </p:extLst>
  </p:cmAuthor>
  <p:cmAuthor id="3" name="Chavez, Braulio" initials="CB" lastIdx="5" clrIdx="2">
    <p:extLst>
      <p:ext uri="{19B8F6BF-5375-455C-9EA6-DF929625EA0E}">
        <p15:presenceInfo xmlns:p15="http://schemas.microsoft.com/office/powerpoint/2012/main" userId="S-1-5-21-1807443755-1164125163-14498641-194259" providerId="AD"/>
      </p:ext>
    </p:extLst>
  </p:cmAuthor>
  <p:cmAuthor id="4" name="Montano Hernandez, Cecilia" initials="MHC" lastIdx="25" clrIdx="3">
    <p:extLst>
      <p:ext uri="{19B8F6BF-5375-455C-9EA6-DF929625EA0E}">
        <p15:presenceInfo xmlns:p15="http://schemas.microsoft.com/office/powerpoint/2012/main" userId="S::cmontanohernandez@deloittemx.com::7b52c93b-9ff2-451c-add0-a1299c3ec759" providerId="AD"/>
      </p:ext>
    </p:extLst>
  </p:cmAuthor>
  <p:cmAuthor id="5" name="Suarez, Jose Carlos" initials="SJC" lastIdx="10" clrIdx="4">
    <p:extLst>
      <p:ext uri="{19B8F6BF-5375-455C-9EA6-DF929625EA0E}">
        <p15:presenceInfo xmlns:p15="http://schemas.microsoft.com/office/powerpoint/2012/main" userId="S-1-5-21-1807443755-1164125163-14498641-1992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D8FF"/>
    <a:srgbClr val="007CB0"/>
    <a:srgbClr val="003E58"/>
    <a:srgbClr val="86BC25"/>
    <a:srgbClr val="09523E"/>
    <a:srgbClr val="26890D"/>
    <a:srgbClr val="40972B"/>
    <a:srgbClr val="95CA4F"/>
    <a:srgbClr val="F26B43"/>
    <a:srgbClr val="C9DD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880" autoAdjust="0"/>
    <p:restoredTop sz="94799" autoAdjust="0"/>
  </p:normalViewPr>
  <p:slideViewPr>
    <p:cSldViewPr snapToGrid="0" showGuides="1">
      <p:cViewPr varScale="1">
        <p:scale>
          <a:sx n="72" d="100"/>
          <a:sy n="72" d="100"/>
        </p:scale>
        <p:origin x="336" y="54"/>
      </p:cViewPr>
      <p:guideLst>
        <p:guide pos="869"/>
        <p:guide orient="horz" pos="1616"/>
        <p:guide orient="horz" pos="1298"/>
        <p:guide orient="horz" pos="2682"/>
        <p:guide orient="horz" pos="3090"/>
        <p:guide orient="horz" pos="595"/>
        <p:guide orient="horz" pos="3521"/>
        <p:guide pos="7106"/>
        <p:guide orient="horz" pos="2409"/>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11352"/>
    </p:cViewPr>
  </p:sorterViewPr>
  <p:notesViewPr>
    <p:cSldViewPr snapToGrid="0" showGuides="1">
      <p:cViewPr varScale="1">
        <p:scale>
          <a:sx n="48" d="100"/>
          <a:sy n="48" d="100"/>
        </p:scale>
        <p:origin x="2862" y="3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48.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9/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º›</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9/2022</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º›</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0682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43558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733338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24640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0642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745634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64502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82663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444127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19E439-0A36-4389-B1D4-036D35E9F4E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444127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A818DFEE-B27E-46D9-A167-96DE0BFC41A3}" type="slidenum">
              <a:rPr lang="es-MX" smtClean="0"/>
              <a:t>30</a:t>
            </a:fld>
            <a:endParaRPr lang="es-MX" dirty="0"/>
          </a:p>
        </p:txBody>
      </p:sp>
    </p:spTree>
    <p:extLst>
      <p:ext uri="{BB962C8B-B14F-4D97-AF65-F5344CB8AC3E}">
        <p14:creationId xmlns:p14="http://schemas.microsoft.com/office/powerpoint/2010/main" val="1615490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73061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A818DFEE-B27E-46D9-A167-96DE0BFC41A3}" type="slidenum">
              <a:rPr lang="es-MX" smtClean="0"/>
              <a:t>31</a:t>
            </a:fld>
            <a:endParaRPr lang="es-MX" dirty="0"/>
          </a:p>
        </p:txBody>
      </p:sp>
    </p:spTree>
    <p:extLst>
      <p:ext uri="{BB962C8B-B14F-4D97-AF65-F5344CB8AC3E}">
        <p14:creationId xmlns:p14="http://schemas.microsoft.com/office/powerpoint/2010/main" val="2162035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60897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76470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2167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4401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42698E6C-7A1C-49AE-83F3-3935FD40B0B8}" type="slidenum">
              <a:rPr lang="en-US" smtClean="0"/>
              <a:t>37</a:t>
            </a:fld>
            <a:endParaRPr lang="en-US"/>
          </a:p>
        </p:txBody>
      </p:sp>
    </p:spTree>
    <p:extLst>
      <p:ext uri="{BB962C8B-B14F-4D97-AF65-F5344CB8AC3E}">
        <p14:creationId xmlns:p14="http://schemas.microsoft.com/office/powerpoint/2010/main" val="1673085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3491985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5"/>
          </p:nvPr>
        </p:nvSpPr>
        <p:spPr/>
        <p:txBody>
          <a:bodyPr/>
          <a:lstStyle/>
          <a:p>
            <a:fld id="{42698E6C-7A1C-49AE-83F3-3935FD40B0B8}" type="slidenum">
              <a:rPr lang="en-US" smtClean="0"/>
              <a:t>39</a:t>
            </a:fld>
            <a:endParaRPr lang="en-US"/>
          </a:p>
        </p:txBody>
      </p:sp>
    </p:spTree>
    <p:extLst>
      <p:ext uri="{BB962C8B-B14F-4D97-AF65-F5344CB8AC3E}">
        <p14:creationId xmlns:p14="http://schemas.microsoft.com/office/powerpoint/2010/main" val="1356277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0</a:t>
            </a:fld>
            <a:endParaRPr lang="en-US" dirty="0"/>
          </a:p>
        </p:txBody>
      </p:sp>
    </p:spTree>
    <p:extLst>
      <p:ext uri="{BB962C8B-B14F-4D97-AF65-F5344CB8AC3E}">
        <p14:creationId xmlns:p14="http://schemas.microsoft.com/office/powerpoint/2010/main" val="9054857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48</a:t>
            </a:fld>
            <a:endParaRPr lang="en-US" dirty="0"/>
          </a:p>
        </p:txBody>
      </p:sp>
    </p:spTree>
    <p:extLst>
      <p:ext uri="{BB962C8B-B14F-4D97-AF65-F5344CB8AC3E}">
        <p14:creationId xmlns:p14="http://schemas.microsoft.com/office/powerpoint/2010/main" val="867061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202423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phia 14</a:t>
            </a:r>
          </a:p>
        </p:txBody>
      </p:sp>
      <p:sp>
        <p:nvSpPr>
          <p:cNvPr id="4" name="Slide Number Placeholder 3"/>
          <p:cNvSpPr>
            <a:spLocks noGrp="1"/>
          </p:cNvSpPr>
          <p:nvPr>
            <p:ph type="sldNum" sz="quarter" idx="10"/>
          </p:nvPr>
        </p:nvSpPr>
        <p:spPr/>
        <p:txBody>
          <a:bodyPr/>
          <a:lstStyle/>
          <a:p>
            <a:fld id="{C0F4A2C8-6C88-4E71-83EE-698B9D4FE22F}" type="slidenum">
              <a:rPr lang="en-US" smtClean="0"/>
              <a:pPr/>
              <a:t>50</a:t>
            </a:fld>
            <a:endParaRPr lang="en-US" dirty="0"/>
          </a:p>
        </p:txBody>
      </p:sp>
    </p:spTree>
    <p:extLst>
      <p:ext uri="{BB962C8B-B14F-4D97-AF65-F5344CB8AC3E}">
        <p14:creationId xmlns:p14="http://schemas.microsoft.com/office/powerpoint/2010/main" val="3128940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657132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Arial" panose="020B0604020202020204" pitchFamily="34" charset="0"/>
                <a:ea typeface="+mn-ea"/>
                <a:cs typeface="+mn-cs"/>
              </a:rPr>
              <a:t>(10:03 a.m. – 10:06 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mn-cs"/>
              </a:rPr>
              <a:t>Panel Introductions (</a:t>
            </a:r>
            <a:r>
              <a:rPr lang="en-US" sz="1200" b="1" kern="1200" dirty="0">
                <a:solidFill>
                  <a:schemeClr val="tx1"/>
                </a:solidFill>
                <a:effectLst/>
                <a:latin typeface="Arial" panose="020B0604020202020204" pitchFamily="34" charset="0"/>
                <a:ea typeface="+mn-ea"/>
                <a:cs typeface="+mn-cs"/>
              </a:rPr>
              <a:t>Point speaker: Kristine Dozier</a:t>
            </a:r>
            <a:r>
              <a:rPr lang="en-US" sz="1200" kern="1200" dirty="0">
                <a:solidFill>
                  <a:schemeClr val="tx1"/>
                </a:solidFill>
                <a:effectLst/>
                <a:latin typeface="Arial" panose="020B0604020202020204" pitchFamily="34" charset="0"/>
                <a:ea typeface="+mn-ea"/>
                <a:cs typeface="+mn-cs"/>
              </a:rPr>
              <a:t>) – 3 minutes</a:t>
            </a:r>
          </a:p>
          <a:p>
            <a:endParaRPr lang="en-US" dirty="0"/>
          </a:p>
          <a:p>
            <a:r>
              <a:rPr lang="en-US" sz="1200" kern="1200" dirty="0">
                <a:solidFill>
                  <a:schemeClr val="tx1"/>
                </a:solidFill>
                <a:effectLst/>
                <a:latin typeface="Arial" panose="020B0604020202020204" pitchFamily="34" charset="0"/>
                <a:ea typeface="+mn-ea"/>
                <a:cs typeface="+mn-cs"/>
              </a:rPr>
              <a:t>Joining me today are </a:t>
            </a:r>
            <a:r>
              <a:rPr lang="en-US" sz="1200" b="1" kern="1200" dirty="0">
                <a:solidFill>
                  <a:schemeClr val="tx1"/>
                </a:solidFill>
                <a:effectLst/>
                <a:latin typeface="Arial" panose="020B0604020202020204" pitchFamily="34" charset="0"/>
                <a:ea typeface="+mn-ea"/>
                <a:cs typeface="+mn-cs"/>
              </a:rPr>
              <a:t>Cecilia Montano Hernandez, Lisa Zajko, Sergio Moreno, </a:t>
            </a:r>
            <a:r>
              <a:rPr lang="en-US" sz="1200" kern="1200" dirty="0">
                <a:solidFill>
                  <a:schemeClr val="tx1"/>
                </a:solidFill>
                <a:effectLst/>
                <a:latin typeface="Arial" panose="020B0604020202020204" pitchFamily="34" charset="0"/>
                <a:ea typeface="+mn-ea"/>
                <a:cs typeface="+mn-cs"/>
              </a:rPr>
              <a:t>and</a:t>
            </a:r>
            <a:r>
              <a:rPr lang="en-US" sz="1200" b="1" kern="1200" dirty="0">
                <a:solidFill>
                  <a:schemeClr val="tx1"/>
                </a:solidFill>
                <a:effectLst/>
                <a:latin typeface="Arial" panose="020B0604020202020204" pitchFamily="34" charset="0"/>
                <a:ea typeface="+mn-ea"/>
                <a:cs typeface="+mn-cs"/>
              </a:rPr>
              <a:t> Gabe Kitamura</a:t>
            </a:r>
            <a:r>
              <a:rPr lang="en-US" sz="1200" kern="1200" dirty="0">
                <a:solidFill>
                  <a:schemeClr val="tx1"/>
                </a:solidFill>
                <a:effectLst/>
                <a:latin typeface="Arial" panose="020B0604020202020204" pitchFamily="34" charset="0"/>
                <a:ea typeface="+mn-ea"/>
                <a:cs typeface="+mn-cs"/>
              </a:rPr>
              <a:t>.  Feel free to click on their names at any time during the presentation to access their bios, but I will share a few words about them:</a:t>
            </a:r>
          </a:p>
          <a:p>
            <a:r>
              <a:rPr lang="en-US" sz="1200" kern="1200" dirty="0">
                <a:solidFill>
                  <a:schemeClr val="tx1"/>
                </a:solidFill>
                <a:effectLst/>
                <a:latin typeface="Arial" panose="020B0604020202020204" pitchFamily="34" charset="0"/>
                <a:ea typeface="+mn-ea"/>
                <a:cs typeface="+mn-cs"/>
              </a:rPr>
              <a:t>  </a:t>
            </a:r>
          </a:p>
          <a:p>
            <a:r>
              <a:rPr lang="en-US" sz="1200" kern="1200" dirty="0">
                <a:solidFill>
                  <a:schemeClr val="tx1"/>
                </a:solidFill>
                <a:effectLst/>
                <a:latin typeface="Arial" panose="020B0604020202020204" pitchFamily="34" charset="0"/>
                <a:ea typeface="+mn-ea"/>
                <a:cs typeface="+mn-cs"/>
              </a:rPr>
              <a:t>Before we get started, a few housekeeping items. </a:t>
            </a:r>
          </a:p>
          <a:p>
            <a:pPr lvl="0"/>
            <a:endParaRPr lang="en-US" sz="1200" kern="1200" dirty="0">
              <a:solidFill>
                <a:schemeClr val="tx1"/>
              </a:solidFill>
              <a:effectLst/>
              <a:latin typeface="Arial" panose="020B0604020202020204" pitchFamily="34" charset="0"/>
              <a:ea typeface="+mn-ea"/>
              <a:cs typeface="+mn-cs"/>
            </a:endParaRPr>
          </a:p>
          <a:p>
            <a:pPr lvl="0"/>
            <a:r>
              <a:rPr lang="en-US" sz="1200" kern="1200" dirty="0">
                <a:solidFill>
                  <a:schemeClr val="tx1"/>
                </a:solidFill>
                <a:effectLst/>
                <a:latin typeface="Arial" panose="020B0604020202020204" pitchFamily="34" charset="0"/>
                <a:ea typeface="+mn-ea"/>
                <a:cs typeface="+mn-cs"/>
              </a:rPr>
              <a:t>First, we have a lot of information to cover today. If we cover some of our points too fast, please know that you can access the slides on the website that you used to register for the webcast and there also be a link on a follow up email after today’s session that you can use to access the slides. We hope they are good resource for you. </a:t>
            </a:r>
          </a:p>
          <a:p>
            <a:pPr lvl="0"/>
            <a:endParaRPr lang="en-US" sz="1200" kern="1200" dirty="0">
              <a:solidFill>
                <a:schemeClr val="tx1"/>
              </a:solidFill>
              <a:effectLst/>
              <a:latin typeface="Arial" panose="020B0604020202020204" pitchFamily="34" charset="0"/>
              <a:ea typeface="+mn-ea"/>
              <a:cs typeface="+mn-cs"/>
            </a:endParaRPr>
          </a:p>
          <a:p>
            <a:pPr lvl="0"/>
            <a:r>
              <a:rPr lang="en-US" sz="1200" kern="1200" dirty="0">
                <a:solidFill>
                  <a:schemeClr val="tx1"/>
                </a:solidFill>
                <a:effectLst/>
                <a:latin typeface="Arial" panose="020B0604020202020204" pitchFamily="34" charset="0"/>
                <a:ea typeface="+mn-ea"/>
                <a:cs typeface="+mn-cs"/>
              </a:rPr>
              <a:t>Although you’re in listen-only mode, you are can submit questions electronically – and I encourage you to do so. We’ll do our best to respond to your questions throughout the presentation.</a:t>
            </a:r>
          </a:p>
          <a:p>
            <a:r>
              <a:rPr lang="en-US" sz="1200" kern="1200" dirty="0">
                <a:solidFill>
                  <a:schemeClr val="tx1"/>
                </a:solidFill>
                <a:effectLst/>
                <a:latin typeface="Arial" panose="020B0604020202020204" pitchFamily="34" charset="0"/>
                <a:ea typeface="+mn-ea"/>
                <a:cs typeface="+mn-cs"/>
              </a:rPr>
              <a:t> </a:t>
            </a:r>
          </a:p>
          <a:p>
            <a:r>
              <a:rPr lang="en-US" sz="1200" kern="1200" dirty="0">
                <a:solidFill>
                  <a:schemeClr val="tx1"/>
                </a:solidFill>
                <a:effectLst/>
                <a:latin typeface="Arial" panose="020B0604020202020204" pitchFamily="34" charset="0"/>
                <a:ea typeface="+mn-ea"/>
                <a:cs typeface="+mn-cs"/>
              </a:rPr>
              <a:t>Let’s start the show by taking a look at today’s agenda.</a:t>
            </a:r>
          </a:p>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1989731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98935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87512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9811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37047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17346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1773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09295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4466923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86102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TextBox 5">
            <a:extLst>
              <a:ext uri="{FF2B5EF4-FFF2-40B4-BE49-F238E27FC236}">
                <a16:creationId xmlns:a16="http://schemas.microsoft.com/office/drawing/2014/main" id="{E87B4871-A895-4F6C-A692-6DEF6F3DEE68}"/>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764A1B9-9F97-4535-8A4A-8B7855E21172}"/>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392459746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TextBox 5">
            <a:extLst>
              <a:ext uri="{FF2B5EF4-FFF2-40B4-BE49-F238E27FC236}">
                <a16:creationId xmlns:a16="http://schemas.microsoft.com/office/drawing/2014/main" id="{D2797B33-F6AE-464E-B1F9-AAF8C558042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5BBE2FB0-E266-461D-A917-BFDA5AA786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48361423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TextBox 5">
            <a:extLst>
              <a:ext uri="{FF2B5EF4-FFF2-40B4-BE49-F238E27FC236}">
                <a16:creationId xmlns:a16="http://schemas.microsoft.com/office/drawing/2014/main" id="{662556F3-FB07-45E1-9730-3CF5E862F61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48E7A1D6-FD3E-4165-B102-6C7996E8698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952365878"/>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TextBox 5">
            <a:extLst>
              <a:ext uri="{FF2B5EF4-FFF2-40B4-BE49-F238E27FC236}">
                <a16:creationId xmlns:a16="http://schemas.microsoft.com/office/drawing/2014/main" id="{FA9F65BC-7533-43CA-92A0-A245602E6E6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8188BC9E-0C2C-4EB3-82B0-F3C9CEC9B2F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58396497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36759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solidFill>
                  <a:schemeClr val="bg1"/>
                </a:solidFill>
              </a:defRPr>
            </a:lvl1pPr>
          </a:lstStyle>
          <a:p>
            <a:r>
              <a:rPr lang="en-US" noProof="0"/>
              <a:t>Click to edit Master title style</a:t>
            </a:r>
            <a:endParaRPr lang="en-US" noProof="0" dirty="0"/>
          </a:p>
        </p:txBody>
      </p:sp>
      <p:sp>
        <p:nvSpPr>
          <p:cNvPr id="11" name="TextBox 10">
            <a:extLst>
              <a:ext uri="{FF2B5EF4-FFF2-40B4-BE49-F238E27FC236}">
                <a16:creationId xmlns:a16="http://schemas.microsoft.com/office/drawing/2014/main" id="{676B7924-6A82-4453-9ABA-42AE71384BDC}"/>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3" name="TextBox 12"/>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3535913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9400554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8761204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0257260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401159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01750256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08184291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80214891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5760982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0306771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9001891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5137717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67317389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973218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3328249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166098166"/>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68220672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44041503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6300843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82185449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360621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721269883"/>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80278189"/>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3D477EA3-26AE-43C0-AB9F-D946E74A41C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A1A2BB35-B8B3-422F-A495-1EAC6D62E1A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F94CAF7A-8D5E-42C0-B151-E5F48497DD2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E3437AE1-1B20-45D8-BB56-1CD769A48D4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C87ED61C-29A0-4841-8AD7-EDF64EC0F71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82035582-8257-40DB-9F14-F2F22BDBBE4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6839732-0240-48CA-BF6F-F9430D4491B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4FB25319-33E0-467D-8A99-E977517BC9A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3BDC68C9-014D-4369-AB15-A89162B10D6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DFD1F96B-2A23-478E-A765-F72B99EE5E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7FFB714F-755C-4240-AC11-EE9E1A9B0E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016206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080224839"/>
      </p:ext>
    </p:extLst>
  </p:cSld>
  <p:clrMapOvr>
    <a:masterClrMapping/>
  </p:clrMapOvr>
  <p:hf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a:t>Drag picture to placeholder or click icon to add</a:t>
            </a:r>
            <a:endParaRPr lang="en-US"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10492109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20932364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3551410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46252748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714708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944597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0 </a:t>
            </a:r>
            <a:r>
              <a:rPr lang="es-MX" sz="900" noProof="0" dirty="0" err="1">
                <a:solidFill>
                  <a:schemeClr val="tx1"/>
                </a:solidFill>
                <a:latin typeface="Calibri" panose="020F0502020204030204" pitchFamily="34" charset="0"/>
                <a:cs typeface="Calibri" panose="020F0502020204030204" pitchFamily="34" charset="0"/>
              </a:rPr>
              <a:t>Deloitte</a:t>
            </a:r>
            <a:r>
              <a:rPr lang="es-MX" sz="900" noProof="0" dirty="0">
                <a:solidFill>
                  <a:schemeClr val="tx1"/>
                </a:solidFill>
                <a:latin typeface="Calibri" panose="020F0502020204030204" pitchFamily="34" charset="0"/>
                <a:cs typeface="Calibri" panose="020F0502020204030204" pitchFamily="34" charset="0"/>
              </a:rPr>
              <a:t>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2015233493"/>
      </p:ext>
    </p:extLst>
  </p:cSld>
  <p:clrMapOvr>
    <a:masterClrMapping/>
  </p:clrMapOvr>
  <p:transition>
    <p:fade/>
  </p:transition>
  <p:hf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0571659"/>
      </p:ext>
    </p:extLst>
  </p:cSld>
  <p:clrMapOvr>
    <a:masterClrMapping/>
  </p:clrMapOvr>
  <p:transition>
    <p:fade/>
  </p:transition>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51187103"/>
      </p:ext>
    </p:extLst>
  </p:cSld>
  <p:clrMapOvr>
    <a:masterClrMapping/>
  </p:clrMapOvr>
  <p:transition>
    <p:fade/>
  </p:transition>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54290263"/>
      </p:ext>
    </p:extLst>
  </p:cSld>
  <p:clrMapOvr>
    <a:masterClrMapping/>
  </p:clrMapOvr>
  <p:transition>
    <p:fade/>
  </p:transition>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subtitle &amp; 1 column text">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tx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tx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tx1"/>
                </a:solidFill>
                <a:latin typeface="+mj-lt"/>
                <a:ea typeface="+mn-ea"/>
                <a:cs typeface="+mn-cs"/>
              </a:rPr>
              <a:t>Actualización y Aspectos Relevantes de Comercio Exterior</a:t>
            </a:r>
            <a:endParaRPr lang="en-US" sz="900" kern="1200" noProof="0" dirty="0">
              <a:solidFill>
                <a:schemeClr val="tx1"/>
              </a:solidFill>
              <a:latin typeface="+mj-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2099179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073835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6434826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1723465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80134624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9388029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51627450"/>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1136651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82797116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77822612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77746560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55186403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91755719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8454759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53694333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7766746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2345279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537050978"/>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75312558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12110345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776322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1461327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82479834"/>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993104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39627153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Actualización y Aspectos Relevantes de Comercio Exterior</a:t>
            </a: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9626610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Actualización y Aspectos Relevantes de Comercio Exterior</a:t>
            </a:r>
            <a:endParaRPr lang="en-US" sz="900" kern="1200" noProof="0" dirty="0">
              <a:solidFill>
                <a:schemeClr val="bg1"/>
              </a:solidFill>
              <a:latin typeface="+mj-lt"/>
              <a:ea typeface="+mn-ea"/>
              <a:cs typeface="+mn-cs"/>
            </a:endParaRP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9547810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030305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408185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2297184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030874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8620587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1947095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81311415"/>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321442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878940449"/>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48094605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650061159"/>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4223905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1150467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63510759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2860018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3437246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0873894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89023945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4567571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9518592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1991413"/>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71795914"/>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9212174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4405487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2791156561"/>
      </p:ext>
    </p:extLst>
  </p:cSld>
  <p:clrMapOvr>
    <a:masterClrMapping/>
  </p:clrMapOvr>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6337833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p:cNvSpPr txBox="1"/>
          <p:nvPr userDrawn="1"/>
        </p:nvSpPr>
        <p:spPr>
          <a:xfrm>
            <a:off x="11410953" y="6477000"/>
            <a:ext cx="307975" cy="138499"/>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900" noProof="0" smtClean="0">
                <a:solidFill>
                  <a:schemeClr val="bg1"/>
                </a:solidFill>
                <a:latin typeface="+mj-lt"/>
              </a:rPr>
              <a:pPr marL="0" indent="0" algn="r">
                <a:spcBef>
                  <a:spcPts val="800"/>
                </a:spcBef>
                <a:buSzPct val="100000"/>
                <a:buFont typeface="Arial"/>
                <a:buNone/>
              </a:pPr>
              <a:t>‹Nº›</a:t>
            </a:fld>
            <a:endParaRPr lang="en-US" sz="900" noProof="0" dirty="0">
              <a:solidFill>
                <a:schemeClr val="bg1"/>
              </a:solidFill>
              <a:latin typeface="+mj-lt"/>
            </a:endParaRPr>
          </a:p>
        </p:txBody>
      </p:sp>
      <p:sp>
        <p:nvSpPr>
          <p:cNvPr id="10" name="TextBox 9"/>
          <p:cNvSpPr txBox="1"/>
          <p:nvPr userDrawn="1"/>
        </p:nvSpPr>
        <p:spPr>
          <a:xfrm>
            <a:off x="6336000" y="6476999"/>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n-lt"/>
                <a:ea typeface="+mn-ea"/>
                <a:cs typeface="+mn-cs"/>
              </a:rPr>
              <a:t>Actualización y Aspectos Relevantes de Comercio Exterior</a:t>
            </a:r>
            <a:endParaRPr lang="en-US" sz="900" kern="1200" noProof="0" dirty="0">
              <a:solidFill>
                <a:schemeClr val="bg1"/>
              </a:solidFill>
              <a:latin typeface="+mn-lt"/>
              <a:ea typeface="+mn-ea"/>
              <a:cs typeface="+mn-cs"/>
            </a:endParaRPr>
          </a:p>
        </p:txBody>
      </p:sp>
      <p:sp>
        <p:nvSpPr>
          <p:cNvPr id="14" name="TextBox 13"/>
          <p:cNvSpPr txBox="1"/>
          <p:nvPr userDrawn="1"/>
        </p:nvSpPr>
        <p:spPr>
          <a:xfrm>
            <a:off x="469900" y="6478588"/>
            <a:ext cx="5355167" cy="138499"/>
          </a:xfrm>
          <a:prstGeom prst="rect">
            <a:avLst/>
          </a:prstGeom>
          <a:noFill/>
        </p:spPr>
        <p:txBody>
          <a:bodyPr wrap="square" lIns="0" tIns="0" rIns="0" bIns="0" rtlCol="0">
            <a:spAutoFit/>
          </a:bodyPr>
          <a:lstStyle/>
          <a:p>
            <a:pPr>
              <a:spcAft>
                <a:spcPts val="0"/>
              </a:spcAft>
            </a:pPr>
            <a:r>
              <a:rPr lang="es-MX" sz="900" kern="1200" dirty="0">
                <a:solidFill>
                  <a:schemeClr val="bg1"/>
                </a:solidFill>
                <a:latin typeface="+mn-lt"/>
                <a:ea typeface="Calibri" panose="020F0502020204030204" pitchFamily="34" charset="0"/>
                <a:cs typeface="+mn-cs"/>
              </a:rPr>
              <a:t>© </a:t>
            </a:r>
            <a:r>
              <a:rPr lang="es-MX" sz="900" spc="-20" dirty="0">
                <a:solidFill>
                  <a:schemeClr val="bg1"/>
                </a:solidFill>
                <a:ea typeface="Calibri" panose="020F0502020204030204" pitchFamily="34" charset="0"/>
              </a:rPr>
              <a:t>2020 </a:t>
            </a:r>
            <a:r>
              <a:rPr lang="es-MX" sz="900" kern="1200" spc="-20" dirty="0" err="1">
                <a:solidFill>
                  <a:schemeClr val="bg1"/>
                </a:solidFill>
                <a:latin typeface="+mn-lt"/>
                <a:ea typeface="Calibri" panose="020F0502020204030204" pitchFamily="34" charset="0"/>
                <a:cs typeface="+mn-cs"/>
              </a:rPr>
              <a:t>Deloitte</a:t>
            </a:r>
            <a:r>
              <a:rPr lang="es-MX" sz="900" kern="1200" spc="-20" dirty="0">
                <a:solidFill>
                  <a:schemeClr val="bg1"/>
                </a:solidFill>
                <a:latin typeface="+mn-lt"/>
                <a:ea typeface="Calibri" panose="020F0502020204030204" pitchFamily="34" charset="0"/>
                <a:cs typeface="+mn-cs"/>
              </a:rPr>
              <a:t> Impuestos y Servicios Legales, S.C.</a:t>
            </a:r>
            <a:endParaRPr lang="es-MX" sz="900" kern="1200" dirty="0">
              <a:solidFill>
                <a:schemeClr val="bg1"/>
              </a:solidFill>
              <a:latin typeface="+mn-lt"/>
              <a:ea typeface="Calibri" panose="020F0502020204030204" pitchFamily="34" charset="0"/>
              <a:cs typeface="+mn-cs"/>
            </a:endParaRPr>
          </a:p>
        </p:txBody>
      </p:sp>
    </p:spTree>
    <p:extLst>
      <p:ext uri="{BB962C8B-B14F-4D97-AF65-F5344CB8AC3E}">
        <p14:creationId xmlns:p14="http://schemas.microsoft.com/office/powerpoint/2010/main" val="34634725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7425788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398646341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282337685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0635009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193910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34989447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4240004"/>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03269132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p:nvPr>
        </p:nvSpPr>
        <p:spPr>
          <a:xfrm>
            <a:off x="469900" y="765263"/>
            <a:ext cx="11252200" cy="757255"/>
          </a:xfrm>
          <a:prstGeom prst="rect">
            <a:avLst/>
          </a:prstGeom>
        </p:spPr>
        <p:txBody>
          <a:bodyPr>
            <a:noAutofit/>
          </a:bodyPr>
          <a:lstStyle>
            <a:lvl1pPr marL="0" indent="0">
              <a:buNone/>
              <a:defRPr sz="2400" b="0">
                <a:solidFill>
                  <a:srgbClr val="575757"/>
                </a:solidFill>
              </a:defRPr>
            </a:lvl1pPr>
          </a:lstStyle>
          <a:p>
            <a:pPr lvl="0"/>
            <a:r>
              <a:rPr lang="en-US" noProof="0"/>
              <a:t>Edit Master text styles</a:t>
            </a:r>
          </a:p>
        </p:txBody>
      </p:sp>
      <p:sp>
        <p:nvSpPr>
          <p:cNvPr id="7" name="Title Placeholder 1"/>
          <p:cNvSpPr>
            <a:spLocks noGrp="1"/>
          </p:cNvSpPr>
          <p:nvPr>
            <p:ph type="title"/>
          </p:nvPr>
        </p:nvSpPr>
        <p:spPr>
          <a:xfrm>
            <a:off x="469900" y="402587"/>
            <a:ext cx="11252200" cy="334102"/>
          </a:xfrm>
          <a:prstGeom prst="rect">
            <a:avLst/>
          </a:prstGeom>
        </p:spPr>
        <p:txBody>
          <a:bodyPr rtlCol="0">
            <a:noAutofit/>
          </a:bodyPr>
          <a:lstStyle>
            <a:lvl1pPr>
              <a:defRPr sz="2400"/>
            </a:lvl1pPr>
          </a:lstStyle>
          <a:p>
            <a:r>
              <a:rPr lang="en-US" noProof="0"/>
              <a:t>Click to edit Master title style</a:t>
            </a:r>
            <a:endParaRPr lang="en-US" noProof="0" dirty="0"/>
          </a:p>
        </p:txBody>
      </p:sp>
    </p:spTree>
    <p:extLst>
      <p:ext uri="{BB962C8B-B14F-4D97-AF65-F5344CB8AC3E}">
        <p14:creationId xmlns:p14="http://schemas.microsoft.com/office/powerpoint/2010/main" val="300332047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4" name="TextBox 3"/>
          <p:cNvSpPr txBox="1"/>
          <p:nvPr userDrawn="1"/>
        </p:nvSpPr>
        <p:spPr>
          <a:xfrm>
            <a:off x="6313488" y="6477000"/>
            <a:ext cx="4895850" cy="200025"/>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7EF41E90-23A8-4CDC-BBB1-F288C40F8E37}"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dirty="0">
              <a:solidFill>
                <a:schemeClr val="bg1"/>
              </a:solidFill>
              <a:latin typeface="+mn-lt"/>
            </a:endParaRPr>
          </a:p>
        </p:txBody>
      </p:sp>
      <p:sp>
        <p:nvSpPr>
          <p:cNvPr id="6" name="TextBox 5"/>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dirty="0">
                <a:solidFill>
                  <a:schemeClr val="bg1"/>
                </a:solidFill>
                <a:latin typeface="+mn-lt"/>
              </a:rPr>
              <a:t>© 2017 </a:t>
            </a:r>
            <a:r>
              <a:rPr lang="en-US" sz="650" dirty="0" err="1">
                <a:solidFill>
                  <a:schemeClr val="bg1"/>
                </a:solidFill>
                <a:latin typeface="+mn-lt"/>
              </a:rPr>
              <a:t>Galaz</a:t>
            </a:r>
            <a:r>
              <a:rPr lang="en-US" sz="650" dirty="0">
                <a:solidFill>
                  <a:schemeClr val="bg1"/>
                </a:solidFill>
                <a:latin typeface="+mn-lt"/>
              </a:rPr>
              <a:t>, Yamazaki, Ruiz </a:t>
            </a:r>
            <a:r>
              <a:rPr lang="en-US" sz="650" dirty="0" err="1">
                <a:solidFill>
                  <a:schemeClr val="bg1"/>
                </a:solidFill>
                <a:latin typeface="+mn-lt"/>
              </a:rPr>
              <a:t>Urquiza</a:t>
            </a:r>
            <a:r>
              <a:rPr lang="en-US" sz="650" dirty="0">
                <a:solidFill>
                  <a:schemeClr val="bg1"/>
                </a:solidFill>
                <a:latin typeface="+mn-lt"/>
              </a:rPr>
              <a:t>, S.C.</a:t>
            </a:r>
          </a:p>
        </p:txBody>
      </p:sp>
      <p:sp>
        <p:nvSpPr>
          <p:cNvPr id="7" name="Title 2"/>
          <p:cNvSpPr txBox="1">
            <a:spLocks/>
          </p:cNvSpPr>
          <p:nvPr userDrawn="1"/>
        </p:nvSpPr>
        <p:spPr bwMode="gray">
          <a:xfrm>
            <a:off x="0" y="6369050"/>
            <a:ext cx="1219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76213" indent="-176213">
              <a:spcAft>
                <a:spcPts val="1000"/>
              </a:spcAft>
              <a:buSzPct val="100000"/>
              <a:buFont typeface="Arial" panose="020B0604020202020204" pitchFamily="34" charset="0"/>
              <a:buChar char="•"/>
              <a:defRPr sz="1000">
                <a:solidFill>
                  <a:schemeClr val="tx1"/>
                </a:solidFill>
                <a:latin typeface="Verdana" panose="020B0604030504040204" pitchFamily="34" charset="0"/>
              </a:defRPr>
            </a:lvl3pPr>
            <a:lvl4pPr marL="355600" indent="-176213">
              <a:spcAft>
                <a:spcPts val="1000"/>
              </a:spcAft>
              <a:buSzPct val="100000"/>
              <a:buFont typeface="Verdana" panose="020B0604030504040204" pitchFamily="34" charset="0"/>
              <a:buChar char="−"/>
              <a:defRPr sz="1000">
                <a:solidFill>
                  <a:schemeClr val="tx1"/>
                </a:solidFill>
                <a:latin typeface="Verdana" panose="020B0604030504040204" pitchFamily="34" charset="0"/>
              </a:defRPr>
            </a:lvl4pPr>
            <a:lvl5pPr marL="531813" indent="-176213" defTabSz="798513">
              <a:spcAft>
                <a:spcPts val="1000"/>
              </a:spcAft>
              <a:buSzPct val="100000"/>
              <a:buFont typeface="Verdana" panose="020B0604030504040204" pitchFamily="34" charset="0"/>
              <a:buChar char="−"/>
              <a:defRPr sz="1000">
                <a:solidFill>
                  <a:schemeClr val="tx1"/>
                </a:solidFill>
                <a:latin typeface="Verdana" panose="020B0604030504040204" pitchFamily="34" charset="0"/>
              </a:defRPr>
            </a:lvl5pPr>
            <a:lvl6pPr marL="9890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6pPr>
            <a:lvl7pPr marL="14462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7pPr>
            <a:lvl8pPr marL="19034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8pPr>
            <a:lvl9pPr marL="23606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9pPr>
          </a:lstStyle>
          <a:p>
            <a:pPr algn="ctr" defTabSz="1219170" eaLnBrk="1" fontAlgn="auto" hangingPunct="1">
              <a:spcBef>
                <a:spcPts val="0"/>
              </a:spcBef>
              <a:spcAft>
                <a:spcPct val="0"/>
              </a:spcAft>
              <a:buSzTx/>
              <a:buFontTx/>
              <a:buNone/>
              <a:defRPr/>
            </a:pPr>
            <a:r>
              <a:rPr lang="es-MX" altLang="es-MX" dirty="0">
                <a:solidFill>
                  <a:schemeClr val="bg1"/>
                </a:solidFill>
              </a:rPr>
              <a:t>Información Confidencial</a:t>
            </a: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29238026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64351451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2960185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252690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833644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15486209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47705881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0267614"/>
      </p:ext>
    </p:extLst>
  </p:cSld>
  <p:clrMapOvr>
    <a:masterClrMapping/>
  </p:clrMapOvr>
  <p:transition>
    <p:fade/>
  </p:transition>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33183924"/>
      </p:ext>
    </p:extLst>
  </p:cSld>
  <p:clrMapOvr>
    <a:masterClrMapping/>
  </p:clrMapOvr>
  <p:transition>
    <p:fade/>
  </p:transition>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2481792"/>
      </p:ext>
    </p:extLst>
  </p:cSld>
  <p:clrMapOvr>
    <a:masterClrMapping/>
  </p:clrMapOvr>
  <p:transition>
    <p:fade/>
  </p:transition>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80726848"/>
      </p:ext>
    </p:extLst>
  </p:cSld>
  <p:clrMapOvr>
    <a:masterClrMapping/>
  </p:clrMapOvr>
  <p:transition>
    <p:fade/>
  </p:transition>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Box 11"/>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3" name="TextBox 12"/>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2 Deloitte Impuestos y Servicios Legales</a:t>
            </a:r>
            <a:r>
              <a:rPr lang="es-MX" sz="900" baseline="0" dirty="0">
                <a:solidFill>
                  <a:schemeClr val="bg1"/>
                </a:solidFill>
                <a:latin typeface="+mj-lt"/>
              </a:rPr>
              <a:t>, S</a:t>
            </a:r>
            <a:r>
              <a:rPr lang="es-MX" sz="900" dirty="0">
                <a:solidFill>
                  <a:schemeClr val="bg1"/>
                </a:solidFill>
                <a:latin typeface="+mj-lt"/>
              </a:rPr>
              <a:t>.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723793303"/>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5213741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8261407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90290594"/>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625359153"/>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9985236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42828032"/>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50876246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161407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50292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6454528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2" name="TextBox 11"/>
          <p:cNvSpPr txBox="1"/>
          <p:nvPr userDrawn="1"/>
        </p:nvSpPr>
        <p:spPr>
          <a:xfrm>
            <a:off x="328736" y="6424573"/>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Deloitte Impuestos y Servicios Legales, </a:t>
            </a:r>
            <a:r>
              <a:rPr lang="es-MX" sz="900" baseline="0" dirty="0">
                <a:solidFill>
                  <a:schemeClr val="bg1"/>
                </a:solidFill>
                <a:latin typeface="+mj-lt"/>
              </a:rPr>
              <a:t>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6556898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altLang="es-ES_tradnl" sz="900" dirty="0">
                <a:solidFill>
                  <a:schemeClr val="bg1"/>
                </a:solidFill>
                <a:latin typeface="Calibri" panose="020F0502020204030204" pitchFamily="34" charset="0"/>
                <a:cs typeface="Calibri" panose="020F0502020204030204" pitchFamily="34" charset="0"/>
              </a:rPr>
              <a:t>© 2021 </a:t>
            </a:r>
            <a:r>
              <a:rPr lang="es-MX" altLang="es-ES_tradnl" sz="900" dirty="0">
                <a:solidFill>
                  <a:schemeClr val="bg1"/>
                </a:solidFill>
                <a:latin typeface="Calibri" panose="020F0502020204030204" pitchFamily="34" charset="0"/>
                <a:cs typeface="Calibri" panose="020F0502020204030204" pitchFamily="34" charset="0"/>
              </a:rPr>
              <a:t>Deloitte Impuestos y Servicios Legales,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6965812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9784227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Deloitte</a:t>
            </a:r>
            <a:r>
              <a:rPr lang="es-MX" sz="900" baseline="0" dirty="0">
                <a:solidFill>
                  <a:schemeClr val="bg1"/>
                </a:solidFill>
                <a:latin typeface="+mj-lt"/>
              </a:rPr>
              <a:t> Impuestos y Servicios Legales,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426553496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9772685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47352825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algn="r" eaLnBrk="1" hangingPunct="1">
              <a:buSzPct val="100000"/>
              <a:buFont typeface="Arial" panose="020B0604020202020204" pitchFamily="34" charset="0"/>
              <a:buNone/>
            </a:pPr>
            <a:r>
              <a:rPr lang="es-MX" altLang="es-ES_tradnl" sz="900" dirty="0">
                <a:solidFill>
                  <a:schemeClr val="bg1"/>
                </a:solidFill>
                <a:latin typeface="Calibri" panose="020F0502020204030204" pitchFamily="34" charset="0"/>
                <a:cs typeface="Calibri" panose="020F0502020204030204" pitchFamily="34" charset="0"/>
              </a:rPr>
              <a:t>Programa de Capacitación Fiscal (PROCAF) 2021</a:t>
            </a:r>
          </a:p>
        </p:txBody>
      </p:sp>
      <p:sp>
        <p:nvSpPr>
          <p:cNvPr id="6" name="TextBox 5"/>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7" name="TextBox 6"/>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978416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3255577"/>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solidFill>
                  <a:schemeClr val="bg1"/>
                </a:solidFill>
              </a:defRPr>
            </a:lvl1pPr>
          </a:lstStyle>
          <a:p>
            <a:r>
              <a:rPr lang="en-US" noProof="0"/>
              <a:t>Click to edit Master title style</a:t>
            </a:r>
            <a:endParaRPr lang="en-US" noProof="0" dirty="0"/>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algn="r" eaLnBrk="1" hangingPunct="1">
              <a:buSzPct val="100000"/>
              <a:buFont typeface="Arial" panose="020B0604020202020204" pitchFamily="34" charset="0"/>
              <a:buNone/>
            </a:pPr>
            <a:r>
              <a:rPr lang="es-MX" altLang="es-ES_tradnl" sz="900" dirty="0">
                <a:solidFill>
                  <a:schemeClr val="bg1"/>
                </a:solidFill>
                <a:latin typeface="Calibri" panose="020F0502020204030204" pitchFamily="34" charset="0"/>
                <a:cs typeface="Calibri" panose="020F0502020204030204" pitchFamily="34" charset="0"/>
              </a:rPr>
              <a:t>Programa de Capacitación Fiscal (PROCAF) 2021</a:t>
            </a:r>
          </a:p>
        </p:txBody>
      </p:sp>
      <p:sp>
        <p:nvSpPr>
          <p:cNvPr id="11" name="TextBox 10"/>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2" name="TextBox 11"/>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368414319"/>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4139084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8377364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361794145"/>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59620313"/>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5575796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88407106"/>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2604738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6344796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50936608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61639666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6213493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44777749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79205478"/>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600745159"/>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1717204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3D477EA3-26AE-43C0-AB9F-D946E74A41C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A1A2BB35-B8B3-422F-A495-1EAC6D62E1A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F94CAF7A-8D5E-42C0-B151-E5F48497DD2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E3437AE1-1B20-45D8-BB56-1CD769A48D4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C87ED61C-29A0-4841-8AD7-EDF64EC0F71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82035582-8257-40DB-9F14-F2F22BDBBE4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6839732-0240-48CA-BF6F-F9430D4491B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4FB25319-33E0-467D-8A99-E977517BC9A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3BDC68C9-014D-4369-AB15-A89162B10D6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DFD1F96B-2A23-478E-A765-F72B99EE5E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7FFB714F-755C-4240-AC11-EE9E1A9B0E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9457296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300175162"/>
      </p:ext>
    </p:extLst>
  </p:cSld>
  <p:clrMapOvr>
    <a:masterClrMapping/>
  </p:clrMapOvr>
  <p:hf hdr="0" dt="0"/>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ítulo con texto o gráfico">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15376" indent="-215376">
              <a:buFont typeface="Arial" pitchFamily="34" charset="0"/>
              <a:buChar char="•"/>
              <a:tabLst/>
              <a:defRPr/>
            </a:lvl2pPr>
            <a:lvl3pPr marL="215376" indent="-215376">
              <a:buFont typeface="Arial" pitchFamily="34" charset="0"/>
              <a:buChar char="•"/>
              <a:defRPr i="1"/>
            </a:lvl3pPr>
            <a:lvl4pPr marL="435879" indent="-220503">
              <a:buFont typeface="Arial" pitchFamily="34" charset="0"/>
              <a:buChar char="−"/>
              <a:defRPr i="0"/>
            </a:lvl4pPr>
            <a:lvl5pPr marL="651255" indent="-215376">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4" y="295686"/>
            <a:ext cx="11184001" cy="469492"/>
          </a:xfrm>
          <a:prstGeom prst="rect">
            <a:avLst/>
          </a:prstGeom>
        </p:spPr>
        <p:txBody>
          <a:bodyPr/>
          <a:lstStyle/>
          <a:p>
            <a:r>
              <a:rPr lang="en-US"/>
              <a:t>Click to edit Master title style</a:t>
            </a:r>
            <a:endParaRPr lang="en-GB" dirty="0"/>
          </a:p>
        </p:txBody>
      </p:sp>
      <p:sp>
        <p:nvSpPr>
          <p:cNvPr id="17" name="Text Placeholder 8"/>
          <p:cNvSpPr>
            <a:spLocks noGrp="1"/>
          </p:cNvSpPr>
          <p:nvPr>
            <p:ph type="body" sz="quarter" idx="13"/>
          </p:nvPr>
        </p:nvSpPr>
        <p:spPr>
          <a:xfrm>
            <a:off x="493484" y="765175"/>
            <a:ext cx="11184001" cy="969282"/>
          </a:xfrm>
        </p:spPr>
        <p:txBody>
          <a:bodyPr>
            <a:normAutofit/>
          </a:bodyPr>
          <a:lstStyle>
            <a:lvl1pPr marL="0" indent="0">
              <a:buNone/>
              <a:defRPr sz="2423" b="0">
                <a:solidFill>
                  <a:schemeClr val="tx1">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14259532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000" b="0" i="0">
                <a:solidFill>
                  <a:schemeClr val="bg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650" b="0" i="0">
                <a:solidFill>
                  <a:schemeClr val="bg1"/>
                </a:solidFill>
                <a:latin typeface="Verdana"/>
                <a:cs typeface="Verdana"/>
              </a:defRPr>
            </a:lvl1pPr>
          </a:lstStyle>
          <a:p>
            <a:pPr marL="12700">
              <a:lnSpc>
                <a:spcPct val="100000"/>
              </a:lnSpc>
              <a:spcBef>
                <a:spcPts val="100"/>
              </a:spcBef>
            </a:pPr>
            <a:r>
              <a:rPr spc="-5" dirty="0"/>
              <a:t>© 2020 Deloitte Impuestos y Servicios Legales,</a:t>
            </a:r>
            <a:r>
              <a:rPr spc="10" dirty="0"/>
              <a:t> </a:t>
            </a:r>
            <a:r>
              <a:rPr spc="-5" dirty="0"/>
              <a:t>S.C.</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2</a:t>
            </a:fld>
            <a:endParaRPr lang="en-US" dirty="0"/>
          </a:p>
        </p:txBody>
      </p:sp>
      <p:sp>
        <p:nvSpPr>
          <p:cNvPr id="7" name="Holder 7"/>
          <p:cNvSpPr>
            <a:spLocks noGrp="1"/>
          </p:cNvSpPr>
          <p:nvPr>
            <p:ph type="sldNum" sz="quarter" idx="7"/>
          </p:nvPr>
        </p:nvSpPr>
        <p:spPr/>
        <p:txBody>
          <a:bodyPr lIns="0" tIns="0" rIns="0" bIns="0"/>
          <a:lstStyle>
            <a:lvl1pPr>
              <a:defRPr sz="650" b="0" i="0">
                <a:solidFill>
                  <a:schemeClr val="bg1"/>
                </a:solidFill>
                <a:latin typeface="Verdana"/>
                <a:cs typeface="Verdana"/>
              </a:defRPr>
            </a:lvl1pPr>
          </a:lstStyle>
          <a:p>
            <a:pPr marL="38100">
              <a:lnSpc>
                <a:spcPct val="100000"/>
              </a:lnSpc>
              <a:spcBef>
                <a:spcPts val="100"/>
              </a:spcBef>
            </a:pPr>
            <a:fld id="{81D60167-4931-47E6-BA6A-407CBD079E47}" type="slidenum">
              <a:rPr spc="-5" dirty="0"/>
              <a:t>‹Nº›</a:t>
            </a:fld>
            <a:endParaRPr spc="-5" dirty="0"/>
          </a:p>
        </p:txBody>
      </p:sp>
    </p:spTree>
    <p:extLst>
      <p:ext uri="{BB962C8B-B14F-4D97-AF65-F5344CB8AC3E}">
        <p14:creationId xmlns:p14="http://schemas.microsoft.com/office/powerpoint/2010/main" val="381996901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332396"/>
            <a:ext cx="4446269" cy="969496"/>
          </a:xfrm>
        </p:spPr>
        <p:txBody>
          <a:bodyPr anchor="b" anchorCtr="0">
            <a:sp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br>
              <a:rPr lang="en-US" noProof="0" dirty="0"/>
            </a:br>
            <a:br>
              <a:rPr lang="en-US" noProof="0" dirty="0"/>
            </a:br>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418374976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51359243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hasCustomPrompt="1"/>
          </p:nvPr>
        </p:nvSpPr>
        <p:spPr bwMode="gray">
          <a:xfrm>
            <a:off x="501651" y="5332396"/>
            <a:ext cx="4446269" cy="969496"/>
          </a:xfrm>
        </p:spPr>
        <p:txBody>
          <a:bodyPr anchor="b" anchorCtr="0">
            <a:sp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br>
              <a:rPr lang="en-US" noProof="0" dirty="0"/>
            </a:br>
            <a:br>
              <a:rPr lang="en-US" noProof="0" dirty="0"/>
            </a:br>
            <a:r>
              <a:rPr lang="en-US" noProof="0" dirty="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420449964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358086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2856343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6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46151" y="3193146"/>
            <a:ext cx="10541000"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949031" y="4910468"/>
            <a:ext cx="10541000" cy="1566532"/>
          </a:xfrm>
        </p:spPr>
        <p:txBody>
          <a:bodyPr lIns="0" tIns="0" rIns="0" bIns="0">
            <a:noAutofit/>
          </a:bodyPr>
          <a:lstStyle>
            <a:lvl1pPr marL="0" indent="0">
              <a:lnSpc>
                <a:spcPct val="95000"/>
              </a:lnSpc>
              <a:spcAft>
                <a:spcPts val="0"/>
              </a:spcAft>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278560843"/>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3358260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763954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5911165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4951148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60277655"/>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54985137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448249979"/>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96890081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96677258"/>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ítulo con texto o gráfico">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197354" indent="-197354">
              <a:buFont typeface="Arial" pitchFamily="34" charset="0"/>
              <a:buChar char="•"/>
              <a:tabLst/>
              <a:defRPr/>
            </a:lvl2pPr>
            <a:lvl3pPr marL="197354" indent="-197354">
              <a:buFont typeface="Arial" pitchFamily="34" charset="0"/>
              <a:buChar char="•"/>
              <a:defRPr i="1"/>
            </a:lvl3pPr>
            <a:lvl4pPr marL="399408" indent="-202053">
              <a:buFont typeface="Arial" pitchFamily="34" charset="0"/>
              <a:buChar char="−"/>
              <a:defRPr i="0"/>
            </a:lvl4pPr>
            <a:lvl5pPr marL="596763" indent="-19735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8" y="295684"/>
            <a:ext cx="11184001" cy="469492"/>
          </a:xfrm>
          <a:prstGeom prst="rect">
            <a:avLst/>
          </a:prstGeom>
        </p:spPr>
        <p:txBody>
          <a:bodyPr rtlCol="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493488" y="765175"/>
            <a:ext cx="11184001" cy="969282"/>
          </a:xfrm>
        </p:spPr>
        <p:txBody>
          <a:bodyPr>
            <a:normAutofit/>
          </a:bodyPr>
          <a:lstStyle>
            <a:lvl1pPr marL="0" indent="0">
              <a:buNone/>
              <a:defRPr sz="2193" b="0">
                <a:solidFill>
                  <a:schemeClr val="tx1">
                    <a:lumMod val="65000"/>
                    <a:lumOff val="35000"/>
                  </a:schemeClr>
                </a:solidFill>
              </a:defRPr>
            </a:lvl1pPr>
          </a:lstStyle>
          <a:p>
            <a:pPr lvl="0"/>
            <a:r>
              <a:rPr lang="en-US"/>
              <a:t>Click to edit Master text styles</a:t>
            </a:r>
          </a:p>
        </p:txBody>
      </p:sp>
      <p:sp>
        <p:nvSpPr>
          <p:cNvPr id="5" name="Footer Placeholder 4"/>
          <p:cNvSpPr>
            <a:spLocks noGrp="1"/>
          </p:cNvSpPr>
          <p:nvPr>
            <p:ph type="ftr" sz="quarter" idx="14"/>
          </p:nvPr>
        </p:nvSpPr>
        <p:spPr>
          <a:xfrm>
            <a:off x="493189" y="6407157"/>
            <a:ext cx="10079567" cy="252413"/>
          </a:xfrm>
          <a:prstGeom prst="rect">
            <a:avLst/>
          </a:prstGeom>
        </p:spPr>
        <p:txBody>
          <a:bodyPr/>
          <a:lstStyle>
            <a:lvl1pPr>
              <a:defRPr/>
            </a:lvl1pPr>
          </a:lstStyle>
          <a:p>
            <a:pPr defTabSz="607619" fontAlgn="base">
              <a:spcBef>
                <a:spcPct val="0"/>
              </a:spcBef>
              <a:spcAft>
                <a:spcPct val="0"/>
              </a:spcAft>
              <a:defRPr/>
            </a:pPr>
            <a:r>
              <a:rPr lang="es-ES_tradnl" sz="1196" dirty="0">
                <a:solidFill>
                  <a:prstClr val="black"/>
                </a:solidFill>
                <a:cs typeface="Arial" pitchFamily="34" charset="0"/>
              </a:rPr>
              <a:t>© 2017 Galaz, Yamazaki, Ruiz Urquiza, S.C.</a:t>
            </a:r>
          </a:p>
        </p:txBody>
      </p:sp>
      <p:sp>
        <p:nvSpPr>
          <p:cNvPr id="6" name="Slide Number Placeholder 7"/>
          <p:cNvSpPr>
            <a:spLocks noGrp="1"/>
          </p:cNvSpPr>
          <p:nvPr>
            <p:ph type="sldNum" sz="quarter" idx="15"/>
          </p:nvPr>
        </p:nvSpPr>
        <p:spPr>
          <a:xfrm>
            <a:off x="12455545" y="5828491"/>
            <a:ext cx="1056219" cy="252413"/>
          </a:xfrm>
          <a:prstGeom prst="rect">
            <a:avLst/>
          </a:prstGeom>
        </p:spPr>
        <p:txBody>
          <a:bodyPr/>
          <a:lstStyle>
            <a:lvl1pPr>
              <a:defRPr/>
            </a:lvl1pPr>
          </a:lstStyle>
          <a:p>
            <a:pPr defTabSz="607619" fontAlgn="base">
              <a:spcBef>
                <a:spcPct val="0"/>
              </a:spcBef>
              <a:spcAft>
                <a:spcPct val="0"/>
              </a:spcAft>
              <a:defRPr/>
            </a:pPr>
            <a:fld id="{654C29CD-DACB-46CC-83AD-E5CF8C8314E3}" type="slidenum">
              <a:rPr lang="en-GB" sz="1196" smtClean="0">
                <a:solidFill>
                  <a:prstClr val="black"/>
                </a:solidFill>
                <a:cs typeface="Arial" pitchFamily="34" charset="0"/>
              </a:rPr>
              <a:pPr defTabSz="607619" fontAlgn="base">
                <a:spcBef>
                  <a:spcPct val="0"/>
                </a:spcBef>
                <a:spcAft>
                  <a:spcPct val="0"/>
                </a:spcAft>
                <a:defRPr/>
              </a:pPr>
              <a:t>‹Nº›</a:t>
            </a:fld>
            <a:endParaRPr lang="en-GB" sz="1196" dirty="0">
              <a:solidFill>
                <a:prstClr val="black"/>
              </a:solidFill>
              <a:cs typeface="Arial" pitchFamily="34" charset="0"/>
            </a:endParaRPr>
          </a:p>
        </p:txBody>
      </p:sp>
      <p:sp>
        <p:nvSpPr>
          <p:cNvPr id="7" name="TextBox 6"/>
          <p:cNvSpPr txBox="1"/>
          <p:nvPr userDrawn="1"/>
        </p:nvSpPr>
        <p:spPr>
          <a:xfrm>
            <a:off x="6335184" y="6477006"/>
            <a:ext cx="4896560" cy="73225"/>
          </a:xfrm>
          <a:prstGeom prst="rect">
            <a:avLst/>
          </a:prstGeom>
          <a:noFill/>
        </p:spPr>
        <p:txBody>
          <a:bodyPr wrap="square" lIns="0" tIns="0" rIns="0" bIns="0" rtlCol="0">
            <a:spAutoFit/>
          </a:bodyPr>
          <a:lstStyle/>
          <a:p>
            <a:pPr marL="0" marR="0" lvl="0" indent="0" algn="r" defTabSz="607619" rtl="0" eaLnBrk="1" fontAlgn="auto" latinLnBrk="0" hangingPunct="1">
              <a:lnSpc>
                <a:spcPct val="100000"/>
              </a:lnSpc>
              <a:spcBef>
                <a:spcPts val="0"/>
              </a:spcBef>
              <a:spcAft>
                <a:spcPts val="0"/>
              </a:spcAft>
              <a:buClrTx/>
              <a:buSzPct val="100000"/>
              <a:buFont typeface="Arial"/>
              <a:buNone/>
              <a:tabLst/>
              <a:defRPr/>
            </a:pPr>
            <a:r>
              <a:rPr kumimoji="0" lang="es-ES_tradnl" sz="476" b="0" i="0" u="none" strike="noStrike" kern="1200" cap="none" spc="0" normalizeH="0" baseline="0" noProof="0" dirty="0">
                <a:ln>
                  <a:noFill/>
                </a:ln>
                <a:solidFill>
                  <a:prstClr val="black"/>
                </a:solidFill>
                <a:effectLst/>
                <a:uLnTx/>
                <a:uFillTx/>
                <a:latin typeface="Verdana"/>
                <a:ea typeface="+mn-ea"/>
                <a:cs typeface="Arial" pitchFamily="34" charset="0"/>
              </a:rPr>
              <a:t>PROCAF Guadalajara</a:t>
            </a:r>
          </a:p>
        </p:txBody>
      </p:sp>
      <p:sp>
        <p:nvSpPr>
          <p:cNvPr id="8" name="TextBox 7"/>
          <p:cNvSpPr txBox="1"/>
          <p:nvPr userDrawn="1"/>
        </p:nvSpPr>
        <p:spPr>
          <a:xfrm>
            <a:off x="11382382" y="6477007"/>
            <a:ext cx="307975" cy="73225"/>
          </a:xfrm>
          <a:prstGeom prst="rect">
            <a:avLst/>
          </a:prstGeom>
          <a:noFill/>
        </p:spPr>
        <p:txBody>
          <a:bodyPr wrap="square" lIns="0" tIns="0" rIns="0" bIns="0" rtlCol="0">
            <a:spAutoFit/>
          </a:bodyPr>
          <a:lstStyle/>
          <a:p>
            <a:pPr marL="0" marR="0" lvl="0" indent="0" algn="r" defTabSz="607619" rtl="0" eaLnBrk="1" fontAlgn="auto" latinLnBrk="0" hangingPunct="1">
              <a:lnSpc>
                <a:spcPct val="100000"/>
              </a:lnSpc>
              <a:spcBef>
                <a:spcPts val="439"/>
              </a:spcBef>
              <a:spcAft>
                <a:spcPts val="0"/>
              </a:spcAft>
              <a:buClrTx/>
              <a:buSzPct val="100000"/>
              <a:buFont typeface="Arial"/>
              <a:buNone/>
              <a:tabLst/>
              <a:defRPr/>
            </a:pPr>
            <a:fld id="{C58DF478-B544-4ED8-9ED4-6A2648E2D233}" type="slidenum">
              <a:rPr kumimoji="0" lang="en-US" sz="476" b="0" i="0" u="none" strike="noStrike" kern="1200" cap="none" spc="0" normalizeH="0" baseline="0" noProof="0" smtClean="0">
                <a:ln>
                  <a:noFill/>
                </a:ln>
                <a:solidFill>
                  <a:prstClr val="black"/>
                </a:solidFill>
                <a:effectLst/>
                <a:uLnTx/>
                <a:uFillTx/>
                <a:latin typeface="Verdana"/>
                <a:ea typeface="+mn-ea"/>
                <a:cs typeface="Arial" pitchFamily="34" charset="0"/>
              </a:rPr>
              <a:pPr marL="0" marR="0" lvl="0" indent="0" algn="r" defTabSz="607619" rtl="0" eaLnBrk="1" fontAlgn="auto" latinLnBrk="0" hangingPunct="1">
                <a:lnSpc>
                  <a:spcPct val="100000"/>
                </a:lnSpc>
                <a:spcBef>
                  <a:spcPts val="439"/>
                </a:spcBef>
                <a:spcAft>
                  <a:spcPts val="0"/>
                </a:spcAft>
                <a:buClrTx/>
                <a:buSzPct val="100000"/>
                <a:buFont typeface="Arial"/>
                <a:buNone/>
                <a:tabLst/>
                <a:defRPr/>
              </a:pPr>
              <a:t>‹Nº›</a:t>
            </a:fld>
            <a:endParaRPr kumimoji="0" lang="en-US" sz="476"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Tree>
    <p:extLst>
      <p:ext uri="{BB962C8B-B14F-4D97-AF65-F5344CB8AC3E}">
        <p14:creationId xmlns:p14="http://schemas.microsoft.com/office/powerpoint/2010/main" val="61382845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Drag picture to placeholder or click icon to add</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1985825"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68027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TextBox 6"/>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s-ES_tradnl" sz="650" noProof="0" dirty="0">
                <a:solidFill>
                  <a:schemeClr val="bg1"/>
                </a:solidFill>
              </a:rPr>
              <a:t>© 2021 Deloitte Impuestos y Servicios Legales, S.C.</a:t>
            </a:r>
          </a:p>
        </p:txBody>
      </p:sp>
      <p:sp>
        <p:nvSpPr>
          <p:cNvPr id="8" name="TextBox 7"/>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s-ES_tradnl" sz="650" noProof="0" smtClean="0">
                <a:solidFill>
                  <a:schemeClr val="bg1"/>
                </a:solidFill>
              </a:rPr>
              <a:pPr marL="0" indent="0" algn="r">
                <a:spcBef>
                  <a:spcPts val="600"/>
                </a:spcBef>
                <a:buSzPct val="100000"/>
                <a:buFont typeface="Arial"/>
                <a:buNone/>
              </a:pPr>
              <a:t>‹Nº›</a:t>
            </a:fld>
            <a:endParaRPr lang="es-ES_tradnl" sz="650" noProof="0" dirty="0">
              <a:solidFill>
                <a:schemeClr val="bg1"/>
              </a:solidFill>
            </a:endParaRPr>
          </a:p>
        </p:txBody>
      </p:sp>
      <p:sp>
        <p:nvSpPr>
          <p:cNvPr id="9" name="TextBox 8"/>
          <p:cNvSpPr txBox="1"/>
          <p:nvPr userDrawn="1"/>
        </p:nvSpPr>
        <p:spPr>
          <a:xfrm>
            <a:off x="4778571" y="6457544"/>
            <a:ext cx="2640000" cy="201260"/>
          </a:xfrm>
          <a:prstGeom prst="rect">
            <a:avLst/>
          </a:prstGeom>
          <a:noFill/>
        </p:spPr>
        <p:txBody>
          <a:bodyPr wrap="square" lIns="0" tIns="0" rIns="0" bIns="0" rtlCol="0">
            <a:noAutofit/>
          </a:bodyPr>
          <a:lstStyle/>
          <a:p>
            <a:pPr marL="0" indent="0" algn="ctr">
              <a:spcBef>
                <a:spcPts val="600"/>
              </a:spcBef>
              <a:buSzPct val="100000"/>
              <a:buFont typeface="Arial"/>
              <a:buNone/>
            </a:pPr>
            <a:r>
              <a:rPr lang="es-ES_tradnl" sz="800" noProof="0" dirty="0">
                <a:solidFill>
                  <a:schemeClr val="bg1"/>
                </a:solidFill>
              </a:rPr>
              <a:t>Información</a:t>
            </a:r>
            <a:r>
              <a:rPr lang="es-ES_tradnl" sz="800" baseline="0" noProof="0" dirty="0">
                <a:solidFill>
                  <a:schemeClr val="bg1"/>
                </a:solidFill>
              </a:rPr>
              <a:t> confidencial</a:t>
            </a:r>
            <a:endParaRPr lang="es-ES_tradnl" sz="800" noProof="0" dirty="0">
              <a:solidFill>
                <a:schemeClr val="bg1"/>
              </a:solidFill>
            </a:endParaRPr>
          </a:p>
        </p:txBody>
      </p:sp>
    </p:spTree>
    <p:extLst>
      <p:ext uri="{BB962C8B-B14F-4D97-AF65-F5344CB8AC3E}">
        <p14:creationId xmlns:p14="http://schemas.microsoft.com/office/powerpoint/2010/main" val="56382506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59469991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6031846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6903741"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grpSp>
        <p:nvGrpSpPr>
          <p:cNvPr id="5" name="Group 4"/>
          <p:cNvGrpSpPr>
            <a:grpSpLocks noChangeAspect="1"/>
          </p:cNvGrpSpPr>
          <p:nvPr userDrawn="1"/>
        </p:nvGrpSpPr>
        <p:grpSpPr>
          <a:xfrm>
            <a:off x="9669067" y="390775"/>
            <a:ext cx="1998000" cy="374400"/>
            <a:chOff x="398463" y="404813"/>
            <a:chExt cx="1627187" cy="307976"/>
          </a:xfrm>
          <a:solidFill>
            <a:schemeClr val="tx1"/>
          </a:solidFill>
        </p:grpSpPr>
        <p:sp>
          <p:nvSpPr>
            <p:cNvPr id="6" name="Oval 5"/>
            <p:cNvSpPr>
              <a:spLocks noChangeArrowheads="1"/>
            </p:cNvSpPr>
            <p:nvPr userDrawn="1"/>
          </p:nvSpPr>
          <p:spPr bwMode="auto">
            <a:xfrm>
              <a:off x="1938338" y="625476"/>
              <a:ext cx="87312"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774942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p:cNvSpPr>
            <a:spLocks noGrp="1"/>
          </p:cNvSpPr>
          <p:nvPr>
            <p:ph type="dt" sz="half" idx="10"/>
          </p:nvPr>
        </p:nvSpPr>
        <p:spPr/>
        <p:txBody>
          <a:bodyPr/>
          <a:lstStyle/>
          <a:p>
            <a:fld id="{4A0DE6A7-4442-4C23-81E9-75B147630A31}" type="datetime1">
              <a:rPr lang="es-MX" smtClean="0"/>
              <a:t>09/11/2022</a:t>
            </a:fld>
            <a:endParaRPr lang="es-MX" dirty="0"/>
          </a:p>
        </p:txBody>
      </p:sp>
      <p:sp>
        <p:nvSpPr>
          <p:cNvPr id="6" name="Footer Placeholder 5"/>
          <p:cNvSpPr>
            <a:spLocks noGrp="1"/>
          </p:cNvSpPr>
          <p:nvPr>
            <p:ph type="ftr" sz="quarter" idx="11"/>
          </p:nvPr>
        </p:nvSpPr>
        <p:spPr/>
        <p:txBody>
          <a:bodyPr/>
          <a:lstStyle/>
          <a:p>
            <a:r>
              <a:rPr lang="es-MX" dirty="0"/>
              <a:t>© 2021 Deloitte Impuestos y Servicios Legales, S.C.</a:t>
            </a:r>
          </a:p>
        </p:txBody>
      </p:sp>
      <p:sp>
        <p:nvSpPr>
          <p:cNvPr id="7" name="Slide Number Placeholder 6"/>
          <p:cNvSpPr>
            <a:spLocks noGrp="1"/>
          </p:cNvSpPr>
          <p:nvPr>
            <p:ph type="sldNum" sz="quarter" idx="12"/>
          </p:nvPr>
        </p:nvSpPr>
        <p:spPr/>
        <p:txBody>
          <a:bodyPr/>
          <a:lstStyle/>
          <a:p>
            <a:fld id="{FAFBB37F-EFDA-400D-A90C-045135E7FC4E}" type="slidenum">
              <a:rPr lang="es-MX" smtClean="0"/>
              <a:t>‹Nº›</a:t>
            </a:fld>
            <a:endParaRPr lang="es-MX" dirty="0"/>
          </a:p>
        </p:txBody>
      </p:sp>
    </p:spTree>
    <p:extLst>
      <p:ext uri="{BB962C8B-B14F-4D97-AF65-F5344CB8AC3E}">
        <p14:creationId xmlns:p14="http://schemas.microsoft.com/office/powerpoint/2010/main" val="333252448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0672554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648979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0706356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997718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7808662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0 </a:t>
            </a:r>
            <a:r>
              <a:rPr lang="es-MX" sz="900" noProof="0" dirty="0" err="1">
                <a:solidFill>
                  <a:schemeClr val="tx1"/>
                </a:solidFill>
                <a:latin typeface="Calibri" panose="020F0502020204030204" pitchFamily="34" charset="0"/>
                <a:cs typeface="Calibri" panose="020F0502020204030204" pitchFamily="34" charset="0"/>
              </a:rPr>
              <a:t>Deloitte</a:t>
            </a:r>
            <a:r>
              <a:rPr lang="es-MX" sz="900" noProof="0" dirty="0">
                <a:solidFill>
                  <a:schemeClr val="tx1"/>
                </a:solidFill>
                <a:latin typeface="Calibri" panose="020F0502020204030204" pitchFamily="34" charset="0"/>
                <a:cs typeface="Calibri" panose="020F0502020204030204" pitchFamily="34" charset="0"/>
              </a:rPr>
              <a:t>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298438911"/>
      </p:ext>
    </p:extLst>
  </p:cSld>
  <p:clrMapOvr>
    <a:masterClrMapping/>
  </p:clrMapOvr>
  <p:transition>
    <p:fade/>
  </p:transition>
  <p:hf hd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556716376"/>
      </p:ext>
    </p:extLst>
  </p:cSld>
  <p:clrMapOvr>
    <a:masterClrMapping/>
  </p:clrMapOvr>
  <p:transition>
    <p:fade/>
  </p:transition>
  <p:hf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63960668"/>
      </p:ext>
    </p:extLst>
  </p:cSld>
  <p:clrMapOvr>
    <a:masterClrMapping/>
  </p:clrMapOvr>
  <p:transition>
    <p:fade/>
  </p:transition>
  <p:hf hdr="0" dt="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65791721"/>
      </p:ext>
    </p:extLst>
  </p:cSld>
  <p:clrMapOvr>
    <a:masterClrMapping/>
  </p:clrMapOvr>
  <p:transition>
    <p:fade/>
  </p:transition>
  <p:hf hdr="0" dt="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68015068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18263515"/>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816869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8538989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571877220"/>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14348590"/>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4372954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6192564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258579083"/>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5542930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475470794"/>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6849536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887181382"/>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0541844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25322700"/>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0823977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2" name="Rectangle 1">
            <a:extLst>
              <a:ext uri="{FF2B5EF4-FFF2-40B4-BE49-F238E27FC236}">
                <a16:creationId xmlns:a16="http://schemas.microsoft.com/office/drawing/2014/main" id="{34A805ED-DDF5-413E-B950-5E38D2D78BE0}"/>
              </a:ext>
            </a:extLst>
          </p:cNvPr>
          <p:cNvSpPr/>
          <p:nvPr userDrawn="1"/>
        </p:nvSpPr>
        <p:spPr bwMode="gray">
          <a:xfrm>
            <a:off x="256478" y="5910146"/>
            <a:ext cx="11675327" cy="7572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1020907981"/>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204070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80540595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995163289"/>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71353188"/>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76879858"/>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Rectangle 2">
            <a:extLst>
              <a:ext uri="{FF2B5EF4-FFF2-40B4-BE49-F238E27FC236}">
                <a16:creationId xmlns:a16="http://schemas.microsoft.com/office/drawing/2014/main" id="{DA1A3AC8-D3E4-403E-BBC4-ACFAE2564088}"/>
              </a:ext>
            </a:extLst>
          </p:cNvPr>
          <p:cNvSpPr/>
          <p:nvPr userDrawn="1"/>
        </p:nvSpPr>
        <p:spPr bwMode="gray">
          <a:xfrm>
            <a:off x="234176" y="6110868"/>
            <a:ext cx="11957824" cy="60216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115274833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2827302"/>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7499780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65596417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8401079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9702104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4799604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61945074"/>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26852583"/>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2705529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5133833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8556570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3735913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084939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5164778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558190"/>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53896953"/>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59329372"/>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56343786"/>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51333419"/>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98669310"/>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61005881"/>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502806583"/>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5526686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876138964"/>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5182078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379591"/>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Estatus de modernización de la aduana</a:t>
            </a:r>
          </a:p>
          <a:p>
            <a:pPr marL="0" indent="0" algn="r" defTabSz="1219170" rtl="0" eaLnBrk="1" latinLnBrk="0" hangingPunct="1">
              <a:spcBef>
                <a:spcPts val="800"/>
              </a:spcBef>
              <a:buSzPct val="100000"/>
              <a:buFont typeface="Arial"/>
              <a:buNone/>
            </a:pP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1</a:t>
            </a:r>
            <a:r>
              <a:rPr lang="es-MX" sz="900" baseline="0" noProof="0" dirty="0">
                <a:solidFill>
                  <a:schemeClr val="bg1"/>
                </a:solidFill>
                <a:latin typeface="+mj-lt"/>
                <a:cs typeface="Calibri" panose="020F0502020204030204" pitchFamily="34" charset="0"/>
              </a:rPr>
              <a:t> </a:t>
            </a:r>
            <a:r>
              <a:rPr lang="es-MX" sz="900" noProof="0" dirty="0">
                <a:solidFill>
                  <a:schemeClr val="bg1"/>
                </a:solidFill>
                <a:latin typeface="+mj-lt"/>
                <a:cs typeface="Calibri" panose="020F0502020204030204" pitchFamily="34" charset="0"/>
              </a:rPr>
              <a:t>Deloitte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66143574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548770706"/>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2" name="Rectangle 1">
            <a:extLst>
              <a:ext uri="{FF2B5EF4-FFF2-40B4-BE49-F238E27FC236}">
                <a16:creationId xmlns:a16="http://schemas.microsoft.com/office/drawing/2014/main" id="{30B7CCD3-7ECF-479A-8202-87354A7359D5}"/>
              </a:ext>
            </a:extLst>
          </p:cNvPr>
          <p:cNvSpPr/>
          <p:nvPr userDrawn="1"/>
        </p:nvSpPr>
        <p:spPr bwMode="gray">
          <a:xfrm>
            <a:off x="211873" y="6311590"/>
            <a:ext cx="11864898" cy="4683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157876747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504410540"/>
      </p:ext>
    </p:extLst>
  </p:cSld>
  <p:clrMapOvr>
    <a:masterClrMapping/>
  </p:clrMapOvr>
  <p:hf hdr="0" dt="0"/>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58553181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3663307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1929327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981889897"/>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301872811"/>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491810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Estatus de modernización de la aduana</a:t>
            </a: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1</a:t>
            </a:r>
            <a:r>
              <a:rPr lang="es-MX" sz="900" baseline="0" noProof="0" dirty="0">
                <a:solidFill>
                  <a:schemeClr val="bg1"/>
                </a:solidFill>
                <a:latin typeface="+mj-lt"/>
                <a:cs typeface="Calibri" panose="020F0502020204030204" pitchFamily="34" charset="0"/>
              </a:rPr>
              <a:t> </a:t>
            </a:r>
            <a:r>
              <a:rPr lang="es-MX" sz="900" noProof="0" dirty="0">
                <a:solidFill>
                  <a:schemeClr val="bg1"/>
                </a:solidFill>
                <a:latin typeface="+mj-lt"/>
                <a:cs typeface="Calibri" panose="020F0502020204030204" pitchFamily="34" charset="0"/>
              </a:rPr>
              <a:t>Deloitte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172095495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860665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Rectangle 1">
            <a:extLst>
              <a:ext uri="{FF2B5EF4-FFF2-40B4-BE49-F238E27FC236}">
                <a16:creationId xmlns:a16="http://schemas.microsoft.com/office/drawing/2014/main" id="{877006F1-B357-4BC0-836B-C5D120FA6BE5}"/>
              </a:ext>
            </a:extLst>
          </p:cNvPr>
          <p:cNvSpPr/>
          <p:nvPr userDrawn="1"/>
        </p:nvSpPr>
        <p:spPr bwMode="gray">
          <a:xfrm>
            <a:off x="234176" y="6110868"/>
            <a:ext cx="11957824" cy="60216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2859211630"/>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628487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92300800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867213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550341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0 </a:t>
            </a:r>
            <a:r>
              <a:rPr lang="es-MX" sz="900" noProof="0" dirty="0" err="1">
                <a:solidFill>
                  <a:schemeClr val="tx1"/>
                </a:solidFill>
                <a:latin typeface="Calibri" panose="020F0502020204030204" pitchFamily="34" charset="0"/>
                <a:cs typeface="Calibri" panose="020F0502020204030204" pitchFamily="34" charset="0"/>
              </a:rPr>
              <a:t>Deloitte</a:t>
            </a:r>
            <a:r>
              <a:rPr lang="es-MX" sz="900" noProof="0" dirty="0">
                <a:solidFill>
                  <a:schemeClr val="tx1"/>
                </a:solidFill>
                <a:latin typeface="Calibri" panose="020F0502020204030204" pitchFamily="34" charset="0"/>
                <a:cs typeface="Calibri" panose="020F0502020204030204" pitchFamily="34" charset="0"/>
              </a:rPr>
              <a:t>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1799918722"/>
      </p:ext>
    </p:extLst>
  </p:cSld>
  <p:clrMapOvr>
    <a:masterClrMapping/>
  </p:clrMapOvr>
  <p:transition>
    <p:fade/>
  </p:transition>
  <p:hf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577097319"/>
      </p:ext>
    </p:extLst>
  </p:cSld>
  <p:clrMapOvr>
    <a:masterClrMapping/>
  </p:clrMapOvr>
  <p:transition>
    <p:fade/>
  </p:transition>
  <p:hf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74481331"/>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91527788"/>
      </p:ext>
    </p:extLst>
  </p:cSld>
  <p:clrMapOvr>
    <a:masterClrMapping/>
  </p:clrMapOvr>
  <p:transition>
    <p:fade/>
  </p:transition>
  <p:hf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9074965"/>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68244478"/>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60459380"/>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796119748"/>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527903959"/>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90030428"/>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49578909"/>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684215733"/>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326883279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40008873"/>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123489705"/>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151439863"/>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44154952"/>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48738550"/>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2" name="Rectangle 1">
            <a:extLst>
              <a:ext uri="{FF2B5EF4-FFF2-40B4-BE49-F238E27FC236}">
                <a16:creationId xmlns:a16="http://schemas.microsoft.com/office/drawing/2014/main" id="{34A805ED-DDF5-413E-B950-5E38D2D78BE0}"/>
              </a:ext>
            </a:extLst>
          </p:cNvPr>
          <p:cNvSpPr/>
          <p:nvPr userDrawn="1"/>
        </p:nvSpPr>
        <p:spPr bwMode="gray">
          <a:xfrm>
            <a:off x="256478" y="5910146"/>
            <a:ext cx="11675327" cy="7572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891195089"/>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724025260"/>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051294633"/>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17741516"/>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9437166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55639205"/>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Rectangle 2">
            <a:extLst>
              <a:ext uri="{FF2B5EF4-FFF2-40B4-BE49-F238E27FC236}">
                <a16:creationId xmlns:a16="http://schemas.microsoft.com/office/drawing/2014/main" id="{DA1A3AC8-D3E4-403E-BBC4-ACFAE2564088}"/>
              </a:ext>
            </a:extLst>
          </p:cNvPr>
          <p:cNvSpPr/>
          <p:nvPr userDrawn="1"/>
        </p:nvSpPr>
        <p:spPr bwMode="gray">
          <a:xfrm>
            <a:off x="234176" y="6110868"/>
            <a:ext cx="11957824" cy="60216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2355392246"/>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51846"/>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5444140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5920237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1052998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7111264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467757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7529673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5451599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42170770"/>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361678474"/>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607752222"/>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24318926"/>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425574752"/>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4920904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84148672"/>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6183460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80517982"/>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02127822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80702148"/>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25351553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95136803"/>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2734354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4499229"/>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777326651"/>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2" name="Rectangle 1">
            <a:extLst>
              <a:ext uri="{FF2B5EF4-FFF2-40B4-BE49-F238E27FC236}">
                <a16:creationId xmlns:a16="http://schemas.microsoft.com/office/drawing/2014/main" id="{30B7CCD3-7ECF-479A-8202-87354A7359D5}"/>
              </a:ext>
            </a:extLst>
          </p:cNvPr>
          <p:cNvSpPr/>
          <p:nvPr userDrawn="1"/>
        </p:nvSpPr>
        <p:spPr bwMode="gray">
          <a:xfrm>
            <a:off x="211873" y="6311590"/>
            <a:ext cx="11864898" cy="4683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4130387080"/>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133311898"/>
      </p:ext>
    </p:extLst>
  </p:cSld>
  <p:clrMapOvr>
    <a:masterClrMapping/>
  </p:clrMapOvr>
  <p:hf hdr="0" dt="0"/>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338092430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5218947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798966200"/>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3012993596"/>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55149642"/>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382594050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252162"/>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77659000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202646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7109117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2799886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937080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56204129"/>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20263251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44773983"/>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79708933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226566754"/>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20902178"/>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3753787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0774566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36448179"/>
      </p:ext>
    </p:extLst>
  </p:cSld>
  <p:clrMapOvr>
    <a:masterClrMapping/>
  </p:clrMapOvr>
  <p:hf hdr="0" dt="0"/>
</p:sldLayout>
</file>

<file path=ppt/slideLayouts/slideLayout399.xml><?xml version="1.0" encoding="utf-8"?>
<p:sldLayout xmlns:a="http://schemas.openxmlformats.org/drawingml/2006/main" xmlns:r="http://schemas.openxmlformats.org/officeDocument/2006/relationships" xmlns:p="http://schemas.openxmlformats.org/presentationml/2006/main">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Box 11"/>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3" name="TextBox 12"/>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2 Deloitte Impuestos y Servicios Legales</a:t>
            </a:r>
            <a:r>
              <a:rPr lang="es-MX" sz="900" baseline="0" dirty="0">
                <a:solidFill>
                  <a:schemeClr val="bg1"/>
                </a:solidFill>
                <a:latin typeface="+mj-lt"/>
              </a:rPr>
              <a:t>, S</a:t>
            </a:r>
            <a:r>
              <a:rPr lang="es-MX" sz="900" dirty="0">
                <a:solidFill>
                  <a:schemeClr val="bg1"/>
                </a:solidFill>
                <a:latin typeface="+mj-lt"/>
              </a:rPr>
              <a:t>.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7477364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07596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9404035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86971632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736031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00194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0 </a:t>
            </a:r>
            <a:r>
              <a:rPr lang="es-MX" sz="900" noProof="0" dirty="0" err="1">
                <a:solidFill>
                  <a:schemeClr val="tx1"/>
                </a:solidFill>
                <a:latin typeface="Calibri" panose="020F0502020204030204" pitchFamily="34" charset="0"/>
                <a:cs typeface="Calibri" panose="020F0502020204030204" pitchFamily="34" charset="0"/>
              </a:rPr>
              <a:t>Deloitte</a:t>
            </a:r>
            <a:r>
              <a:rPr lang="es-MX" sz="900" noProof="0" dirty="0">
                <a:solidFill>
                  <a:schemeClr val="tx1"/>
                </a:solidFill>
                <a:latin typeface="Calibri" panose="020F0502020204030204" pitchFamily="34" charset="0"/>
                <a:cs typeface="Calibri" panose="020F0502020204030204" pitchFamily="34" charset="0"/>
              </a:rPr>
              <a:t>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4208179619"/>
      </p:ext>
    </p:extLst>
  </p:cSld>
  <p:clrMapOvr>
    <a:masterClrMapping/>
  </p:clrMapOvr>
  <p:transition>
    <p:fade/>
  </p:transition>
  <p:hf hd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17227615"/>
      </p:ext>
    </p:extLst>
  </p:cSld>
  <p:clrMapOvr>
    <a:masterClrMapping/>
  </p:clrMapOvr>
  <p:transition>
    <p:fade/>
  </p:transition>
  <p:hf hd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22658623"/>
      </p:ext>
    </p:extLst>
  </p:cSld>
  <p:clrMapOvr>
    <a:masterClrMapping/>
  </p:clrMapOvr>
  <p:transition>
    <p:fade/>
  </p:transition>
  <p:hf hdr="0" dt="0"/>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94911147"/>
      </p:ext>
    </p:extLst>
  </p:cSld>
  <p:clrMapOvr>
    <a:masterClrMapping/>
  </p:clrMapOvr>
  <p:transition>
    <p:fade/>
  </p:transition>
  <p:hf hdr="0" dt="0"/>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subtitle &amp; 1 column text">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tx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tx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tx1"/>
                </a:solidFill>
                <a:latin typeface="+mj-lt"/>
                <a:ea typeface="+mn-ea"/>
                <a:cs typeface="+mn-cs"/>
              </a:rPr>
              <a:t>Actualización y Aspectos Relevantes de Comercio Exterior</a:t>
            </a:r>
            <a:endParaRPr lang="en-US" sz="900" kern="1200" noProof="0" dirty="0">
              <a:solidFill>
                <a:schemeClr val="tx1"/>
              </a:solidFill>
              <a:latin typeface="+mj-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2291710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5602474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15810005"/>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902021923"/>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691839181"/>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22882660"/>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24013103"/>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277849849"/>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997030821"/>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879310493"/>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29292012"/>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9256259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829620055"/>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64755980"/>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95602335"/>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89656022"/>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296129024"/>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4386577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2107561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23837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097452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1864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Actualización y Aspectos Relevantes de Comercio Exterior</a:t>
            </a: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6442368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Actualización y Aspectos Relevantes de Comercio Exterior</a:t>
            </a:r>
            <a:endParaRPr lang="en-US" sz="900" kern="1200" noProof="0" dirty="0">
              <a:solidFill>
                <a:schemeClr val="bg1"/>
              </a:solidFill>
              <a:latin typeface="+mj-lt"/>
              <a:ea typeface="+mn-ea"/>
              <a:cs typeface="+mn-cs"/>
            </a:endParaRP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2 Deloitte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33587722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139667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540536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47291418"/>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836308598"/>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37754075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98828469"/>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78245299"/>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580793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82567548"/>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588051239"/>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47040041"/>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170505744"/>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500629898"/>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698243792"/>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717957218"/>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189943233"/>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106854487"/>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5104807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00158418"/>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410895981"/>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28156875"/>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2065747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3901703058"/>
      </p:ext>
    </p:extLst>
  </p:cSld>
  <p:clrMapOvr>
    <a:masterClrMapping/>
  </p:clrMapOvr>
  <p:hf hdr="0" dt="0"/>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269309756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TextBox 7"/>
          <p:cNvSpPr txBox="1"/>
          <p:nvPr userDrawn="1"/>
        </p:nvSpPr>
        <p:spPr>
          <a:xfrm>
            <a:off x="11410953" y="6477000"/>
            <a:ext cx="307975" cy="138499"/>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900" noProof="0" smtClean="0">
                <a:solidFill>
                  <a:schemeClr val="bg1"/>
                </a:solidFill>
                <a:latin typeface="+mj-lt"/>
              </a:rPr>
              <a:pPr marL="0" indent="0" algn="r">
                <a:spcBef>
                  <a:spcPts val="800"/>
                </a:spcBef>
                <a:buSzPct val="100000"/>
                <a:buFont typeface="Arial"/>
                <a:buNone/>
              </a:pPr>
              <a:t>‹Nº›</a:t>
            </a:fld>
            <a:endParaRPr lang="en-US" sz="900" noProof="0" dirty="0">
              <a:solidFill>
                <a:schemeClr val="bg1"/>
              </a:solidFill>
              <a:latin typeface="+mj-lt"/>
            </a:endParaRPr>
          </a:p>
        </p:txBody>
      </p:sp>
      <p:sp>
        <p:nvSpPr>
          <p:cNvPr id="10" name="TextBox 9"/>
          <p:cNvSpPr txBox="1"/>
          <p:nvPr userDrawn="1"/>
        </p:nvSpPr>
        <p:spPr>
          <a:xfrm>
            <a:off x="6336000" y="6476999"/>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n-lt"/>
                <a:ea typeface="+mn-ea"/>
                <a:cs typeface="+mn-cs"/>
              </a:rPr>
              <a:t>Actualización y Aspectos Relevantes de Comercio Exterior</a:t>
            </a:r>
            <a:endParaRPr lang="en-US" sz="900" kern="1200" noProof="0" dirty="0">
              <a:solidFill>
                <a:schemeClr val="bg1"/>
              </a:solidFill>
              <a:latin typeface="+mn-lt"/>
              <a:ea typeface="+mn-ea"/>
              <a:cs typeface="+mn-cs"/>
            </a:endParaRPr>
          </a:p>
        </p:txBody>
      </p:sp>
      <p:sp>
        <p:nvSpPr>
          <p:cNvPr id="14" name="TextBox 13"/>
          <p:cNvSpPr txBox="1"/>
          <p:nvPr userDrawn="1"/>
        </p:nvSpPr>
        <p:spPr>
          <a:xfrm>
            <a:off x="469900" y="6478588"/>
            <a:ext cx="5355167" cy="138499"/>
          </a:xfrm>
          <a:prstGeom prst="rect">
            <a:avLst/>
          </a:prstGeom>
          <a:noFill/>
        </p:spPr>
        <p:txBody>
          <a:bodyPr wrap="square" lIns="0" tIns="0" rIns="0" bIns="0" rtlCol="0">
            <a:spAutoFit/>
          </a:bodyPr>
          <a:lstStyle/>
          <a:p>
            <a:pPr>
              <a:spcAft>
                <a:spcPts val="0"/>
              </a:spcAft>
            </a:pPr>
            <a:r>
              <a:rPr lang="es-MX" sz="900" kern="1200" dirty="0">
                <a:solidFill>
                  <a:schemeClr val="bg1"/>
                </a:solidFill>
                <a:latin typeface="+mn-lt"/>
                <a:ea typeface="Calibri" panose="020F0502020204030204" pitchFamily="34" charset="0"/>
                <a:cs typeface="+mn-cs"/>
              </a:rPr>
              <a:t>© </a:t>
            </a:r>
            <a:r>
              <a:rPr lang="es-MX" sz="900" spc="-20" dirty="0">
                <a:solidFill>
                  <a:schemeClr val="bg1"/>
                </a:solidFill>
                <a:ea typeface="Calibri" panose="020F0502020204030204" pitchFamily="34" charset="0"/>
              </a:rPr>
              <a:t>2020 </a:t>
            </a:r>
            <a:r>
              <a:rPr lang="es-MX" sz="900" kern="1200" spc="-20" dirty="0" err="1">
                <a:solidFill>
                  <a:schemeClr val="bg1"/>
                </a:solidFill>
                <a:latin typeface="+mn-lt"/>
                <a:ea typeface="Calibri" panose="020F0502020204030204" pitchFamily="34" charset="0"/>
                <a:cs typeface="+mn-cs"/>
              </a:rPr>
              <a:t>Deloitte</a:t>
            </a:r>
            <a:r>
              <a:rPr lang="es-MX" sz="900" kern="1200" spc="-20" dirty="0">
                <a:solidFill>
                  <a:schemeClr val="bg1"/>
                </a:solidFill>
                <a:latin typeface="+mn-lt"/>
                <a:ea typeface="Calibri" panose="020F0502020204030204" pitchFamily="34" charset="0"/>
                <a:cs typeface="+mn-cs"/>
              </a:rPr>
              <a:t> Impuestos y Servicios Legales, S.C.</a:t>
            </a:r>
            <a:endParaRPr lang="es-MX" sz="900" kern="1200" dirty="0">
              <a:solidFill>
                <a:schemeClr val="bg1"/>
              </a:solidFill>
              <a:latin typeface="+mn-lt"/>
              <a:ea typeface="Calibri" panose="020F0502020204030204" pitchFamily="34" charset="0"/>
              <a:cs typeface="+mn-cs"/>
            </a:endParaRPr>
          </a:p>
        </p:txBody>
      </p:sp>
    </p:spTree>
    <p:extLst>
      <p:ext uri="{BB962C8B-B14F-4D97-AF65-F5344CB8AC3E}">
        <p14:creationId xmlns:p14="http://schemas.microsoft.com/office/powerpoint/2010/main" val="39707757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66089983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426890624"/>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32564450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70396179"/>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279066687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625703"/>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578892107"/>
      </p:ext>
    </p:extLst>
  </p:cSld>
  <p:clrMapOvr>
    <a:masterClrMapping/>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6" name="Text Placeholder 8"/>
          <p:cNvSpPr>
            <a:spLocks noGrp="1"/>
          </p:cNvSpPr>
          <p:nvPr>
            <p:ph type="body" sz="quarter" idx="18"/>
          </p:nvPr>
        </p:nvSpPr>
        <p:spPr>
          <a:xfrm>
            <a:off x="469900" y="765263"/>
            <a:ext cx="11252200" cy="757255"/>
          </a:xfrm>
          <a:prstGeom prst="rect">
            <a:avLst/>
          </a:prstGeom>
        </p:spPr>
        <p:txBody>
          <a:bodyPr>
            <a:noAutofit/>
          </a:bodyPr>
          <a:lstStyle>
            <a:lvl1pPr marL="0" indent="0">
              <a:buNone/>
              <a:defRPr sz="2400" b="0">
                <a:solidFill>
                  <a:srgbClr val="575757"/>
                </a:solidFill>
              </a:defRPr>
            </a:lvl1pPr>
          </a:lstStyle>
          <a:p>
            <a:pPr lvl="0"/>
            <a:r>
              <a:rPr lang="en-US" noProof="0"/>
              <a:t>Edit Master text styles</a:t>
            </a:r>
          </a:p>
        </p:txBody>
      </p:sp>
      <p:sp>
        <p:nvSpPr>
          <p:cNvPr id="7" name="Title Placeholder 1"/>
          <p:cNvSpPr>
            <a:spLocks noGrp="1"/>
          </p:cNvSpPr>
          <p:nvPr>
            <p:ph type="title"/>
          </p:nvPr>
        </p:nvSpPr>
        <p:spPr>
          <a:xfrm>
            <a:off x="469900" y="402587"/>
            <a:ext cx="11252200" cy="334102"/>
          </a:xfrm>
          <a:prstGeom prst="rect">
            <a:avLst/>
          </a:prstGeom>
        </p:spPr>
        <p:txBody>
          <a:bodyPr rtlCol="0">
            <a:noAutofit/>
          </a:bodyPr>
          <a:lstStyle>
            <a:lvl1pPr>
              <a:defRPr sz="2400"/>
            </a:lvl1pPr>
          </a:lstStyle>
          <a:p>
            <a:r>
              <a:rPr lang="en-US" noProof="0"/>
              <a:t>Click to edit Master title style</a:t>
            </a:r>
            <a:endParaRPr lang="en-US" noProof="0" dirty="0"/>
          </a:p>
        </p:txBody>
      </p:sp>
    </p:spTree>
    <p:extLst>
      <p:ext uri="{BB962C8B-B14F-4D97-AF65-F5344CB8AC3E}">
        <p14:creationId xmlns:p14="http://schemas.microsoft.com/office/powerpoint/2010/main" val="3628635217"/>
      </p:ext>
    </p:extLst>
  </p:cSld>
  <p:clrMapOvr>
    <a:masterClrMapping/>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4" name="TextBox 3"/>
          <p:cNvSpPr txBox="1"/>
          <p:nvPr userDrawn="1"/>
        </p:nvSpPr>
        <p:spPr>
          <a:xfrm>
            <a:off x="6313488" y="6477000"/>
            <a:ext cx="4895850" cy="200025"/>
          </a:xfrm>
          <a:prstGeom prst="rect">
            <a:avLst/>
          </a:prstGeom>
          <a:noFill/>
        </p:spPr>
        <p:txBody>
          <a:bodyPr lIns="0" tIns="0" rIns="0" bIns="0">
            <a:spAutoFit/>
          </a:bodyPr>
          <a:lstStyle/>
          <a:p>
            <a:pPr algn="r" defTabSz="1219170"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userDrawn="1"/>
        </p:nvSpPr>
        <p:spPr>
          <a:xfrm>
            <a:off x="11414125" y="6477000"/>
            <a:ext cx="307975" cy="100013"/>
          </a:xfrm>
          <a:prstGeom prst="rect">
            <a:avLst/>
          </a:prstGeom>
          <a:noFill/>
        </p:spPr>
        <p:txBody>
          <a:bodyPr lIns="0" tIns="0" rIns="0" bIns="0">
            <a:spAutoFit/>
          </a:bodyPr>
          <a:lstStyle/>
          <a:p>
            <a:pPr algn="r" defTabSz="1219170" eaLnBrk="1" fontAlgn="auto" hangingPunct="1">
              <a:spcBef>
                <a:spcPts val="800"/>
              </a:spcBef>
              <a:spcAft>
                <a:spcPts val="0"/>
              </a:spcAft>
              <a:buSzPct val="100000"/>
              <a:buFont typeface="Arial"/>
              <a:buNone/>
              <a:defRPr/>
            </a:pPr>
            <a:fld id="{7EF41E90-23A8-4CDC-BBB1-F288C40F8E37}" type="slidenum">
              <a:rPr lang="en-US" sz="650">
                <a:solidFill>
                  <a:schemeClr val="bg1"/>
                </a:solidFill>
                <a:latin typeface="+mn-lt"/>
              </a:rPr>
              <a:pPr algn="r" defTabSz="1219170" eaLnBrk="1" fontAlgn="auto" hangingPunct="1">
                <a:spcBef>
                  <a:spcPts val="800"/>
                </a:spcBef>
                <a:spcAft>
                  <a:spcPts val="0"/>
                </a:spcAft>
                <a:buSzPct val="100000"/>
                <a:buFont typeface="Arial"/>
                <a:buNone/>
                <a:defRPr/>
              </a:pPr>
              <a:t>‹Nº›</a:t>
            </a:fld>
            <a:endParaRPr lang="en-US" sz="650" dirty="0">
              <a:solidFill>
                <a:schemeClr val="bg1"/>
              </a:solidFill>
              <a:latin typeface="+mn-lt"/>
            </a:endParaRPr>
          </a:p>
        </p:txBody>
      </p:sp>
      <p:sp>
        <p:nvSpPr>
          <p:cNvPr id="6" name="TextBox 5"/>
          <p:cNvSpPr txBox="1"/>
          <p:nvPr userDrawn="1"/>
        </p:nvSpPr>
        <p:spPr>
          <a:xfrm>
            <a:off x="469900" y="6477000"/>
            <a:ext cx="5354638" cy="100013"/>
          </a:xfrm>
          <a:prstGeom prst="rect">
            <a:avLst/>
          </a:prstGeom>
          <a:noFill/>
        </p:spPr>
        <p:txBody>
          <a:bodyPr lIns="0" tIns="0" rIns="0" bIns="0">
            <a:spAutoFit/>
          </a:bodyPr>
          <a:lstStyle/>
          <a:p>
            <a:pPr defTabSz="1219170" eaLnBrk="1" fontAlgn="auto" hangingPunct="1">
              <a:spcBef>
                <a:spcPts val="800"/>
              </a:spcBef>
              <a:spcAft>
                <a:spcPts val="0"/>
              </a:spcAft>
              <a:buSzPct val="100000"/>
              <a:buFont typeface="Arial"/>
              <a:buNone/>
              <a:defRPr/>
            </a:pPr>
            <a:r>
              <a:rPr lang="en-US" sz="650" dirty="0">
                <a:solidFill>
                  <a:schemeClr val="bg1"/>
                </a:solidFill>
                <a:latin typeface="+mn-lt"/>
              </a:rPr>
              <a:t>© 2017 </a:t>
            </a:r>
            <a:r>
              <a:rPr lang="en-US" sz="650" dirty="0" err="1">
                <a:solidFill>
                  <a:schemeClr val="bg1"/>
                </a:solidFill>
                <a:latin typeface="+mn-lt"/>
              </a:rPr>
              <a:t>Galaz</a:t>
            </a:r>
            <a:r>
              <a:rPr lang="en-US" sz="650" dirty="0">
                <a:solidFill>
                  <a:schemeClr val="bg1"/>
                </a:solidFill>
                <a:latin typeface="+mn-lt"/>
              </a:rPr>
              <a:t>, Yamazaki, Ruiz </a:t>
            </a:r>
            <a:r>
              <a:rPr lang="en-US" sz="650" dirty="0" err="1">
                <a:solidFill>
                  <a:schemeClr val="bg1"/>
                </a:solidFill>
                <a:latin typeface="+mn-lt"/>
              </a:rPr>
              <a:t>Urquiza</a:t>
            </a:r>
            <a:r>
              <a:rPr lang="en-US" sz="650" dirty="0">
                <a:solidFill>
                  <a:schemeClr val="bg1"/>
                </a:solidFill>
                <a:latin typeface="+mn-lt"/>
              </a:rPr>
              <a:t>, S.C.</a:t>
            </a:r>
          </a:p>
        </p:txBody>
      </p:sp>
      <p:sp>
        <p:nvSpPr>
          <p:cNvPr id="7" name="Title 2"/>
          <p:cNvSpPr txBox="1">
            <a:spLocks/>
          </p:cNvSpPr>
          <p:nvPr userDrawn="1"/>
        </p:nvSpPr>
        <p:spPr bwMode="gray">
          <a:xfrm>
            <a:off x="0" y="6369050"/>
            <a:ext cx="12192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Aft>
                <a:spcPts val="1000"/>
              </a:spcAft>
              <a:buSzPct val="100000"/>
              <a:buFont typeface="Arial" panose="020B0604020202020204" pitchFamily="34" charset="0"/>
              <a:defRPr sz="1000">
                <a:solidFill>
                  <a:schemeClr val="tx1"/>
                </a:solidFill>
                <a:latin typeface="Verdana" panose="020B0604030504040204" pitchFamily="34" charset="0"/>
              </a:defRPr>
            </a:lvl1pPr>
            <a:lvl2pPr marL="742950" indent="-285750">
              <a:spcAft>
                <a:spcPts val="1000"/>
              </a:spcAft>
              <a:buSzPct val="100000"/>
              <a:buFont typeface="Arial" panose="020B0604020202020204" pitchFamily="34" charset="0"/>
              <a:defRPr sz="1000" b="1">
                <a:solidFill>
                  <a:schemeClr val="tx1"/>
                </a:solidFill>
                <a:latin typeface="Verdana" panose="020B0604030504040204" pitchFamily="34" charset="0"/>
              </a:defRPr>
            </a:lvl2pPr>
            <a:lvl3pPr marL="176213" indent="-176213">
              <a:spcAft>
                <a:spcPts val="1000"/>
              </a:spcAft>
              <a:buSzPct val="100000"/>
              <a:buFont typeface="Arial" panose="020B0604020202020204" pitchFamily="34" charset="0"/>
              <a:buChar char="•"/>
              <a:defRPr sz="1000">
                <a:solidFill>
                  <a:schemeClr val="tx1"/>
                </a:solidFill>
                <a:latin typeface="Verdana" panose="020B0604030504040204" pitchFamily="34" charset="0"/>
              </a:defRPr>
            </a:lvl3pPr>
            <a:lvl4pPr marL="355600" indent="-176213">
              <a:spcAft>
                <a:spcPts val="1000"/>
              </a:spcAft>
              <a:buSzPct val="100000"/>
              <a:buFont typeface="Verdana" panose="020B0604030504040204" pitchFamily="34" charset="0"/>
              <a:buChar char="−"/>
              <a:defRPr sz="1000">
                <a:solidFill>
                  <a:schemeClr val="tx1"/>
                </a:solidFill>
                <a:latin typeface="Verdana" panose="020B0604030504040204" pitchFamily="34" charset="0"/>
              </a:defRPr>
            </a:lvl4pPr>
            <a:lvl5pPr marL="531813" indent="-176213" defTabSz="798513">
              <a:spcAft>
                <a:spcPts val="1000"/>
              </a:spcAft>
              <a:buSzPct val="100000"/>
              <a:buFont typeface="Verdana" panose="020B0604030504040204" pitchFamily="34" charset="0"/>
              <a:buChar char="−"/>
              <a:defRPr sz="1000">
                <a:solidFill>
                  <a:schemeClr val="tx1"/>
                </a:solidFill>
                <a:latin typeface="Verdana" panose="020B0604030504040204" pitchFamily="34" charset="0"/>
              </a:defRPr>
            </a:lvl5pPr>
            <a:lvl6pPr marL="9890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6pPr>
            <a:lvl7pPr marL="14462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7pPr>
            <a:lvl8pPr marL="19034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8pPr>
            <a:lvl9pPr marL="2360613" indent="-176213" defTabSz="798513" eaLnBrk="0" fontAlgn="base" hangingPunct="0">
              <a:spcBef>
                <a:spcPct val="0"/>
              </a:spcBef>
              <a:spcAft>
                <a:spcPts val="1000"/>
              </a:spcAft>
              <a:buSzPct val="100000"/>
              <a:buFont typeface="Verdana" panose="020B0604030504040204" pitchFamily="34" charset="0"/>
              <a:buChar char="−"/>
              <a:defRPr sz="1000">
                <a:solidFill>
                  <a:schemeClr val="tx1"/>
                </a:solidFill>
                <a:latin typeface="Verdana" panose="020B0604030504040204" pitchFamily="34" charset="0"/>
              </a:defRPr>
            </a:lvl9pPr>
          </a:lstStyle>
          <a:p>
            <a:pPr algn="ctr" defTabSz="1219170" eaLnBrk="1" fontAlgn="auto" hangingPunct="1">
              <a:spcBef>
                <a:spcPts val="0"/>
              </a:spcBef>
              <a:spcAft>
                <a:spcPct val="0"/>
              </a:spcAft>
              <a:buSzTx/>
              <a:buFontTx/>
              <a:buNone/>
              <a:defRPr/>
            </a:pPr>
            <a:r>
              <a:rPr lang="es-MX" altLang="es-MX" dirty="0">
                <a:solidFill>
                  <a:schemeClr val="bg1"/>
                </a:solidFill>
              </a:rPr>
              <a:t>Información Confidencial</a:t>
            </a: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755455975"/>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6" name="Group 5">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65009211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1706829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931975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204424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0 </a:t>
            </a:r>
            <a:r>
              <a:rPr lang="es-MX" sz="900" noProof="0" dirty="0" err="1">
                <a:solidFill>
                  <a:schemeClr val="tx1"/>
                </a:solidFill>
                <a:latin typeface="Calibri" panose="020F0502020204030204" pitchFamily="34" charset="0"/>
                <a:cs typeface="Calibri" panose="020F0502020204030204" pitchFamily="34" charset="0"/>
              </a:rPr>
              <a:t>Deloitte</a:t>
            </a:r>
            <a:r>
              <a:rPr lang="es-MX" sz="900" noProof="0" dirty="0">
                <a:solidFill>
                  <a:schemeClr val="tx1"/>
                </a:solidFill>
                <a:latin typeface="Calibri" panose="020F0502020204030204" pitchFamily="34" charset="0"/>
                <a:cs typeface="Calibri" panose="020F0502020204030204" pitchFamily="34" charset="0"/>
              </a:rPr>
              <a:t>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2157060753"/>
      </p:ext>
    </p:extLst>
  </p:cSld>
  <p:clrMapOvr>
    <a:masterClrMapping/>
  </p:clrMapOvr>
  <p:transition>
    <p:fade/>
  </p:transition>
  <p:hf hd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50706704"/>
      </p:ext>
    </p:extLst>
  </p:cSld>
  <p:clrMapOvr>
    <a:masterClrMapping/>
  </p:clrMapOvr>
  <p:transition>
    <p:fade/>
  </p:transition>
  <p:hf hd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45498404"/>
      </p:ext>
    </p:extLst>
  </p:cSld>
  <p:clrMapOvr>
    <a:masterClrMapping/>
  </p:clrMapOvr>
  <p:transition>
    <p:fade/>
  </p:transition>
  <p:hf hdr="0" dt="0"/>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99791679"/>
      </p:ext>
    </p:extLst>
  </p:cSld>
  <p:clrMapOvr>
    <a:masterClrMapping/>
  </p:clrMapOvr>
  <p:transition>
    <p:fade/>
  </p:transition>
  <p:hf hdr="0" dt="0"/>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957944097"/>
      </p:ext>
    </p:extLst>
  </p:cSld>
  <p:clrMapOvr>
    <a:masterClrMapping/>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45321966"/>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71345082"/>
      </p:ext>
    </p:extLst>
  </p:cSld>
  <p:clrMapOvr>
    <a:masterClrMapping/>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76555169"/>
      </p:ext>
    </p:extLst>
  </p:cSld>
  <p:clrMapOvr>
    <a:masterClrMapping/>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995680827"/>
      </p:ext>
    </p:extLst>
  </p:cSld>
  <p:clrMapOvr>
    <a:masterClrMapping/>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5955130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18826792"/>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183209362"/>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39580041"/>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118933528"/>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663730662"/>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818561680"/>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360934380"/>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81744735"/>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2" name="Rectangle 1">
            <a:extLst>
              <a:ext uri="{FF2B5EF4-FFF2-40B4-BE49-F238E27FC236}">
                <a16:creationId xmlns:a16="http://schemas.microsoft.com/office/drawing/2014/main" id="{34A805ED-DDF5-413E-B950-5E38D2D78BE0}"/>
              </a:ext>
            </a:extLst>
          </p:cNvPr>
          <p:cNvSpPr/>
          <p:nvPr userDrawn="1"/>
        </p:nvSpPr>
        <p:spPr bwMode="gray">
          <a:xfrm>
            <a:off x="256478" y="5910146"/>
            <a:ext cx="11675327" cy="75725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1240999336"/>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7876889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196123031"/>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114729657"/>
      </p:ext>
    </p:extLst>
  </p:cSld>
  <p:clrMapOvr>
    <a:masterClrMapping/>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63542951"/>
      </p:ext>
    </p:extLst>
  </p:cSld>
  <p:clrMapOvr>
    <a:masterClrMapping/>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8025767"/>
      </p:ext>
    </p:extLst>
  </p:cSld>
  <p:clrMapOvr>
    <a:masterClrMapping/>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Rectangle 2">
            <a:extLst>
              <a:ext uri="{FF2B5EF4-FFF2-40B4-BE49-F238E27FC236}">
                <a16:creationId xmlns:a16="http://schemas.microsoft.com/office/drawing/2014/main" id="{DA1A3AC8-D3E4-403E-BBC4-ACFAE2564088}"/>
              </a:ext>
            </a:extLst>
          </p:cNvPr>
          <p:cNvSpPr/>
          <p:nvPr userDrawn="1"/>
        </p:nvSpPr>
        <p:spPr bwMode="gray">
          <a:xfrm>
            <a:off x="234176" y="6110868"/>
            <a:ext cx="11957824" cy="60216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1269243179"/>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950480"/>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9" name="TextBox 8"/>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4" name="TextBox 13"/>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5078228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chemeClr val="bg1"/>
                </a:solidFill>
                <a:latin typeface="+mj-lt"/>
                <a:ea typeface="+mn-ea"/>
                <a:cs typeface="+mn-cs"/>
              </a:rPr>
              <a:t>Programa de capacitación PROCAF 2020</a:t>
            </a:r>
            <a:endParaRPr lang="en-US" sz="900" kern="1200" noProof="0" dirty="0">
              <a:solidFill>
                <a:schemeClr val="bg1"/>
              </a:solidFill>
              <a:latin typeface="+mj-lt"/>
              <a:ea typeface="+mn-ea"/>
              <a:cs typeface="+mn-cs"/>
            </a:endParaRPr>
          </a:p>
        </p:txBody>
      </p:sp>
      <p:sp>
        <p:nvSpPr>
          <p:cNvPr id="11" name="TextBox 10"/>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bg1"/>
                </a:solidFill>
                <a:latin typeface="+mj-lt"/>
                <a:cs typeface="Calibri" panose="020F0502020204030204" pitchFamily="34" charset="0"/>
              </a:rPr>
              <a:t>© 2020 </a:t>
            </a:r>
            <a:r>
              <a:rPr lang="es-MX" sz="900" noProof="0" dirty="0" err="1">
                <a:solidFill>
                  <a:schemeClr val="bg1"/>
                </a:solidFill>
                <a:latin typeface="+mj-lt"/>
                <a:cs typeface="Calibri" panose="020F0502020204030204" pitchFamily="34" charset="0"/>
              </a:rPr>
              <a:t>Deloitte</a:t>
            </a:r>
            <a:r>
              <a:rPr lang="es-MX" sz="900" noProof="0" dirty="0">
                <a:solidFill>
                  <a:schemeClr val="bg1"/>
                </a:solidFill>
                <a:latin typeface="+mj-lt"/>
                <a:cs typeface="Calibri" panose="020F0502020204030204" pitchFamily="34" charset="0"/>
              </a:rPr>
              <a:t> Impuestos y Servicios Legales, S.C.</a:t>
            </a:r>
          </a:p>
        </p:txBody>
      </p:sp>
      <p:sp>
        <p:nvSpPr>
          <p:cNvPr id="12" name="TextBox 11"/>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57689037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4098910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140254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dirty="0"/>
              <a:t>Estatus de modernización de la aduana</a:t>
            </a:r>
            <a:endParaRPr lang="en-US" sz="900" kern="1200" noProof="0" dirty="0">
              <a:solidFill>
                <a:sysClr val="windowText" lastClr="000000"/>
              </a:solidFill>
              <a:latin typeface="+mn-lt"/>
              <a:ea typeface="+mn-ea"/>
              <a:cs typeface="+mn-cs"/>
            </a:endParaRPr>
          </a:p>
        </p:txBody>
      </p:sp>
      <p:sp>
        <p:nvSpPr>
          <p:cNvPr id="8" name="TextBox 7"/>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Calibri" panose="020F0502020204030204" pitchFamily="34" charset="0"/>
                <a:cs typeface="Calibri" panose="020F0502020204030204" pitchFamily="34" charset="0"/>
              </a:rPr>
              <a:t> 2021 Deloitte Impuestos y Servicios Legales, S.C.</a:t>
            </a:r>
          </a:p>
        </p:txBody>
      </p:sp>
      <p:sp>
        <p:nvSpPr>
          <p:cNvPr id="10" name="TextBox 9"/>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11" name="TextBox 10"/>
          <p:cNvSpPr txBox="1"/>
          <p:nvPr userDrawn="1"/>
        </p:nvSpPr>
        <p:spPr>
          <a:xfrm>
            <a:off x="5459410" y="6478588"/>
            <a:ext cx="1268099" cy="123111"/>
          </a:xfrm>
          <a:prstGeom prst="rect">
            <a:avLst/>
          </a:prstGeom>
          <a:noFill/>
        </p:spPr>
        <p:txBody>
          <a:bodyPr wrap="square" lIns="0" tIns="0" rIns="0" bIns="0" rtlCol="0">
            <a:spAutoFit/>
          </a:bodyPr>
          <a:lstStyle/>
          <a:p>
            <a:pPr marL="0" indent="0" algn="ctr">
              <a:spcBef>
                <a:spcPts val="600"/>
              </a:spcBef>
              <a:buSzPct val="100000"/>
              <a:buFont typeface="Arial"/>
              <a:buNone/>
            </a:pPr>
            <a:r>
              <a:rPr lang="es-MX" sz="800" noProof="0" dirty="0">
                <a:solidFill>
                  <a:schemeClr val="tx1"/>
                </a:solidFill>
                <a:latin typeface="Calibri" panose="020F0502020204030204" pitchFamily="34" charset="0"/>
                <a:cs typeface="Calibri" panose="020F0502020204030204" pitchFamily="34" charset="0"/>
              </a:rPr>
              <a:t>Información Confidencial</a:t>
            </a:r>
          </a:p>
        </p:txBody>
      </p:sp>
    </p:spTree>
    <p:extLst>
      <p:ext uri="{BB962C8B-B14F-4D97-AF65-F5344CB8AC3E}">
        <p14:creationId xmlns:p14="http://schemas.microsoft.com/office/powerpoint/2010/main" val="1128126015"/>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53230254"/>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571171826"/>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150434099"/>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9496510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893323172"/>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048171636"/>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81344543"/>
      </p:ext>
    </p:extLst>
  </p:cSld>
  <p:clrMapOvr>
    <a:masterClrMapping/>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622029127"/>
      </p:ext>
    </p:extLst>
  </p:cSld>
  <p:clrMapOvr>
    <a:masterClrMapping/>
  </p:clrMapOvr>
  <p:transition>
    <p:fade/>
  </p:transition>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7867545"/>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3061105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059049306"/>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41103229"/>
      </p:ext>
    </p:extLst>
  </p:cSld>
  <p:clrMapOvr>
    <a:masterClrMapping/>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58046538"/>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999337121"/>
      </p:ext>
    </p:extLst>
  </p:cSld>
  <p:clrMapOvr>
    <a:masterClrMapping/>
  </p:clrMapOvr>
  <p:transition>
    <p:fade/>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43794464"/>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814182301"/>
      </p:ext>
    </p:extLst>
  </p:cSld>
  <p:clrMapOvr>
    <a:masterClrMapping/>
  </p:clrMapOvr>
  <p:transition>
    <p:fade/>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72353427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1636386"/>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836588874"/>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2" name="Rectangle 1">
            <a:extLst>
              <a:ext uri="{FF2B5EF4-FFF2-40B4-BE49-F238E27FC236}">
                <a16:creationId xmlns:a16="http://schemas.microsoft.com/office/drawing/2014/main" id="{30B7CCD3-7ECF-479A-8202-87354A7359D5}"/>
              </a:ext>
            </a:extLst>
          </p:cNvPr>
          <p:cNvSpPr/>
          <p:nvPr userDrawn="1"/>
        </p:nvSpPr>
        <p:spPr bwMode="gray">
          <a:xfrm>
            <a:off x="211873" y="6311590"/>
            <a:ext cx="11864898" cy="46835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426056304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2596954138"/>
      </p:ext>
    </p:extLst>
  </p:cSld>
  <p:clrMapOvr>
    <a:masterClrMapping/>
  </p:clrMapOvr>
  <p:hf hdr="0" dt="0"/>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122799374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53838140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127091242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350907352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75724551"/>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3983538812"/>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304275"/>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1" y="317502"/>
            <a:ext cx="111887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 name="Rectangle 1">
            <a:extLst>
              <a:ext uri="{FF2B5EF4-FFF2-40B4-BE49-F238E27FC236}">
                <a16:creationId xmlns:a16="http://schemas.microsoft.com/office/drawing/2014/main" id="{877006F1-B357-4BC0-836B-C5D120FA6BE5}"/>
              </a:ext>
            </a:extLst>
          </p:cNvPr>
          <p:cNvSpPr/>
          <p:nvPr userDrawn="1"/>
        </p:nvSpPr>
        <p:spPr bwMode="gray">
          <a:xfrm>
            <a:off x="234176" y="6110868"/>
            <a:ext cx="11957824" cy="60216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Tree>
    <p:extLst>
      <p:ext uri="{BB962C8B-B14F-4D97-AF65-F5344CB8AC3E}">
        <p14:creationId xmlns:p14="http://schemas.microsoft.com/office/powerpoint/2010/main" val="973016476"/>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29519315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823895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629533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022347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9AD9031F-EE78-404B-8580-7F6007DFBF3A}"/>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it-IT" sz="900" noProof="0" dirty="0">
                <a:solidFill>
                  <a:schemeClr val="tx1"/>
                </a:solidFill>
                <a:latin typeface="Calibri" panose="020F0502020204030204" pitchFamily="34" charset="0"/>
                <a:cs typeface="Calibri" panose="020F0502020204030204" pitchFamily="34" charset="0"/>
              </a:rPr>
              <a:t>CFDI con Complemento “Carta Porte”</a:t>
            </a:r>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21373409"/>
      </p:ext>
    </p:extLst>
  </p:cSld>
  <p:clrMapOvr>
    <a:masterClrMapping/>
  </p:clrMapOvr>
  <p:transition>
    <p:fade/>
  </p:transition>
  <p:hf hdr="0" dt="0"/>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291600852"/>
      </p:ext>
    </p:extLst>
  </p:cSld>
  <p:clrMapOvr>
    <a:masterClrMapping/>
  </p:clrMapOvr>
  <p:transition>
    <p:fade/>
  </p:transition>
  <p:hf hdr="0" dt="0"/>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00680042"/>
      </p:ext>
    </p:extLst>
  </p:cSld>
  <p:clrMapOvr>
    <a:masterClrMapping/>
  </p:clrMapOvr>
  <p:transition>
    <p:fade/>
  </p:transition>
  <p:hf hdr="0" dt="0"/>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71188556"/>
      </p:ext>
    </p:extLst>
  </p:cSld>
  <p:clrMapOvr>
    <a:masterClrMapping/>
  </p:clrMapOvr>
  <p:transition>
    <p:fade/>
  </p:transition>
  <p:hf hdr="0" dt="0"/>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Box 11"/>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3" name="TextBox 12"/>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2 Deloitte Impuestos y Servicios Legales</a:t>
            </a:r>
            <a:r>
              <a:rPr lang="es-MX" sz="900" baseline="0" dirty="0">
                <a:solidFill>
                  <a:schemeClr val="bg1"/>
                </a:solidFill>
                <a:latin typeface="+mj-lt"/>
              </a:rPr>
              <a:t>, S</a:t>
            </a:r>
            <a:r>
              <a:rPr lang="es-MX" sz="900" dirty="0">
                <a:solidFill>
                  <a:schemeClr val="bg1"/>
                </a:solidFill>
                <a:latin typeface="+mj-lt"/>
              </a:rPr>
              <a:t>.C.</a:t>
            </a:r>
            <a:endParaRPr lang="en-US" sz="900" noProof="0" dirty="0">
              <a:solidFill>
                <a:schemeClr val="bg1"/>
              </a:solidFill>
              <a:latin typeface="+mj-lt"/>
              <a:cs typeface="Calibri" panose="020F0502020204030204" pitchFamily="34" charset="0"/>
            </a:endParaRPr>
          </a:p>
        </p:txBody>
      </p:sp>
      <p:sp>
        <p:nvSpPr>
          <p:cNvPr id="10" name="TextBox 9">
            <a:extLst>
              <a:ext uri="{FF2B5EF4-FFF2-40B4-BE49-F238E27FC236}">
                <a16:creationId xmlns:a16="http://schemas.microsoft.com/office/drawing/2014/main" id="{24F6ED9C-07CE-4984-8380-AB1D05B38D61}"/>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it-IT" sz="900" noProof="0" dirty="0">
                <a:solidFill>
                  <a:schemeClr val="bg1"/>
                </a:solidFill>
                <a:latin typeface="Calibri" panose="020F0502020204030204" pitchFamily="34" charset="0"/>
                <a:cs typeface="Calibri" panose="020F0502020204030204" pitchFamily="34" charset="0"/>
              </a:rPr>
              <a:t>CFDI con Complemento “Carta Porte”</a:t>
            </a:r>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5443309"/>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42164432"/>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860650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403910551"/>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221412670"/>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522225845"/>
      </p:ext>
    </p:extLst>
  </p:cSld>
  <p:clrMapOvr>
    <a:masterClrMapping/>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749392953"/>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2063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50292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02161787"/>
      </p:ext>
    </p:extLst>
  </p:cSld>
  <p:clrMapOvr>
    <a:masterClrMapping/>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1" name="TextBox 10"/>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6" name="TextBox 5">
            <a:extLst>
              <a:ext uri="{FF2B5EF4-FFF2-40B4-BE49-F238E27FC236}">
                <a16:creationId xmlns:a16="http://schemas.microsoft.com/office/drawing/2014/main" id="{C8D0A1C9-064E-46DA-AEEF-A1AF0A5AC4E8}"/>
              </a:ext>
            </a:extLst>
          </p:cNvPr>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Deloitte Impuestos y Servicios Legales</a:t>
            </a:r>
            <a:r>
              <a:rPr lang="es-MX" sz="900" baseline="0" dirty="0">
                <a:solidFill>
                  <a:schemeClr val="bg1"/>
                </a:solidFill>
                <a:latin typeface="+mj-lt"/>
              </a:rPr>
              <a:t>, S</a:t>
            </a:r>
            <a:r>
              <a:rPr lang="es-MX" sz="900" dirty="0">
                <a:solidFill>
                  <a:schemeClr val="bg1"/>
                </a:solidFill>
                <a:latin typeface="+mj-lt"/>
              </a:rPr>
              <a:t>.C.</a:t>
            </a:r>
            <a:endParaRPr lang="en-US" sz="900" noProof="0" dirty="0">
              <a:solidFill>
                <a:schemeClr val="bg1"/>
              </a:solidFill>
              <a:latin typeface="+mj-lt"/>
              <a:cs typeface="Calibri" panose="020F0502020204030204" pitchFamily="34" charset="0"/>
            </a:endParaRPr>
          </a:p>
        </p:txBody>
      </p:sp>
      <p:sp>
        <p:nvSpPr>
          <p:cNvPr id="8" name="TextBox 7">
            <a:extLst>
              <a:ext uri="{FF2B5EF4-FFF2-40B4-BE49-F238E27FC236}">
                <a16:creationId xmlns:a16="http://schemas.microsoft.com/office/drawing/2014/main" id="{89D9513B-FEB1-49E6-A8A0-BB5DE0CDAED2}"/>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it-IT" sz="900" noProof="0" dirty="0">
                <a:solidFill>
                  <a:schemeClr val="bg1"/>
                </a:solidFill>
                <a:latin typeface="Calibri" panose="020F0502020204030204" pitchFamily="34" charset="0"/>
                <a:cs typeface="Calibri" panose="020F0502020204030204" pitchFamily="34" charset="0"/>
              </a:rPr>
              <a:t>CFDI con Complemento “Carta Porte”</a:t>
            </a:r>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135960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altLang="es-ES_tradnl" sz="900" dirty="0">
                <a:solidFill>
                  <a:schemeClr val="bg1"/>
                </a:solidFill>
                <a:latin typeface="Calibri" panose="020F0502020204030204" pitchFamily="34" charset="0"/>
                <a:cs typeface="Calibri" panose="020F0502020204030204" pitchFamily="34" charset="0"/>
              </a:rPr>
              <a:t>© 2021 </a:t>
            </a:r>
            <a:r>
              <a:rPr lang="es-MX" altLang="es-ES_tradnl" sz="900" dirty="0">
                <a:solidFill>
                  <a:schemeClr val="bg1"/>
                </a:solidFill>
                <a:latin typeface="Calibri" panose="020F0502020204030204" pitchFamily="34" charset="0"/>
                <a:cs typeface="Calibri" panose="020F0502020204030204" pitchFamily="34" charset="0"/>
              </a:rPr>
              <a:t>Deloitte Impuestos y Servicios Legales,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5805527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13459003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Deloitte</a:t>
            </a:r>
            <a:r>
              <a:rPr lang="es-MX" sz="900" baseline="0" dirty="0">
                <a:solidFill>
                  <a:schemeClr val="bg1"/>
                </a:solidFill>
                <a:latin typeface="+mj-lt"/>
              </a:rPr>
              <a:t> Impuestos y Servicios Legales,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5541549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899" y="448056"/>
            <a:ext cx="1993737" cy="430022"/>
          </a:xfrm>
          <a:prstGeom prst="rect">
            <a:avLst/>
          </a:prstGeom>
        </p:spPr>
      </p:pic>
    </p:spTree>
    <p:extLst>
      <p:ext uri="{BB962C8B-B14F-4D97-AF65-F5344CB8AC3E}">
        <p14:creationId xmlns:p14="http://schemas.microsoft.com/office/powerpoint/2010/main" val="1194719728"/>
      </p:ext>
    </p:extLst>
  </p:cSld>
  <p:clrMapOvr>
    <a:masterClrMapping/>
  </p:clrMapOvr>
  <p:hf hdr="0" dt="0"/>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6" name="TextBox 5">
            <a:extLst>
              <a:ext uri="{FF2B5EF4-FFF2-40B4-BE49-F238E27FC236}">
                <a16:creationId xmlns:a16="http://schemas.microsoft.com/office/drawing/2014/main" id="{FA233745-CB52-48EE-AC29-0C7479ACB4C5}"/>
              </a:ext>
            </a:extLst>
          </p:cNvPr>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Deloitte Impuestos y Servicios Legales</a:t>
            </a:r>
            <a:r>
              <a:rPr lang="es-MX" sz="900" baseline="0" dirty="0">
                <a:solidFill>
                  <a:schemeClr val="bg1"/>
                </a:solidFill>
                <a:latin typeface="+mj-lt"/>
              </a:rPr>
              <a:t>, S</a:t>
            </a:r>
            <a:r>
              <a:rPr lang="es-MX" sz="900" dirty="0">
                <a:solidFill>
                  <a:schemeClr val="bg1"/>
                </a:solidFill>
                <a:latin typeface="+mj-lt"/>
              </a:rPr>
              <a:t>.C.</a:t>
            </a:r>
            <a:endParaRPr lang="en-US" sz="900" noProof="0" dirty="0">
              <a:solidFill>
                <a:schemeClr val="bg1"/>
              </a:solidFill>
              <a:latin typeface="+mj-lt"/>
              <a:cs typeface="Calibri" panose="020F0502020204030204" pitchFamily="34" charset="0"/>
            </a:endParaRPr>
          </a:p>
        </p:txBody>
      </p:sp>
      <p:sp>
        <p:nvSpPr>
          <p:cNvPr id="8" name="TextBox 7">
            <a:extLst>
              <a:ext uri="{FF2B5EF4-FFF2-40B4-BE49-F238E27FC236}">
                <a16:creationId xmlns:a16="http://schemas.microsoft.com/office/drawing/2014/main" id="{370156B6-E1BA-4A80-A908-E1588795910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it-IT" sz="900" noProof="0" dirty="0">
                <a:solidFill>
                  <a:schemeClr val="bg1"/>
                </a:solidFill>
                <a:latin typeface="Calibri" panose="020F0502020204030204" pitchFamily="34" charset="0"/>
                <a:cs typeface="Calibri" panose="020F0502020204030204" pitchFamily="34" charset="0"/>
              </a:rPr>
              <a:t>CFDI con Complemento “Carta Porte”</a:t>
            </a:r>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24072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6558774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algn="r" eaLnBrk="1" hangingPunct="1">
              <a:buSzPct val="100000"/>
              <a:buFont typeface="Arial" panose="020B0604020202020204" pitchFamily="34" charset="0"/>
              <a:buNone/>
            </a:pPr>
            <a:r>
              <a:rPr lang="es-MX" altLang="es-ES_tradnl" sz="900" dirty="0">
                <a:solidFill>
                  <a:schemeClr val="bg1"/>
                </a:solidFill>
                <a:latin typeface="Calibri" panose="020F0502020204030204" pitchFamily="34" charset="0"/>
                <a:cs typeface="Calibri" panose="020F0502020204030204" pitchFamily="34" charset="0"/>
              </a:rPr>
              <a:t>Programa de Capacitación Fiscal (PROCAF) 2021</a:t>
            </a:r>
          </a:p>
        </p:txBody>
      </p:sp>
      <p:sp>
        <p:nvSpPr>
          <p:cNvPr id="6" name="TextBox 5"/>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7" name="TextBox 6"/>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675512863"/>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latin typeface="+mj-lt"/>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solidFill>
                  <a:schemeClr val="bg1"/>
                </a:solidFill>
              </a:defRPr>
            </a:lvl1pPr>
          </a:lstStyle>
          <a:p>
            <a:r>
              <a:rPr lang="en-US" noProof="0"/>
              <a:t>Click to edit Master title style</a:t>
            </a:r>
            <a:endParaRPr lang="en-US" noProof="0" dirty="0"/>
          </a:p>
        </p:txBody>
      </p:sp>
      <p:sp>
        <p:nvSpPr>
          <p:cNvPr id="10" name="TextBox 9"/>
          <p:cNvSpPr txBox="1"/>
          <p:nvPr userDrawn="1"/>
        </p:nvSpPr>
        <p:spPr>
          <a:xfrm>
            <a:off x="6335184" y="6477000"/>
            <a:ext cx="4896560" cy="138499"/>
          </a:xfrm>
          <a:prstGeom prst="rect">
            <a:avLst/>
          </a:prstGeom>
          <a:noFill/>
        </p:spPr>
        <p:txBody>
          <a:bodyPr wrap="square" lIns="0" tIns="0" rIns="0" bIns="0" rtlCol="0">
            <a:spAutoFit/>
          </a:bodyPr>
          <a:lstStyle/>
          <a:p>
            <a:pPr algn="r" eaLnBrk="1" hangingPunct="1">
              <a:buSzPct val="100000"/>
              <a:buFont typeface="Arial" panose="020B0604020202020204" pitchFamily="34" charset="0"/>
              <a:buNone/>
            </a:pPr>
            <a:r>
              <a:rPr lang="es-MX" altLang="es-ES_tradnl" sz="900" dirty="0">
                <a:solidFill>
                  <a:schemeClr val="bg1"/>
                </a:solidFill>
                <a:latin typeface="Calibri" panose="020F0502020204030204" pitchFamily="34" charset="0"/>
                <a:cs typeface="Calibri" panose="020F0502020204030204" pitchFamily="34" charset="0"/>
              </a:rPr>
              <a:t>Programa de Capacitación Fiscal (PROCAF) 2021</a:t>
            </a:r>
          </a:p>
        </p:txBody>
      </p:sp>
      <p:sp>
        <p:nvSpPr>
          <p:cNvPr id="11" name="TextBox 10"/>
          <p:cNvSpPr txBox="1"/>
          <p:nvPr userDrawn="1"/>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mj-lt"/>
              <a:cs typeface="Calibri" panose="020F0502020204030204" pitchFamily="34" charset="0"/>
            </a:endParaRPr>
          </a:p>
        </p:txBody>
      </p:sp>
      <p:sp>
        <p:nvSpPr>
          <p:cNvPr id="12" name="TextBox 11"/>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dirty="0">
                <a:solidFill>
                  <a:schemeClr val="bg1"/>
                </a:solidFill>
                <a:latin typeface="+mj-lt"/>
              </a:rPr>
              <a:t>© 2021 Galaz,</a:t>
            </a:r>
            <a:r>
              <a:rPr lang="es-MX" sz="900" baseline="0" dirty="0">
                <a:solidFill>
                  <a:schemeClr val="bg1"/>
                </a:solidFill>
                <a:latin typeface="+mj-lt"/>
              </a:rPr>
              <a:t> Yamazaki, Ruiz Urquiza, S.C.</a:t>
            </a:r>
            <a:endParaRPr lang="en-US" sz="900" noProof="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58297151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38642443"/>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939055946"/>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658666991"/>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067820742"/>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72748857"/>
      </p:ext>
    </p:extLst>
  </p:cSld>
  <p:clrMapOvr>
    <a:masterClrMapping/>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750996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En blanc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EE852528-6CD6-FC4E-A108-ADC5B827DCA7}"/>
              </a:ext>
            </a:extLst>
          </p:cNvPr>
          <p:cNvSpPr/>
          <p:nvPr/>
        </p:nvSpPr>
        <p:spPr bwMode="auto">
          <a:xfrm>
            <a:off x="1587" y="5664200"/>
            <a:ext cx="12188825" cy="786679"/>
          </a:xfrm>
          <a:prstGeom prst="rect">
            <a:avLst/>
          </a:prstGeom>
          <a:gradFill flip="none" rotWithShape="1">
            <a:gsLst>
              <a:gs pos="0">
                <a:srgbClr val="ECECEC"/>
              </a:gs>
              <a:gs pos="100000">
                <a:srgbClr val="FFFFFF">
                  <a:alpha val="0"/>
                </a:srgb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56" name="Grupo 55" title="Megáfono">
            <a:extLst>
              <a:ext uri="{FF2B5EF4-FFF2-40B4-BE49-F238E27FC236}">
                <a16:creationId xmlns:a16="http://schemas.microsoft.com/office/drawing/2014/main" id="{A57AF911-B45C-0645-9306-FB4C59B7BE32}"/>
              </a:ext>
            </a:extLst>
          </p:cNvPr>
          <p:cNvGrpSpPr/>
          <p:nvPr userDrawn="1"/>
        </p:nvGrpSpPr>
        <p:grpSpPr>
          <a:xfrm>
            <a:off x="2667000" y="628650"/>
            <a:ext cx="5943817" cy="5486402"/>
            <a:chOff x="2667000" y="628650"/>
            <a:chExt cx="5943817" cy="5486402"/>
          </a:xfrm>
        </p:grpSpPr>
        <p:grpSp>
          <p:nvGrpSpPr>
            <p:cNvPr id="9" name="Grupo 82">
              <a:extLst>
                <a:ext uri="{FF2B5EF4-FFF2-40B4-BE49-F238E27FC236}">
                  <a16:creationId xmlns:a16="http://schemas.microsoft.com/office/drawing/2014/main" id="{892B1603-81CE-E845-A7E9-D79D57AE8DDA}"/>
                </a:ext>
              </a:extLst>
            </p:cNvPr>
            <p:cNvGrpSpPr/>
            <p:nvPr userDrawn="1"/>
          </p:nvGrpSpPr>
          <p:grpSpPr>
            <a:xfrm>
              <a:off x="2667000" y="628650"/>
              <a:ext cx="5943817" cy="5486402"/>
              <a:chOff x="2665412" y="685800"/>
              <a:chExt cx="5943817" cy="5486402"/>
            </a:xfrm>
          </p:grpSpPr>
          <p:grpSp>
            <p:nvGrpSpPr>
              <p:cNvPr id="10" name="Grupo 32">
                <a:extLst>
                  <a:ext uri="{FF2B5EF4-FFF2-40B4-BE49-F238E27FC236}">
                    <a16:creationId xmlns:a16="http://schemas.microsoft.com/office/drawing/2014/main" id="{3A405A5B-18FC-0C4B-B080-911E11A4416C}"/>
                  </a:ext>
                </a:extLst>
              </p:cNvPr>
              <p:cNvGrpSpPr/>
              <p:nvPr/>
            </p:nvGrpSpPr>
            <p:grpSpPr>
              <a:xfrm>
                <a:off x="2784792" y="4006851"/>
                <a:ext cx="1630681" cy="2165351"/>
                <a:chOff x="2498725" y="4151313"/>
                <a:chExt cx="2038350" cy="2706688"/>
              </a:xfrm>
            </p:grpSpPr>
            <p:grpSp>
              <p:nvGrpSpPr>
                <p:cNvPr id="25" name="Grupo 31">
                  <a:extLst>
                    <a:ext uri="{FF2B5EF4-FFF2-40B4-BE49-F238E27FC236}">
                      <a16:creationId xmlns:a16="http://schemas.microsoft.com/office/drawing/2014/main" id="{E2F972BC-3529-6E4F-AE6F-BB94B204C582}"/>
                    </a:ext>
                  </a:extLst>
                </p:cNvPr>
                <p:cNvGrpSpPr/>
                <p:nvPr/>
              </p:nvGrpSpPr>
              <p:grpSpPr>
                <a:xfrm>
                  <a:off x="3544888" y="4208463"/>
                  <a:ext cx="862012" cy="911225"/>
                  <a:chOff x="3544888" y="4208463"/>
                  <a:chExt cx="862012" cy="911225"/>
                </a:xfrm>
              </p:grpSpPr>
              <p:sp>
                <p:nvSpPr>
                  <p:cNvPr id="36" name="Forma libre 5">
                    <a:extLst>
                      <a:ext uri="{FF2B5EF4-FFF2-40B4-BE49-F238E27FC236}">
                        <a16:creationId xmlns:a16="http://schemas.microsoft.com/office/drawing/2014/main" id="{2E567D13-6708-974A-B16F-6D9BC18EA1C2}"/>
                      </a:ext>
                    </a:extLst>
                  </p:cNvPr>
                  <p:cNvSpPr>
                    <a:spLocks/>
                  </p:cNvSpPr>
                  <p:nvPr/>
                </p:nvSpPr>
                <p:spPr bwMode="auto">
                  <a:xfrm>
                    <a:off x="3622675" y="4208463"/>
                    <a:ext cx="784225" cy="911225"/>
                  </a:xfrm>
                  <a:custGeom>
                    <a:avLst/>
                    <a:gdLst/>
                    <a:ahLst/>
                    <a:cxnLst>
                      <a:cxn ang="0">
                        <a:pos x="989" y="0"/>
                      </a:cxn>
                      <a:cxn ang="0">
                        <a:pos x="300" y="1148"/>
                      </a:cxn>
                      <a:cxn ang="0">
                        <a:pos x="0" y="671"/>
                      </a:cxn>
                      <a:cxn ang="0">
                        <a:pos x="494" y="57"/>
                      </a:cxn>
                      <a:cxn ang="0">
                        <a:pos x="989" y="0"/>
                      </a:cxn>
                    </a:cxnLst>
                    <a:rect l="0" t="0" r="r" b="b"/>
                    <a:pathLst>
                      <a:path w="989" h="1148">
                        <a:moveTo>
                          <a:pt x="989" y="0"/>
                        </a:moveTo>
                        <a:lnTo>
                          <a:pt x="300" y="1148"/>
                        </a:lnTo>
                        <a:lnTo>
                          <a:pt x="0" y="671"/>
                        </a:lnTo>
                        <a:lnTo>
                          <a:pt x="494" y="57"/>
                        </a:lnTo>
                        <a:lnTo>
                          <a:pt x="989" y="0"/>
                        </a:lnTo>
                        <a:close/>
                      </a:path>
                    </a:pathLst>
                  </a:custGeom>
                  <a:gradFill flip="none" rotWithShape="1">
                    <a:gsLst>
                      <a:gs pos="0">
                        <a:schemeClr val="accent6">
                          <a:lumMod val="50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7" name="Forma libre 6">
                    <a:extLst>
                      <a:ext uri="{FF2B5EF4-FFF2-40B4-BE49-F238E27FC236}">
                        <a16:creationId xmlns:a16="http://schemas.microsoft.com/office/drawing/2014/main" id="{3294C28A-43F1-EA45-AF7A-6C3E5203B7E6}"/>
                      </a:ext>
                    </a:extLst>
                  </p:cNvPr>
                  <p:cNvSpPr>
                    <a:spLocks/>
                  </p:cNvSpPr>
                  <p:nvPr/>
                </p:nvSpPr>
                <p:spPr bwMode="auto">
                  <a:xfrm>
                    <a:off x="3544888" y="4208463"/>
                    <a:ext cx="785813" cy="911225"/>
                  </a:xfrm>
                  <a:custGeom>
                    <a:avLst/>
                    <a:gdLst/>
                    <a:ahLst/>
                    <a:cxnLst>
                      <a:cxn ang="0">
                        <a:pos x="991" y="0"/>
                      </a:cxn>
                      <a:cxn ang="0">
                        <a:pos x="302" y="1148"/>
                      </a:cxn>
                      <a:cxn ang="0">
                        <a:pos x="0" y="671"/>
                      </a:cxn>
                      <a:cxn ang="0">
                        <a:pos x="495" y="57"/>
                      </a:cxn>
                      <a:cxn ang="0">
                        <a:pos x="991" y="0"/>
                      </a:cxn>
                    </a:cxnLst>
                    <a:rect l="0" t="0" r="r" b="b"/>
                    <a:pathLst>
                      <a:path w="991" h="1148">
                        <a:moveTo>
                          <a:pt x="991" y="0"/>
                        </a:moveTo>
                        <a:lnTo>
                          <a:pt x="302" y="1148"/>
                        </a:lnTo>
                        <a:lnTo>
                          <a:pt x="0" y="671"/>
                        </a:lnTo>
                        <a:lnTo>
                          <a:pt x="495" y="57"/>
                        </a:lnTo>
                        <a:lnTo>
                          <a:pt x="991" y="0"/>
                        </a:lnTo>
                        <a:close/>
                      </a:path>
                    </a:pathLst>
                  </a:custGeom>
                  <a:gradFill flip="none" rotWithShape="1">
                    <a:gsLst>
                      <a:gs pos="0">
                        <a:schemeClr val="accent6">
                          <a:lumMod val="75000"/>
                        </a:schemeClr>
                      </a:gs>
                      <a:gs pos="100000">
                        <a:schemeClr val="accent6">
                          <a:lumMod val="50000"/>
                        </a:schemeClr>
                      </a:gs>
                    </a:gsLst>
                    <a:lin ang="0" scaled="1"/>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26" name="Grupo 29">
                  <a:extLst>
                    <a:ext uri="{FF2B5EF4-FFF2-40B4-BE49-F238E27FC236}">
                      <a16:creationId xmlns:a16="http://schemas.microsoft.com/office/drawing/2014/main" id="{487B3913-8D62-414F-A9D0-D4FC8959CFC7}"/>
                    </a:ext>
                  </a:extLst>
                </p:cNvPr>
                <p:cNvGrpSpPr/>
                <p:nvPr/>
              </p:nvGrpSpPr>
              <p:grpSpPr>
                <a:xfrm>
                  <a:off x="2498725" y="4151313"/>
                  <a:ext cx="2038350" cy="2706688"/>
                  <a:chOff x="2498725" y="4151313"/>
                  <a:chExt cx="2038350" cy="2706688"/>
                </a:xfrm>
              </p:grpSpPr>
              <p:sp>
                <p:nvSpPr>
                  <p:cNvPr id="27" name="Forma libre 18">
                    <a:extLst>
                      <a:ext uri="{FF2B5EF4-FFF2-40B4-BE49-F238E27FC236}">
                        <a16:creationId xmlns:a16="http://schemas.microsoft.com/office/drawing/2014/main" id="{A8991999-C795-9849-9D35-6E93C1E678BC}"/>
                      </a:ext>
                    </a:extLst>
                  </p:cNvPr>
                  <p:cNvSpPr>
                    <a:spLocks/>
                  </p:cNvSpPr>
                  <p:nvPr/>
                </p:nvSpPr>
                <p:spPr bwMode="auto">
                  <a:xfrm>
                    <a:off x="2498725" y="4151313"/>
                    <a:ext cx="2038350" cy="2706688"/>
                  </a:xfrm>
                  <a:custGeom>
                    <a:avLst/>
                    <a:gdLst/>
                    <a:ahLst/>
                    <a:cxnLst>
                      <a:cxn ang="0">
                        <a:pos x="883" y="50"/>
                      </a:cxn>
                      <a:cxn ang="0">
                        <a:pos x="757" y="183"/>
                      </a:cxn>
                      <a:cxn ang="0">
                        <a:pos x="656" y="323"/>
                      </a:cxn>
                      <a:cxn ang="0">
                        <a:pos x="598" y="428"/>
                      </a:cxn>
                      <a:cxn ang="0">
                        <a:pos x="559" y="540"/>
                      </a:cxn>
                      <a:cxn ang="0">
                        <a:pos x="545" y="625"/>
                      </a:cxn>
                      <a:cxn ang="0">
                        <a:pos x="541" y="734"/>
                      </a:cxn>
                      <a:cxn ang="0">
                        <a:pos x="560" y="902"/>
                      </a:cxn>
                      <a:cxn ang="0">
                        <a:pos x="598" y="1046"/>
                      </a:cxn>
                      <a:cxn ang="0">
                        <a:pos x="636" y="1138"/>
                      </a:cxn>
                      <a:cxn ang="0">
                        <a:pos x="593" y="1377"/>
                      </a:cxn>
                      <a:cxn ang="0">
                        <a:pos x="474" y="1933"/>
                      </a:cxn>
                      <a:cxn ang="0">
                        <a:pos x="391" y="2252"/>
                      </a:cxn>
                      <a:cxn ang="0">
                        <a:pos x="296" y="2559"/>
                      </a:cxn>
                      <a:cxn ang="0">
                        <a:pos x="191" y="2821"/>
                      </a:cxn>
                      <a:cxn ang="0">
                        <a:pos x="121" y="2949"/>
                      </a:cxn>
                      <a:cxn ang="0">
                        <a:pos x="78" y="3009"/>
                      </a:cxn>
                      <a:cxn ang="0">
                        <a:pos x="28" y="3087"/>
                      </a:cxn>
                      <a:cxn ang="0">
                        <a:pos x="4" y="3154"/>
                      </a:cxn>
                      <a:cxn ang="0">
                        <a:pos x="4" y="3229"/>
                      </a:cxn>
                      <a:cxn ang="0">
                        <a:pos x="23" y="3275"/>
                      </a:cxn>
                      <a:cxn ang="0">
                        <a:pos x="52" y="3310"/>
                      </a:cxn>
                      <a:cxn ang="0">
                        <a:pos x="98" y="3341"/>
                      </a:cxn>
                      <a:cxn ang="0">
                        <a:pos x="159" y="3368"/>
                      </a:cxn>
                      <a:cxn ang="0">
                        <a:pos x="264" y="3394"/>
                      </a:cxn>
                      <a:cxn ang="0">
                        <a:pos x="505" y="3411"/>
                      </a:cxn>
                      <a:cxn ang="0">
                        <a:pos x="911" y="3408"/>
                      </a:cxn>
                      <a:cxn ang="0">
                        <a:pos x="1295" y="3387"/>
                      </a:cxn>
                      <a:cxn ang="0">
                        <a:pos x="1470" y="3362"/>
                      </a:cxn>
                      <a:cxn ang="0">
                        <a:pos x="1608" y="3329"/>
                      </a:cxn>
                      <a:cxn ang="0">
                        <a:pos x="1711" y="3281"/>
                      </a:cxn>
                      <a:cxn ang="0">
                        <a:pos x="1772" y="3219"/>
                      </a:cxn>
                      <a:cxn ang="0">
                        <a:pos x="1788" y="3182"/>
                      </a:cxn>
                      <a:cxn ang="0">
                        <a:pos x="1794" y="3138"/>
                      </a:cxn>
                      <a:cxn ang="0">
                        <a:pos x="1781" y="3003"/>
                      </a:cxn>
                      <a:cxn ang="0">
                        <a:pos x="1692" y="2523"/>
                      </a:cxn>
                      <a:cxn ang="0">
                        <a:pos x="1642" y="2206"/>
                      </a:cxn>
                      <a:cxn ang="0">
                        <a:pos x="1620" y="1956"/>
                      </a:cxn>
                      <a:cxn ang="0">
                        <a:pos x="1626" y="1728"/>
                      </a:cxn>
                      <a:cxn ang="0">
                        <a:pos x="1642" y="1627"/>
                      </a:cxn>
                      <a:cxn ang="0">
                        <a:pos x="1671" y="1537"/>
                      </a:cxn>
                      <a:cxn ang="0">
                        <a:pos x="1708" y="1462"/>
                      </a:cxn>
                      <a:cxn ang="0">
                        <a:pos x="1748" y="1337"/>
                      </a:cxn>
                      <a:cxn ang="0">
                        <a:pos x="1743" y="1245"/>
                      </a:cxn>
                      <a:cxn ang="0">
                        <a:pos x="1708" y="1173"/>
                      </a:cxn>
                      <a:cxn ang="0">
                        <a:pos x="1642" y="1098"/>
                      </a:cxn>
                      <a:cxn ang="0">
                        <a:pos x="1576" y="1029"/>
                      </a:cxn>
                      <a:cxn ang="0">
                        <a:pos x="1540" y="965"/>
                      </a:cxn>
                      <a:cxn ang="0">
                        <a:pos x="1534" y="884"/>
                      </a:cxn>
                      <a:cxn ang="0">
                        <a:pos x="1576" y="720"/>
                      </a:cxn>
                      <a:cxn ang="0">
                        <a:pos x="1628" y="576"/>
                      </a:cxn>
                      <a:cxn ang="0">
                        <a:pos x="1670" y="502"/>
                      </a:cxn>
                      <a:cxn ang="0">
                        <a:pos x="1726" y="433"/>
                      </a:cxn>
                      <a:cxn ang="0">
                        <a:pos x="1798" y="370"/>
                      </a:cxn>
                      <a:cxn ang="0">
                        <a:pos x="1891" y="311"/>
                      </a:cxn>
                      <a:cxn ang="0">
                        <a:pos x="1976" y="269"/>
                      </a:cxn>
                      <a:cxn ang="0">
                        <a:pos x="2211" y="182"/>
                      </a:cxn>
                      <a:cxn ang="0">
                        <a:pos x="2476" y="96"/>
                      </a:cxn>
                      <a:cxn ang="0">
                        <a:pos x="2539" y="62"/>
                      </a:cxn>
                      <a:cxn ang="0">
                        <a:pos x="2565" y="29"/>
                      </a:cxn>
                      <a:cxn ang="0">
                        <a:pos x="2569" y="0"/>
                      </a:cxn>
                    </a:cxnLst>
                    <a:rect l="0" t="0" r="r" b="b"/>
                    <a:pathLst>
                      <a:path w="2569" h="3411">
                        <a:moveTo>
                          <a:pt x="937" y="0"/>
                        </a:moveTo>
                        <a:lnTo>
                          <a:pt x="937" y="0"/>
                        </a:lnTo>
                        <a:lnTo>
                          <a:pt x="922" y="13"/>
                        </a:lnTo>
                        <a:lnTo>
                          <a:pt x="883" y="50"/>
                        </a:lnTo>
                        <a:lnTo>
                          <a:pt x="855" y="77"/>
                        </a:lnTo>
                        <a:lnTo>
                          <a:pt x="825" y="108"/>
                        </a:lnTo>
                        <a:lnTo>
                          <a:pt x="792" y="144"/>
                        </a:lnTo>
                        <a:lnTo>
                          <a:pt x="757" y="183"/>
                        </a:lnTo>
                        <a:lnTo>
                          <a:pt x="722" y="228"/>
                        </a:lnTo>
                        <a:lnTo>
                          <a:pt x="689" y="274"/>
                        </a:lnTo>
                        <a:lnTo>
                          <a:pt x="672" y="298"/>
                        </a:lnTo>
                        <a:lnTo>
                          <a:pt x="656" y="323"/>
                        </a:lnTo>
                        <a:lnTo>
                          <a:pt x="640" y="348"/>
                        </a:lnTo>
                        <a:lnTo>
                          <a:pt x="626" y="375"/>
                        </a:lnTo>
                        <a:lnTo>
                          <a:pt x="612" y="402"/>
                        </a:lnTo>
                        <a:lnTo>
                          <a:pt x="598" y="428"/>
                        </a:lnTo>
                        <a:lnTo>
                          <a:pt x="587" y="455"/>
                        </a:lnTo>
                        <a:lnTo>
                          <a:pt x="576" y="483"/>
                        </a:lnTo>
                        <a:lnTo>
                          <a:pt x="567" y="511"/>
                        </a:lnTo>
                        <a:lnTo>
                          <a:pt x="559" y="540"/>
                        </a:lnTo>
                        <a:lnTo>
                          <a:pt x="553" y="568"/>
                        </a:lnTo>
                        <a:lnTo>
                          <a:pt x="548" y="597"/>
                        </a:lnTo>
                        <a:lnTo>
                          <a:pt x="548" y="597"/>
                        </a:lnTo>
                        <a:lnTo>
                          <a:pt x="545" y="625"/>
                        </a:lnTo>
                        <a:lnTo>
                          <a:pt x="542" y="653"/>
                        </a:lnTo>
                        <a:lnTo>
                          <a:pt x="541" y="680"/>
                        </a:lnTo>
                        <a:lnTo>
                          <a:pt x="541" y="707"/>
                        </a:lnTo>
                        <a:lnTo>
                          <a:pt x="541" y="734"/>
                        </a:lnTo>
                        <a:lnTo>
                          <a:pt x="542" y="759"/>
                        </a:lnTo>
                        <a:lnTo>
                          <a:pt x="546" y="809"/>
                        </a:lnTo>
                        <a:lnTo>
                          <a:pt x="552" y="857"/>
                        </a:lnTo>
                        <a:lnTo>
                          <a:pt x="560" y="902"/>
                        </a:lnTo>
                        <a:lnTo>
                          <a:pt x="568" y="943"/>
                        </a:lnTo>
                        <a:lnTo>
                          <a:pt x="578" y="981"/>
                        </a:lnTo>
                        <a:lnTo>
                          <a:pt x="589" y="1016"/>
                        </a:lnTo>
                        <a:lnTo>
                          <a:pt x="598" y="1046"/>
                        </a:lnTo>
                        <a:lnTo>
                          <a:pt x="609" y="1073"/>
                        </a:lnTo>
                        <a:lnTo>
                          <a:pt x="618" y="1096"/>
                        </a:lnTo>
                        <a:lnTo>
                          <a:pt x="632" y="1126"/>
                        </a:lnTo>
                        <a:lnTo>
                          <a:pt x="636" y="1138"/>
                        </a:lnTo>
                        <a:lnTo>
                          <a:pt x="636" y="1138"/>
                        </a:lnTo>
                        <a:lnTo>
                          <a:pt x="626" y="1203"/>
                        </a:lnTo>
                        <a:lnTo>
                          <a:pt x="612" y="1278"/>
                        </a:lnTo>
                        <a:lnTo>
                          <a:pt x="593" y="1377"/>
                        </a:lnTo>
                        <a:lnTo>
                          <a:pt x="570" y="1497"/>
                        </a:lnTo>
                        <a:lnTo>
                          <a:pt x="542" y="1631"/>
                        </a:lnTo>
                        <a:lnTo>
                          <a:pt x="510" y="1778"/>
                        </a:lnTo>
                        <a:lnTo>
                          <a:pt x="474" y="1933"/>
                        </a:lnTo>
                        <a:lnTo>
                          <a:pt x="454" y="2012"/>
                        </a:lnTo>
                        <a:lnTo>
                          <a:pt x="434" y="2092"/>
                        </a:lnTo>
                        <a:lnTo>
                          <a:pt x="414" y="2172"/>
                        </a:lnTo>
                        <a:lnTo>
                          <a:pt x="391" y="2252"/>
                        </a:lnTo>
                        <a:lnTo>
                          <a:pt x="368" y="2331"/>
                        </a:lnTo>
                        <a:lnTo>
                          <a:pt x="345" y="2409"/>
                        </a:lnTo>
                        <a:lnTo>
                          <a:pt x="321" y="2485"/>
                        </a:lnTo>
                        <a:lnTo>
                          <a:pt x="296" y="2559"/>
                        </a:lnTo>
                        <a:lnTo>
                          <a:pt x="271" y="2630"/>
                        </a:lnTo>
                        <a:lnTo>
                          <a:pt x="245" y="2697"/>
                        </a:lnTo>
                        <a:lnTo>
                          <a:pt x="218" y="2761"/>
                        </a:lnTo>
                        <a:lnTo>
                          <a:pt x="191" y="2821"/>
                        </a:lnTo>
                        <a:lnTo>
                          <a:pt x="164" y="2876"/>
                        </a:lnTo>
                        <a:lnTo>
                          <a:pt x="149" y="2902"/>
                        </a:lnTo>
                        <a:lnTo>
                          <a:pt x="135" y="2927"/>
                        </a:lnTo>
                        <a:lnTo>
                          <a:pt x="121" y="2949"/>
                        </a:lnTo>
                        <a:lnTo>
                          <a:pt x="107" y="2971"/>
                        </a:lnTo>
                        <a:lnTo>
                          <a:pt x="92" y="2991"/>
                        </a:lnTo>
                        <a:lnTo>
                          <a:pt x="78" y="3009"/>
                        </a:lnTo>
                        <a:lnTo>
                          <a:pt x="78" y="3009"/>
                        </a:lnTo>
                        <a:lnTo>
                          <a:pt x="64" y="3027"/>
                        </a:lnTo>
                        <a:lnTo>
                          <a:pt x="50" y="3046"/>
                        </a:lnTo>
                        <a:lnTo>
                          <a:pt x="35" y="3072"/>
                        </a:lnTo>
                        <a:lnTo>
                          <a:pt x="28" y="3087"/>
                        </a:lnTo>
                        <a:lnTo>
                          <a:pt x="20" y="3102"/>
                        </a:lnTo>
                        <a:lnTo>
                          <a:pt x="14" y="3118"/>
                        </a:lnTo>
                        <a:lnTo>
                          <a:pt x="8" y="3136"/>
                        </a:lnTo>
                        <a:lnTo>
                          <a:pt x="4" y="3154"/>
                        </a:lnTo>
                        <a:lnTo>
                          <a:pt x="1" y="3173"/>
                        </a:lnTo>
                        <a:lnTo>
                          <a:pt x="0" y="3192"/>
                        </a:lnTo>
                        <a:lnTo>
                          <a:pt x="0" y="3210"/>
                        </a:lnTo>
                        <a:lnTo>
                          <a:pt x="4" y="3229"/>
                        </a:lnTo>
                        <a:lnTo>
                          <a:pt x="9" y="3247"/>
                        </a:lnTo>
                        <a:lnTo>
                          <a:pt x="13" y="3257"/>
                        </a:lnTo>
                        <a:lnTo>
                          <a:pt x="18" y="3266"/>
                        </a:lnTo>
                        <a:lnTo>
                          <a:pt x="23" y="3275"/>
                        </a:lnTo>
                        <a:lnTo>
                          <a:pt x="29" y="3284"/>
                        </a:lnTo>
                        <a:lnTo>
                          <a:pt x="36" y="3293"/>
                        </a:lnTo>
                        <a:lnTo>
                          <a:pt x="44" y="3302"/>
                        </a:lnTo>
                        <a:lnTo>
                          <a:pt x="52" y="3310"/>
                        </a:lnTo>
                        <a:lnTo>
                          <a:pt x="63" y="3318"/>
                        </a:lnTo>
                        <a:lnTo>
                          <a:pt x="73" y="3326"/>
                        </a:lnTo>
                        <a:lnTo>
                          <a:pt x="85" y="3333"/>
                        </a:lnTo>
                        <a:lnTo>
                          <a:pt x="98" y="3341"/>
                        </a:lnTo>
                        <a:lnTo>
                          <a:pt x="112" y="3348"/>
                        </a:lnTo>
                        <a:lnTo>
                          <a:pt x="126" y="3355"/>
                        </a:lnTo>
                        <a:lnTo>
                          <a:pt x="142" y="3362"/>
                        </a:lnTo>
                        <a:lnTo>
                          <a:pt x="159" y="3368"/>
                        </a:lnTo>
                        <a:lnTo>
                          <a:pt x="178" y="3374"/>
                        </a:lnTo>
                        <a:lnTo>
                          <a:pt x="198" y="3380"/>
                        </a:lnTo>
                        <a:lnTo>
                          <a:pt x="218" y="3384"/>
                        </a:lnTo>
                        <a:lnTo>
                          <a:pt x="264" y="3394"/>
                        </a:lnTo>
                        <a:lnTo>
                          <a:pt x="316" y="3402"/>
                        </a:lnTo>
                        <a:lnTo>
                          <a:pt x="373" y="3406"/>
                        </a:lnTo>
                        <a:lnTo>
                          <a:pt x="436" y="3410"/>
                        </a:lnTo>
                        <a:lnTo>
                          <a:pt x="505" y="3411"/>
                        </a:lnTo>
                        <a:lnTo>
                          <a:pt x="505" y="3411"/>
                        </a:lnTo>
                        <a:lnTo>
                          <a:pt x="648" y="3411"/>
                        </a:lnTo>
                        <a:lnTo>
                          <a:pt x="783" y="3410"/>
                        </a:lnTo>
                        <a:lnTo>
                          <a:pt x="911" y="3408"/>
                        </a:lnTo>
                        <a:lnTo>
                          <a:pt x="1030" y="3403"/>
                        </a:lnTo>
                        <a:lnTo>
                          <a:pt x="1143" y="3398"/>
                        </a:lnTo>
                        <a:lnTo>
                          <a:pt x="1246" y="3391"/>
                        </a:lnTo>
                        <a:lnTo>
                          <a:pt x="1295" y="3387"/>
                        </a:lnTo>
                        <a:lnTo>
                          <a:pt x="1342" y="3381"/>
                        </a:lnTo>
                        <a:lnTo>
                          <a:pt x="1387" y="3376"/>
                        </a:lnTo>
                        <a:lnTo>
                          <a:pt x="1430" y="3369"/>
                        </a:lnTo>
                        <a:lnTo>
                          <a:pt x="1470" y="3362"/>
                        </a:lnTo>
                        <a:lnTo>
                          <a:pt x="1507" y="3355"/>
                        </a:lnTo>
                        <a:lnTo>
                          <a:pt x="1543" y="3347"/>
                        </a:lnTo>
                        <a:lnTo>
                          <a:pt x="1577" y="3338"/>
                        </a:lnTo>
                        <a:lnTo>
                          <a:pt x="1608" y="3329"/>
                        </a:lnTo>
                        <a:lnTo>
                          <a:pt x="1637" y="3318"/>
                        </a:lnTo>
                        <a:lnTo>
                          <a:pt x="1664" y="3307"/>
                        </a:lnTo>
                        <a:lnTo>
                          <a:pt x="1689" y="3294"/>
                        </a:lnTo>
                        <a:lnTo>
                          <a:pt x="1711" y="3281"/>
                        </a:lnTo>
                        <a:lnTo>
                          <a:pt x="1729" y="3267"/>
                        </a:lnTo>
                        <a:lnTo>
                          <a:pt x="1747" y="3252"/>
                        </a:lnTo>
                        <a:lnTo>
                          <a:pt x="1761" y="3236"/>
                        </a:lnTo>
                        <a:lnTo>
                          <a:pt x="1772" y="3219"/>
                        </a:lnTo>
                        <a:lnTo>
                          <a:pt x="1778" y="3210"/>
                        </a:lnTo>
                        <a:lnTo>
                          <a:pt x="1781" y="3201"/>
                        </a:lnTo>
                        <a:lnTo>
                          <a:pt x="1785" y="3192"/>
                        </a:lnTo>
                        <a:lnTo>
                          <a:pt x="1788" y="3182"/>
                        </a:lnTo>
                        <a:lnTo>
                          <a:pt x="1791" y="3172"/>
                        </a:lnTo>
                        <a:lnTo>
                          <a:pt x="1792" y="3161"/>
                        </a:lnTo>
                        <a:lnTo>
                          <a:pt x="1792" y="3161"/>
                        </a:lnTo>
                        <a:lnTo>
                          <a:pt x="1794" y="3138"/>
                        </a:lnTo>
                        <a:lnTo>
                          <a:pt x="1793" y="3110"/>
                        </a:lnTo>
                        <a:lnTo>
                          <a:pt x="1791" y="3079"/>
                        </a:lnTo>
                        <a:lnTo>
                          <a:pt x="1787" y="3043"/>
                        </a:lnTo>
                        <a:lnTo>
                          <a:pt x="1781" y="3003"/>
                        </a:lnTo>
                        <a:lnTo>
                          <a:pt x="1774" y="2961"/>
                        </a:lnTo>
                        <a:lnTo>
                          <a:pt x="1758" y="2864"/>
                        </a:lnTo>
                        <a:lnTo>
                          <a:pt x="1715" y="2644"/>
                        </a:lnTo>
                        <a:lnTo>
                          <a:pt x="1692" y="2523"/>
                        </a:lnTo>
                        <a:lnTo>
                          <a:pt x="1670" y="2397"/>
                        </a:lnTo>
                        <a:lnTo>
                          <a:pt x="1659" y="2334"/>
                        </a:lnTo>
                        <a:lnTo>
                          <a:pt x="1650" y="2270"/>
                        </a:lnTo>
                        <a:lnTo>
                          <a:pt x="1642" y="2206"/>
                        </a:lnTo>
                        <a:lnTo>
                          <a:pt x="1634" y="2142"/>
                        </a:lnTo>
                        <a:lnTo>
                          <a:pt x="1628" y="2079"/>
                        </a:lnTo>
                        <a:lnTo>
                          <a:pt x="1623" y="2017"/>
                        </a:lnTo>
                        <a:lnTo>
                          <a:pt x="1620" y="1956"/>
                        </a:lnTo>
                        <a:lnTo>
                          <a:pt x="1618" y="1896"/>
                        </a:lnTo>
                        <a:lnTo>
                          <a:pt x="1619" y="1838"/>
                        </a:lnTo>
                        <a:lnTo>
                          <a:pt x="1621" y="1782"/>
                        </a:lnTo>
                        <a:lnTo>
                          <a:pt x="1626" y="1728"/>
                        </a:lnTo>
                        <a:lnTo>
                          <a:pt x="1629" y="1701"/>
                        </a:lnTo>
                        <a:lnTo>
                          <a:pt x="1633" y="1675"/>
                        </a:lnTo>
                        <a:lnTo>
                          <a:pt x="1637" y="1651"/>
                        </a:lnTo>
                        <a:lnTo>
                          <a:pt x="1642" y="1627"/>
                        </a:lnTo>
                        <a:lnTo>
                          <a:pt x="1649" y="1603"/>
                        </a:lnTo>
                        <a:lnTo>
                          <a:pt x="1655" y="1580"/>
                        </a:lnTo>
                        <a:lnTo>
                          <a:pt x="1663" y="1558"/>
                        </a:lnTo>
                        <a:lnTo>
                          <a:pt x="1671" y="1537"/>
                        </a:lnTo>
                        <a:lnTo>
                          <a:pt x="1679" y="1517"/>
                        </a:lnTo>
                        <a:lnTo>
                          <a:pt x="1690" y="1498"/>
                        </a:lnTo>
                        <a:lnTo>
                          <a:pt x="1690" y="1498"/>
                        </a:lnTo>
                        <a:lnTo>
                          <a:pt x="1708" y="1462"/>
                        </a:lnTo>
                        <a:lnTo>
                          <a:pt x="1722" y="1427"/>
                        </a:lnTo>
                        <a:lnTo>
                          <a:pt x="1734" y="1396"/>
                        </a:lnTo>
                        <a:lnTo>
                          <a:pt x="1742" y="1365"/>
                        </a:lnTo>
                        <a:lnTo>
                          <a:pt x="1748" y="1337"/>
                        </a:lnTo>
                        <a:lnTo>
                          <a:pt x="1750" y="1312"/>
                        </a:lnTo>
                        <a:lnTo>
                          <a:pt x="1750" y="1288"/>
                        </a:lnTo>
                        <a:lnTo>
                          <a:pt x="1748" y="1266"/>
                        </a:lnTo>
                        <a:lnTo>
                          <a:pt x="1743" y="1245"/>
                        </a:lnTo>
                        <a:lnTo>
                          <a:pt x="1737" y="1225"/>
                        </a:lnTo>
                        <a:lnTo>
                          <a:pt x="1729" y="1206"/>
                        </a:lnTo>
                        <a:lnTo>
                          <a:pt x="1719" y="1189"/>
                        </a:lnTo>
                        <a:lnTo>
                          <a:pt x="1708" y="1173"/>
                        </a:lnTo>
                        <a:lnTo>
                          <a:pt x="1697" y="1156"/>
                        </a:lnTo>
                        <a:lnTo>
                          <a:pt x="1684" y="1141"/>
                        </a:lnTo>
                        <a:lnTo>
                          <a:pt x="1670" y="1127"/>
                        </a:lnTo>
                        <a:lnTo>
                          <a:pt x="1642" y="1098"/>
                        </a:lnTo>
                        <a:lnTo>
                          <a:pt x="1614" y="1072"/>
                        </a:lnTo>
                        <a:lnTo>
                          <a:pt x="1600" y="1058"/>
                        </a:lnTo>
                        <a:lnTo>
                          <a:pt x="1587" y="1044"/>
                        </a:lnTo>
                        <a:lnTo>
                          <a:pt x="1576" y="1029"/>
                        </a:lnTo>
                        <a:lnTo>
                          <a:pt x="1564" y="1015"/>
                        </a:lnTo>
                        <a:lnTo>
                          <a:pt x="1555" y="998"/>
                        </a:lnTo>
                        <a:lnTo>
                          <a:pt x="1547" y="982"/>
                        </a:lnTo>
                        <a:lnTo>
                          <a:pt x="1540" y="965"/>
                        </a:lnTo>
                        <a:lnTo>
                          <a:pt x="1535" y="946"/>
                        </a:lnTo>
                        <a:lnTo>
                          <a:pt x="1533" y="927"/>
                        </a:lnTo>
                        <a:lnTo>
                          <a:pt x="1532" y="906"/>
                        </a:lnTo>
                        <a:lnTo>
                          <a:pt x="1534" y="884"/>
                        </a:lnTo>
                        <a:lnTo>
                          <a:pt x="1539" y="860"/>
                        </a:lnTo>
                        <a:lnTo>
                          <a:pt x="1539" y="860"/>
                        </a:lnTo>
                        <a:lnTo>
                          <a:pt x="1563" y="765"/>
                        </a:lnTo>
                        <a:lnTo>
                          <a:pt x="1576" y="720"/>
                        </a:lnTo>
                        <a:lnTo>
                          <a:pt x="1589" y="677"/>
                        </a:lnTo>
                        <a:lnTo>
                          <a:pt x="1603" y="635"/>
                        </a:lnTo>
                        <a:lnTo>
                          <a:pt x="1619" y="596"/>
                        </a:lnTo>
                        <a:lnTo>
                          <a:pt x="1628" y="576"/>
                        </a:lnTo>
                        <a:lnTo>
                          <a:pt x="1637" y="557"/>
                        </a:lnTo>
                        <a:lnTo>
                          <a:pt x="1648" y="539"/>
                        </a:lnTo>
                        <a:lnTo>
                          <a:pt x="1658" y="520"/>
                        </a:lnTo>
                        <a:lnTo>
                          <a:pt x="1670" y="502"/>
                        </a:lnTo>
                        <a:lnTo>
                          <a:pt x="1683" y="484"/>
                        </a:lnTo>
                        <a:lnTo>
                          <a:pt x="1695" y="467"/>
                        </a:lnTo>
                        <a:lnTo>
                          <a:pt x="1711" y="451"/>
                        </a:lnTo>
                        <a:lnTo>
                          <a:pt x="1726" y="433"/>
                        </a:lnTo>
                        <a:lnTo>
                          <a:pt x="1742" y="417"/>
                        </a:lnTo>
                        <a:lnTo>
                          <a:pt x="1759" y="402"/>
                        </a:lnTo>
                        <a:lnTo>
                          <a:pt x="1778" y="385"/>
                        </a:lnTo>
                        <a:lnTo>
                          <a:pt x="1798" y="370"/>
                        </a:lnTo>
                        <a:lnTo>
                          <a:pt x="1819" y="355"/>
                        </a:lnTo>
                        <a:lnTo>
                          <a:pt x="1842" y="340"/>
                        </a:lnTo>
                        <a:lnTo>
                          <a:pt x="1866" y="325"/>
                        </a:lnTo>
                        <a:lnTo>
                          <a:pt x="1891" y="311"/>
                        </a:lnTo>
                        <a:lnTo>
                          <a:pt x="1918" y="297"/>
                        </a:lnTo>
                        <a:lnTo>
                          <a:pt x="1946" y="283"/>
                        </a:lnTo>
                        <a:lnTo>
                          <a:pt x="1976" y="269"/>
                        </a:lnTo>
                        <a:lnTo>
                          <a:pt x="1976" y="269"/>
                        </a:lnTo>
                        <a:lnTo>
                          <a:pt x="2038" y="244"/>
                        </a:lnTo>
                        <a:lnTo>
                          <a:pt x="2098" y="221"/>
                        </a:lnTo>
                        <a:lnTo>
                          <a:pt x="2156" y="201"/>
                        </a:lnTo>
                        <a:lnTo>
                          <a:pt x="2211" y="182"/>
                        </a:lnTo>
                        <a:lnTo>
                          <a:pt x="2314" y="150"/>
                        </a:lnTo>
                        <a:lnTo>
                          <a:pt x="2403" y="122"/>
                        </a:lnTo>
                        <a:lnTo>
                          <a:pt x="2441" y="109"/>
                        </a:lnTo>
                        <a:lnTo>
                          <a:pt x="2476" y="96"/>
                        </a:lnTo>
                        <a:lnTo>
                          <a:pt x="2505" y="82"/>
                        </a:lnTo>
                        <a:lnTo>
                          <a:pt x="2518" y="76"/>
                        </a:lnTo>
                        <a:lnTo>
                          <a:pt x="2529" y="69"/>
                        </a:lnTo>
                        <a:lnTo>
                          <a:pt x="2539" y="62"/>
                        </a:lnTo>
                        <a:lnTo>
                          <a:pt x="2548" y="53"/>
                        </a:lnTo>
                        <a:lnTo>
                          <a:pt x="2555" y="46"/>
                        </a:lnTo>
                        <a:lnTo>
                          <a:pt x="2561" y="37"/>
                        </a:lnTo>
                        <a:lnTo>
                          <a:pt x="2565" y="29"/>
                        </a:lnTo>
                        <a:lnTo>
                          <a:pt x="2568" y="20"/>
                        </a:lnTo>
                        <a:lnTo>
                          <a:pt x="2569" y="10"/>
                        </a:lnTo>
                        <a:lnTo>
                          <a:pt x="2569" y="0"/>
                        </a:lnTo>
                        <a:lnTo>
                          <a:pt x="2569" y="0"/>
                        </a:lnTo>
                        <a:lnTo>
                          <a:pt x="937" y="0"/>
                        </a:lnTo>
                        <a:lnTo>
                          <a:pt x="937" y="0"/>
                        </a:lnTo>
                        <a:close/>
                      </a:path>
                    </a:pathLst>
                  </a:custGeom>
                  <a:gradFill flip="none" rotWithShape="1">
                    <a:gsLst>
                      <a:gs pos="33000">
                        <a:schemeClr val="tx2">
                          <a:lumMod val="50000"/>
                        </a:schemeClr>
                      </a:gs>
                      <a:gs pos="100000">
                        <a:schemeClr val="tx2">
                          <a:lumMod val="75000"/>
                        </a:schemeClr>
                      </a:gs>
                      <a:gs pos="13000">
                        <a:schemeClr val="tx2">
                          <a:lumMod val="75000"/>
                        </a:schemeClr>
                      </a:gs>
                    </a:gsLst>
                    <a:lin ang="13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28" name="Grupo 23">
                    <a:extLst>
                      <a:ext uri="{FF2B5EF4-FFF2-40B4-BE49-F238E27FC236}">
                        <a16:creationId xmlns:a16="http://schemas.microsoft.com/office/drawing/2014/main" id="{B9774909-1F7B-9E44-A9D3-5AAA71D72D47}"/>
                      </a:ext>
                    </a:extLst>
                  </p:cNvPr>
                  <p:cNvGrpSpPr/>
                  <p:nvPr/>
                </p:nvGrpSpPr>
                <p:grpSpPr>
                  <a:xfrm>
                    <a:off x="2697163" y="5378112"/>
                    <a:ext cx="1003300" cy="1265576"/>
                    <a:chOff x="2697163" y="5378112"/>
                    <a:chExt cx="1003300" cy="1265576"/>
                  </a:xfrm>
                </p:grpSpPr>
                <p:sp>
                  <p:nvSpPr>
                    <p:cNvPr id="29" name="Forma libre 21">
                      <a:extLst>
                        <a:ext uri="{FF2B5EF4-FFF2-40B4-BE49-F238E27FC236}">
                          <a16:creationId xmlns:a16="http://schemas.microsoft.com/office/drawing/2014/main" id="{E166ED42-C82F-FD41-8EA8-85310B7020B5}"/>
                        </a:ext>
                      </a:extLst>
                    </p:cNvPr>
                    <p:cNvSpPr>
                      <a:spLocks/>
                    </p:cNvSpPr>
                    <p:nvPr/>
                  </p:nvSpPr>
                  <p:spPr bwMode="auto">
                    <a:xfrm>
                      <a:off x="2697163" y="6461126"/>
                      <a:ext cx="1003300" cy="182562"/>
                    </a:xfrm>
                    <a:custGeom>
                      <a:avLst/>
                      <a:gdLst/>
                      <a:ahLst/>
                      <a:cxnLst>
                        <a:cxn ang="0">
                          <a:pos x="1263" y="84"/>
                        </a:cxn>
                        <a:cxn ang="0">
                          <a:pos x="1262" y="104"/>
                        </a:cxn>
                        <a:cxn ang="0">
                          <a:pos x="1256" y="124"/>
                        </a:cxn>
                        <a:cxn ang="0">
                          <a:pos x="1248" y="141"/>
                        </a:cxn>
                        <a:cxn ang="0">
                          <a:pos x="1237" y="156"/>
                        </a:cxn>
                        <a:cxn ang="0">
                          <a:pos x="1223" y="170"/>
                        </a:cxn>
                        <a:cxn ang="0">
                          <a:pos x="1206" y="181"/>
                        </a:cxn>
                        <a:cxn ang="0">
                          <a:pos x="1189" y="189"/>
                        </a:cxn>
                        <a:cxn ang="0">
                          <a:pos x="1169" y="194"/>
                        </a:cxn>
                        <a:cxn ang="0">
                          <a:pos x="1102" y="200"/>
                        </a:cxn>
                        <a:cxn ang="0">
                          <a:pos x="968" y="212"/>
                        </a:cxn>
                        <a:cxn ang="0">
                          <a:pos x="835" y="221"/>
                        </a:cxn>
                        <a:cxn ang="0">
                          <a:pos x="700" y="227"/>
                        </a:cxn>
                        <a:cxn ang="0">
                          <a:pos x="567" y="231"/>
                        </a:cxn>
                        <a:cxn ang="0">
                          <a:pos x="432" y="229"/>
                        </a:cxn>
                        <a:cxn ang="0">
                          <a:pos x="298" y="227"/>
                        </a:cxn>
                        <a:cxn ang="0">
                          <a:pos x="165" y="220"/>
                        </a:cxn>
                        <a:cxn ang="0">
                          <a:pos x="97" y="216"/>
                        </a:cxn>
                        <a:cxn ang="0">
                          <a:pos x="79" y="212"/>
                        </a:cxn>
                        <a:cxn ang="0">
                          <a:pos x="60" y="205"/>
                        </a:cxn>
                        <a:cxn ang="0">
                          <a:pos x="44" y="195"/>
                        </a:cxn>
                        <a:cxn ang="0">
                          <a:pos x="29" y="182"/>
                        </a:cxn>
                        <a:cxn ang="0">
                          <a:pos x="17" y="167"/>
                        </a:cxn>
                        <a:cxn ang="0">
                          <a:pos x="8" y="149"/>
                        </a:cxn>
                        <a:cxn ang="0">
                          <a:pos x="2" y="131"/>
                        </a:cxn>
                        <a:cxn ang="0">
                          <a:pos x="0" y="111"/>
                        </a:cxn>
                        <a:cxn ang="0">
                          <a:pos x="0" y="111"/>
                        </a:cxn>
                        <a:cxn ang="0">
                          <a:pos x="1" y="91"/>
                        </a:cxn>
                        <a:cxn ang="0">
                          <a:pos x="6" y="74"/>
                        </a:cxn>
                        <a:cxn ang="0">
                          <a:pos x="15" y="59"/>
                        </a:cxn>
                        <a:cxn ang="0">
                          <a:pos x="27" y="45"/>
                        </a:cxn>
                        <a:cxn ang="0">
                          <a:pos x="41" y="34"/>
                        </a:cxn>
                        <a:cxn ang="0">
                          <a:pos x="57" y="27"/>
                        </a:cxn>
                        <a:cxn ang="0">
                          <a:pos x="74" y="23"/>
                        </a:cxn>
                        <a:cxn ang="0">
                          <a:pos x="94" y="23"/>
                        </a:cxn>
                        <a:cxn ang="0">
                          <a:pos x="160" y="26"/>
                        </a:cxn>
                        <a:cxn ang="0">
                          <a:pos x="295" y="33"/>
                        </a:cxn>
                        <a:cxn ang="0">
                          <a:pos x="428" y="37"/>
                        </a:cxn>
                        <a:cxn ang="0">
                          <a:pos x="562" y="37"/>
                        </a:cxn>
                        <a:cxn ang="0">
                          <a:pos x="697" y="34"/>
                        </a:cxn>
                        <a:cxn ang="0">
                          <a:pos x="830" y="29"/>
                        </a:cxn>
                        <a:cxn ang="0">
                          <a:pos x="965" y="19"/>
                        </a:cxn>
                        <a:cxn ang="0">
                          <a:pos x="1098" y="8"/>
                        </a:cxn>
                        <a:cxn ang="0">
                          <a:pos x="1165" y="1"/>
                        </a:cxn>
                        <a:cxn ang="0">
                          <a:pos x="1184" y="0"/>
                        </a:cxn>
                        <a:cxn ang="0">
                          <a:pos x="1203" y="3"/>
                        </a:cxn>
                        <a:cxn ang="0">
                          <a:pos x="1219" y="10"/>
                        </a:cxn>
                        <a:cxn ang="0">
                          <a:pos x="1234" y="21"/>
                        </a:cxn>
                        <a:cxn ang="0">
                          <a:pos x="1246" y="33"/>
                        </a:cxn>
                        <a:cxn ang="0">
                          <a:pos x="1255" y="48"/>
                        </a:cxn>
                        <a:cxn ang="0">
                          <a:pos x="1261" y="66"/>
                        </a:cxn>
                        <a:cxn ang="0">
                          <a:pos x="1263" y="84"/>
                        </a:cxn>
                      </a:cxnLst>
                      <a:rect l="0" t="0" r="r" b="b"/>
                      <a:pathLst>
                        <a:path w="1263" h="231">
                          <a:moveTo>
                            <a:pt x="1263" y="84"/>
                          </a:moveTo>
                          <a:lnTo>
                            <a:pt x="1263" y="84"/>
                          </a:lnTo>
                          <a:lnTo>
                            <a:pt x="1263" y="95"/>
                          </a:lnTo>
                          <a:lnTo>
                            <a:pt x="1262" y="104"/>
                          </a:lnTo>
                          <a:lnTo>
                            <a:pt x="1260" y="115"/>
                          </a:lnTo>
                          <a:lnTo>
                            <a:pt x="1256" y="124"/>
                          </a:lnTo>
                          <a:lnTo>
                            <a:pt x="1253" y="132"/>
                          </a:lnTo>
                          <a:lnTo>
                            <a:pt x="1248" y="141"/>
                          </a:lnTo>
                          <a:lnTo>
                            <a:pt x="1242" y="149"/>
                          </a:lnTo>
                          <a:lnTo>
                            <a:pt x="1237" y="156"/>
                          </a:lnTo>
                          <a:lnTo>
                            <a:pt x="1230" y="163"/>
                          </a:lnTo>
                          <a:lnTo>
                            <a:pt x="1223" y="170"/>
                          </a:lnTo>
                          <a:lnTo>
                            <a:pt x="1215" y="176"/>
                          </a:lnTo>
                          <a:lnTo>
                            <a:pt x="1206" y="181"/>
                          </a:lnTo>
                          <a:lnTo>
                            <a:pt x="1198" y="185"/>
                          </a:lnTo>
                          <a:lnTo>
                            <a:pt x="1189" y="189"/>
                          </a:lnTo>
                          <a:lnTo>
                            <a:pt x="1179" y="191"/>
                          </a:lnTo>
                          <a:lnTo>
                            <a:pt x="1169" y="194"/>
                          </a:lnTo>
                          <a:lnTo>
                            <a:pt x="1169" y="194"/>
                          </a:lnTo>
                          <a:lnTo>
                            <a:pt x="1102" y="200"/>
                          </a:lnTo>
                          <a:lnTo>
                            <a:pt x="1036" y="206"/>
                          </a:lnTo>
                          <a:lnTo>
                            <a:pt x="968" y="212"/>
                          </a:lnTo>
                          <a:lnTo>
                            <a:pt x="901" y="218"/>
                          </a:lnTo>
                          <a:lnTo>
                            <a:pt x="835" y="221"/>
                          </a:lnTo>
                          <a:lnTo>
                            <a:pt x="767" y="225"/>
                          </a:lnTo>
                          <a:lnTo>
                            <a:pt x="700" y="227"/>
                          </a:lnTo>
                          <a:lnTo>
                            <a:pt x="634" y="229"/>
                          </a:lnTo>
                          <a:lnTo>
                            <a:pt x="567" y="231"/>
                          </a:lnTo>
                          <a:lnTo>
                            <a:pt x="499" y="231"/>
                          </a:lnTo>
                          <a:lnTo>
                            <a:pt x="432" y="229"/>
                          </a:lnTo>
                          <a:lnTo>
                            <a:pt x="366" y="228"/>
                          </a:lnTo>
                          <a:lnTo>
                            <a:pt x="298" y="227"/>
                          </a:lnTo>
                          <a:lnTo>
                            <a:pt x="231" y="224"/>
                          </a:lnTo>
                          <a:lnTo>
                            <a:pt x="165" y="220"/>
                          </a:lnTo>
                          <a:lnTo>
                            <a:pt x="97" y="216"/>
                          </a:lnTo>
                          <a:lnTo>
                            <a:pt x="97" y="216"/>
                          </a:lnTo>
                          <a:lnTo>
                            <a:pt x="88" y="214"/>
                          </a:lnTo>
                          <a:lnTo>
                            <a:pt x="79" y="212"/>
                          </a:lnTo>
                          <a:lnTo>
                            <a:pt x="70" y="210"/>
                          </a:lnTo>
                          <a:lnTo>
                            <a:pt x="60" y="205"/>
                          </a:lnTo>
                          <a:lnTo>
                            <a:pt x="52" y="200"/>
                          </a:lnTo>
                          <a:lnTo>
                            <a:pt x="44" y="195"/>
                          </a:lnTo>
                          <a:lnTo>
                            <a:pt x="36" y="189"/>
                          </a:lnTo>
                          <a:lnTo>
                            <a:pt x="29" y="182"/>
                          </a:lnTo>
                          <a:lnTo>
                            <a:pt x="23" y="175"/>
                          </a:lnTo>
                          <a:lnTo>
                            <a:pt x="17" y="167"/>
                          </a:lnTo>
                          <a:lnTo>
                            <a:pt x="12" y="159"/>
                          </a:lnTo>
                          <a:lnTo>
                            <a:pt x="8" y="149"/>
                          </a:lnTo>
                          <a:lnTo>
                            <a:pt x="5" y="140"/>
                          </a:lnTo>
                          <a:lnTo>
                            <a:pt x="2" y="131"/>
                          </a:lnTo>
                          <a:lnTo>
                            <a:pt x="0" y="122"/>
                          </a:lnTo>
                          <a:lnTo>
                            <a:pt x="0" y="111"/>
                          </a:lnTo>
                          <a:lnTo>
                            <a:pt x="0" y="111"/>
                          </a:lnTo>
                          <a:lnTo>
                            <a:pt x="0" y="111"/>
                          </a:lnTo>
                          <a:lnTo>
                            <a:pt x="0" y="102"/>
                          </a:lnTo>
                          <a:lnTo>
                            <a:pt x="1" y="91"/>
                          </a:lnTo>
                          <a:lnTo>
                            <a:pt x="3" y="83"/>
                          </a:lnTo>
                          <a:lnTo>
                            <a:pt x="6" y="74"/>
                          </a:lnTo>
                          <a:lnTo>
                            <a:pt x="10" y="66"/>
                          </a:lnTo>
                          <a:lnTo>
                            <a:pt x="15" y="59"/>
                          </a:lnTo>
                          <a:lnTo>
                            <a:pt x="20" y="52"/>
                          </a:lnTo>
                          <a:lnTo>
                            <a:pt x="27" y="45"/>
                          </a:lnTo>
                          <a:lnTo>
                            <a:pt x="32" y="39"/>
                          </a:lnTo>
                          <a:lnTo>
                            <a:pt x="41" y="34"/>
                          </a:lnTo>
                          <a:lnTo>
                            <a:pt x="49" y="31"/>
                          </a:lnTo>
                          <a:lnTo>
                            <a:pt x="57" y="27"/>
                          </a:lnTo>
                          <a:lnTo>
                            <a:pt x="65" y="24"/>
                          </a:lnTo>
                          <a:lnTo>
                            <a:pt x="74" y="23"/>
                          </a:lnTo>
                          <a:lnTo>
                            <a:pt x="84" y="22"/>
                          </a:lnTo>
                          <a:lnTo>
                            <a:pt x="94" y="23"/>
                          </a:lnTo>
                          <a:lnTo>
                            <a:pt x="94" y="23"/>
                          </a:lnTo>
                          <a:lnTo>
                            <a:pt x="160" y="26"/>
                          </a:lnTo>
                          <a:lnTo>
                            <a:pt x="228" y="31"/>
                          </a:lnTo>
                          <a:lnTo>
                            <a:pt x="295" y="33"/>
                          </a:lnTo>
                          <a:lnTo>
                            <a:pt x="361" y="36"/>
                          </a:lnTo>
                          <a:lnTo>
                            <a:pt x="428" y="37"/>
                          </a:lnTo>
                          <a:lnTo>
                            <a:pt x="496" y="38"/>
                          </a:lnTo>
                          <a:lnTo>
                            <a:pt x="562" y="37"/>
                          </a:lnTo>
                          <a:lnTo>
                            <a:pt x="629" y="37"/>
                          </a:lnTo>
                          <a:lnTo>
                            <a:pt x="697" y="34"/>
                          </a:lnTo>
                          <a:lnTo>
                            <a:pt x="764" y="32"/>
                          </a:lnTo>
                          <a:lnTo>
                            <a:pt x="830" y="29"/>
                          </a:lnTo>
                          <a:lnTo>
                            <a:pt x="898" y="24"/>
                          </a:lnTo>
                          <a:lnTo>
                            <a:pt x="965" y="19"/>
                          </a:lnTo>
                          <a:lnTo>
                            <a:pt x="1031" y="14"/>
                          </a:lnTo>
                          <a:lnTo>
                            <a:pt x="1098" y="8"/>
                          </a:lnTo>
                          <a:lnTo>
                            <a:pt x="1165" y="1"/>
                          </a:lnTo>
                          <a:lnTo>
                            <a:pt x="1165" y="1"/>
                          </a:lnTo>
                          <a:lnTo>
                            <a:pt x="1175" y="0"/>
                          </a:lnTo>
                          <a:lnTo>
                            <a:pt x="1184" y="0"/>
                          </a:lnTo>
                          <a:lnTo>
                            <a:pt x="1194" y="1"/>
                          </a:lnTo>
                          <a:lnTo>
                            <a:pt x="1203" y="3"/>
                          </a:lnTo>
                          <a:lnTo>
                            <a:pt x="1211" y="7"/>
                          </a:lnTo>
                          <a:lnTo>
                            <a:pt x="1219" y="10"/>
                          </a:lnTo>
                          <a:lnTo>
                            <a:pt x="1227" y="15"/>
                          </a:lnTo>
                          <a:lnTo>
                            <a:pt x="1234" y="21"/>
                          </a:lnTo>
                          <a:lnTo>
                            <a:pt x="1240" y="26"/>
                          </a:lnTo>
                          <a:lnTo>
                            <a:pt x="1246" y="33"/>
                          </a:lnTo>
                          <a:lnTo>
                            <a:pt x="1251" y="40"/>
                          </a:lnTo>
                          <a:lnTo>
                            <a:pt x="1255" y="48"/>
                          </a:lnTo>
                          <a:lnTo>
                            <a:pt x="1259" y="57"/>
                          </a:lnTo>
                          <a:lnTo>
                            <a:pt x="1261" y="66"/>
                          </a:lnTo>
                          <a:lnTo>
                            <a:pt x="1263" y="75"/>
                          </a:lnTo>
                          <a:lnTo>
                            <a:pt x="1263" y="84"/>
                          </a:lnTo>
                          <a:lnTo>
                            <a:pt x="1263" y="8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0" name="Forma libre 22">
                      <a:extLst>
                        <a:ext uri="{FF2B5EF4-FFF2-40B4-BE49-F238E27FC236}">
                          <a16:creationId xmlns:a16="http://schemas.microsoft.com/office/drawing/2014/main" id="{D24488AA-272D-D341-A3F8-2FF6B6D917BE}"/>
                        </a:ext>
                      </a:extLst>
                    </p:cNvPr>
                    <p:cNvSpPr>
                      <a:spLocks/>
                    </p:cNvSpPr>
                    <p:nvPr/>
                  </p:nvSpPr>
                  <p:spPr bwMode="auto">
                    <a:xfrm>
                      <a:off x="2776538" y="6264274"/>
                      <a:ext cx="919163" cy="166687"/>
                    </a:xfrm>
                    <a:custGeom>
                      <a:avLst/>
                      <a:gdLst/>
                      <a:ahLst/>
                      <a:cxnLst>
                        <a:cxn ang="0">
                          <a:pos x="1159" y="78"/>
                        </a:cxn>
                        <a:cxn ang="0">
                          <a:pos x="1157" y="97"/>
                        </a:cxn>
                        <a:cxn ang="0">
                          <a:pos x="1153" y="113"/>
                        </a:cxn>
                        <a:cxn ang="0">
                          <a:pos x="1145" y="129"/>
                        </a:cxn>
                        <a:cxn ang="0">
                          <a:pos x="1134" y="144"/>
                        </a:cxn>
                        <a:cxn ang="0">
                          <a:pos x="1121" y="156"/>
                        </a:cxn>
                        <a:cxn ang="0">
                          <a:pos x="1106" y="166"/>
                        </a:cxn>
                        <a:cxn ang="0">
                          <a:pos x="1090" y="173"/>
                        </a:cxn>
                        <a:cxn ang="0">
                          <a:pos x="1071" y="177"/>
                        </a:cxn>
                        <a:cxn ang="0">
                          <a:pos x="1011" y="184"/>
                        </a:cxn>
                        <a:cxn ang="0">
                          <a:pos x="888" y="195"/>
                        </a:cxn>
                        <a:cxn ang="0">
                          <a:pos x="765" y="203"/>
                        </a:cxn>
                        <a:cxn ang="0">
                          <a:pos x="643" y="209"/>
                        </a:cxn>
                        <a:cxn ang="0">
                          <a:pos x="520" y="211"/>
                        </a:cxn>
                        <a:cxn ang="0">
                          <a:pos x="397" y="211"/>
                        </a:cxn>
                        <a:cxn ang="0">
                          <a:pos x="274" y="208"/>
                        </a:cxn>
                        <a:cxn ang="0">
                          <a:pos x="152" y="202"/>
                        </a:cxn>
                        <a:cxn ang="0">
                          <a:pos x="90" y="198"/>
                        </a:cxn>
                        <a:cxn ang="0">
                          <a:pos x="73" y="195"/>
                        </a:cxn>
                        <a:cxn ang="0">
                          <a:pos x="55" y="188"/>
                        </a:cxn>
                        <a:cxn ang="0">
                          <a:pos x="40" y="179"/>
                        </a:cxn>
                        <a:cxn ang="0">
                          <a:pos x="28" y="167"/>
                        </a:cxn>
                        <a:cxn ang="0">
                          <a:pos x="16" y="153"/>
                        </a:cxn>
                        <a:cxn ang="0">
                          <a:pos x="8" y="137"/>
                        </a:cxn>
                        <a:cxn ang="0">
                          <a:pos x="2" y="120"/>
                        </a:cxn>
                        <a:cxn ang="0">
                          <a:pos x="0" y="102"/>
                        </a:cxn>
                        <a:cxn ang="0">
                          <a:pos x="0" y="102"/>
                        </a:cxn>
                        <a:cxn ang="0">
                          <a:pos x="2" y="85"/>
                        </a:cxn>
                        <a:cxn ang="0">
                          <a:pos x="7" y="69"/>
                        </a:cxn>
                        <a:cxn ang="0">
                          <a:pos x="15" y="54"/>
                        </a:cxn>
                        <a:cxn ang="0">
                          <a:pos x="25" y="42"/>
                        </a:cxn>
                        <a:cxn ang="0">
                          <a:pos x="38" y="32"/>
                        </a:cxn>
                        <a:cxn ang="0">
                          <a:pos x="52" y="25"/>
                        </a:cxn>
                        <a:cxn ang="0">
                          <a:pos x="69" y="21"/>
                        </a:cxn>
                        <a:cxn ang="0">
                          <a:pos x="87" y="21"/>
                        </a:cxn>
                        <a:cxn ang="0">
                          <a:pos x="148" y="25"/>
                        </a:cxn>
                        <a:cxn ang="0">
                          <a:pos x="270" y="30"/>
                        </a:cxn>
                        <a:cxn ang="0">
                          <a:pos x="393" y="34"/>
                        </a:cxn>
                        <a:cxn ang="0">
                          <a:pos x="516" y="34"/>
                        </a:cxn>
                        <a:cxn ang="0">
                          <a:pos x="639" y="32"/>
                        </a:cxn>
                        <a:cxn ang="0">
                          <a:pos x="761" y="27"/>
                        </a:cxn>
                        <a:cxn ang="0">
                          <a:pos x="884" y="19"/>
                        </a:cxn>
                        <a:cxn ang="0">
                          <a:pos x="1008" y="7"/>
                        </a:cxn>
                        <a:cxn ang="0">
                          <a:pos x="1068" y="0"/>
                        </a:cxn>
                        <a:cxn ang="0">
                          <a:pos x="1087" y="0"/>
                        </a:cxn>
                        <a:cxn ang="0">
                          <a:pos x="1103" y="4"/>
                        </a:cxn>
                        <a:cxn ang="0">
                          <a:pos x="1118" y="9"/>
                        </a:cxn>
                        <a:cxn ang="0">
                          <a:pos x="1132" y="19"/>
                        </a:cxn>
                        <a:cxn ang="0">
                          <a:pos x="1142" y="30"/>
                        </a:cxn>
                        <a:cxn ang="0">
                          <a:pos x="1150" y="44"/>
                        </a:cxn>
                        <a:cxn ang="0">
                          <a:pos x="1156" y="61"/>
                        </a:cxn>
                        <a:cxn ang="0">
                          <a:pos x="1159" y="78"/>
                        </a:cxn>
                      </a:cxnLst>
                      <a:rect l="0" t="0" r="r" b="b"/>
                      <a:pathLst>
                        <a:path w="1159" h="211">
                          <a:moveTo>
                            <a:pt x="1159" y="78"/>
                          </a:moveTo>
                          <a:lnTo>
                            <a:pt x="1159" y="78"/>
                          </a:lnTo>
                          <a:lnTo>
                            <a:pt x="1159" y="87"/>
                          </a:lnTo>
                          <a:lnTo>
                            <a:pt x="1157" y="97"/>
                          </a:lnTo>
                          <a:lnTo>
                            <a:pt x="1155" y="105"/>
                          </a:lnTo>
                          <a:lnTo>
                            <a:pt x="1153" y="113"/>
                          </a:lnTo>
                          <a:lnTo>
                            <a:pt x="1149" y="121"/>
                          </a:lnTo>
                          <a:lnTo>
                            <a:pt x="1145" y="129"/>
                          </a:lnTo>
                          <a:lnTo>
                            <a:pt x="1140" y="137"/>
                          </a:lnTo>
                          <a:lnTo>
                            <a:pt x="1134" y="144"/>
                          </a:lnTo>
                          <a:lnTo>
                            <a:pt x="1127" y="150"/>
                          </a:lnTo>
                          <a:lnTo>
                            <a:pt x="1121" y="156"/>
                          </a:lnTo>
                          <a:lnTo>
                            <a:pt x="1114" y="162"/>
                          </a:lnTo>
                          <a:lnTo>
                            <a:pt x="1106" y="166"/>
                          </a:lnTo>
                          <a:lnTo>
                            <a:pt x="1098" y="170"/>
                          </a:lnTo>
                          <a:lnTo>
                            <a:pt x="1090" y="173"/>
                          </a:lnTo>
                          <a:lnTo>
                            <a:pt x="1081" y="175"/>
                          </a:lnTo>
                          <a:lnTo>
                            <a:pt x="1071" y="177"/>
                          </a:lnTo>
                          <a:lnTo>
                            <a:pt x="1071" y="177"/>
                          </a:lnTo>
                          <a:lnTo>
                            <a:pt x="1011" y="184"/>
                          </a:lnTo>
                          <a:lnTo>
                            <a:pt x="950" y="189"/>
                          </a:lnTo>
                          <a:lnTo>
                            <a:pt x="888" y="195"/>
                          </a:lnTo>
                          <a:lnTo>
                            <a:pt x="826" y="200"/>
                          </a:lnTo>
                          <a:lnTo>
                            <a:pt x="765" y="203"/>
                          </a:lnTo>
                          <a:lnTo>
                            <a:pt x="704" y="207"/>
                          </a:lnTo>
                          <a:lnTo>
                            <a:pt x="643" y="209"/>
                          </a:lnTo>
                          <a:lnTo>
                            <a:pt x="581" y="210"/>
                          </a:lnTo>
                          <a:lnTo>
                            <a:pt x="520" y="211"/>
                          </a:lnTo>
                          <a:lnTo>
                            <a:pt x="458" y="211"/>
                          </a:lnTo>
                          <a:lnTo>
                            <a:pt x="397" y="211"/>
                          </a:lnTo>
                          <a:lnTo>
                            <a:pt x="335" y="210"/>
                          </a:lnTo>
                          <a:lnTo>
                            <a:pt x="274" y="208"/>
                          </a:lnTo>
                          <a:lnTo>
                            <a:pt x="213" y="206"/>
                          </a:lnTo>
                          <a:lnTo>
                            <a:pt x="152" y="202"/>
                          </a:lnTo>
                          <a:lnTo>
                            <a:pt x="90" y="198"/>
                          </a:lnTo>
                          <a:lnTo>
                            <a:pt x="90" y="198"/>
                          </a:lnTo>
                          <a:lnTo>
                            <a:pt x="81" y="196"/>
                          </a:lnTo>
                          <a:lnTo>
                            <a:pt x="73" y="195"/>
                          </a:lnTo>
                          <a:lnTo>
                            <a:pt x="64" y="192"/>
                          </a:lnTo>
                          <a:lnTo>
                            <a:pt x="55" y="188"/>
                          </a:lnTo>
                          <a:lnTo>
                            <a:pt x="48" y="184"/>
                          </a:lnTo>
                          <a:lnTo>
                            <a:pt x="40" y="179"/>
                          </a:lnTo>
                          <a:lnTo>
                            <a:pt x="33" y="173"/>
                          </a:lnTo>
                          <a:lnTo>
                            <a:pt x="28" y="167"/>
                          </a:lnTo>
                          <a:lnTo>
                            <a:pt x="22" y="160"/>
                          </a:lnTo>
                          <a:lnTo>
                            <a:pt x="16" y="153"/>
                          </a:lnTo>
                          <a:lnTo>
                            <a:pt x="11" y="145"/>
                          </a:lnTo>
                          <a:lnTo>
                            <a:pt x="8" y="137"/>
                          </a:lnTo>
                          <a:lnTo>
                            <a:pt x="4" y="129"/>
                          </a:lnTo>
                          <a:lnTo>
                            <a:pt x="2" y="120"/>
                          </a:lnTo>
                          <a:lnTo>
                            <a:pt x="1" y="112"/>
                          </a:lnTo>
                          <a:lnTo>
                            <a:pt x="0" y="102"/>
                          </a:lnTo>
                          <a:lnTo>
                            <a:pt x="0" y="102"/>
                          </a:lnTo>
                          <a:lnTo>
                            <a:pt x="0" y="102"/>
                          </a:lnTo>
                          <a:lnTo>
                            <a:pt x="1" y="93"/>
                          </a:lnTo>
                          <a:lnTo>
                            <a:pt x="2" y="85"/>
                          </a:lnTo>
                          <a:lnTo>
                            <a:pt x="3" y="76"/>
                          </a:lnTo>
                          <a:lnTo>
                            <a:pt x="7" y="69"/>
                          </a:lnTo>
                          <a:lnTo>
                            <a:pt x="10" y="61"/>
                          </a:lnTo>
                          <a:lnTo>
                            <a:pt x="15" y="54"/>
                          </a:lnTo>
                          <a:lnTo>
                            <a:pt x="19" y="48"/>
                          </a:lnTo>
                          <a:lnTo>
                            <a:pt x="25" y="42"/>
                          </a:lnTo>
                          <a:lnTo>
                            <a:pt x="31" y="36"/>
                          </a:lnTo>
                          <a:lnTo>
                            <a:pt x="38" y="32"/>
                          </a:lnTo>
                          <a:lnTo>
                            <a:pt x="45" y="28"/>
                          </a:lnTo>
                          <a:lnTo>
                            <a:pt x="52" y="25"/>
                          </a:lnTo>
                          <a:lnTo>
                            <a:pt x="60" y="22"/>
                          </a:lnTo>
                          <a:lnTo>
                            <a:pt x="69" y="21"/>
                          </a:lnTo>
                          <a:lnTo>
                            <a:pt x="77" y="20"/>
                          </a:lnTo>
                          <a:lnTo>
                            <a:pt x="87" y="21"/>
                          </a:lnTo>
                          <a:lnTo>
                            <a:pt x="87" y="21"/>
                          </a:lnTo>
                          <a:lnTo>
                            <a:pt x="148" y="25"/>
                          </a:lnTo>
                          <a:lnTo>
                            <a:pt x="209" y="28"/>
                          </a:lnTo>
                          <a:lnTo>
                            <a:pt x="270" y="30"/>
                          </a:lnTo>
                          <a:lnTo>
                            <a:pt x="332" y="33"/>
                          </a:lnTo>
                          <a:lnTo>
                            <a:pt x="393" y="34"/>
                          </a:lnTo>
                          <a:lnTo>
                            <a:pt x="455" y="35"/>
                          </a:lnTo>
                          <a:lnTo>
                            <a:pt x="516" y="34"/>
                          </a:lnTo>
                          <a:lnTo>
                            <a:pt x="578" y="34"/>
                          </a:lnTo>
                          <a:lnTo>
                            <a:pt x="639" y="32"/>
                          </a:lnTo>
                          <a:lnTo>
                            <a:pt x="700" y="29"/>
                          </a:lnTo>
                          <a:lnTo>
                            <a:pt x="761" y="27"/>
                          </a:lnTo>
                          <a:lnTo>
                            <a:pt x="823" y="22"/>
                          </a:lnTo>
                          <a:lnTo>
                            <a:pt x="884" y="19"/>
                          </a:lnTo>
                          <a:lnTo>
                            <a:pt x="946" y="13"/>
                          </a:lnTo>
                          <a:lnTo>
                            <a:pt x="1008" y="7"/>
                          </a:lnTo>
                          <a:lnTo>
                            <a:pt x="1068" y="0"/>
                          </a:lnTo>
                          <a:lnTo>
                            <a:pt x="1068" y="0"/>
                          </a:lnTo>
                          <a:lnTo>
                            <a:pt x="1077" y="0"/>
                          </a:lnTo>
                          <a:lnTo>
                            <a:pt x="1087" y="0"/>
                          </a:lnTo>
                          <a:lnTo>
                            <a:pt x="1095" y="1"/>
                          </a:lnTo>
                          <a:lnTo>
                            <a:pt x="1103" y="4"/>
                          </a:lnTo>
                          <a:lnTo>
                            <a:pt x="1111" y="6"/>
                          </a:lnTo>
                          <a:lnTo>
                            <a:pt x="1118" y="9"/>
                          </a:lnTo>
                          <a:lnTo>
                            <a:pt x="1125" y="14"/>
                          </a:lnTo>
                          <a:lnTo>
                            <a:pt x="1132" y="19"/>
                          </a:lnTo>
                          <a:lnTo>
                            <a:pt x="1138" y="25"/>
                          </a:lnTo>
                          <a:lnTo>
                            <a:pt x="1142" y="30"/>
                          </a:lnTo>
                          <a:lnTo>
                            <a:pt x="1147" y="37"/>
                          </a:lnTo>
                          <a:lnTo>
                            <a:pt x="1150" y="44"/>
                          </a:lnTo>
                          <a:lnTo>
                            <a:pt x="1154" y="52"/>
                          </a:lnTo>
                          <a:lnTo>
                            <a:pt x="1156" y="61"/>
                          </a:lnTo>
                          <a:lnTo>
                            <a:pt x="1157" y="69"/>
                          </a:lnTo>
                          <a:lnTo>
                            <a:pt x="1159" y="78"/>
                          </a:lnTo>
                          <a:lnTo>
                            <a:pt x="1159" y="7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1" name="Forma libre 23">
                      <a:extLst>
                        <a:ext uri="{FF2B5EF4-FFF2-40B4-BE49-F238E27FC236}">
                          <a16:creationId xmlns:a16="http://schemas.microsoft.com/office/drawing/2014/main" id="{41DD22A3-BF23-454F-93F8-E4CCF3CADE77}"/>
                        </a:ext>
                      </a:extLst>
                    </p:cNvPr>
                    <p:cNvSpPr>
                      <a:spLocks/>
                    </p:cNvSpPr>
                    <p:nvPr/>
                  </p:nvSpPr>
                  <p:spPr bwMode="auto">
                    <a:xfrm>
                      <a:off x="2827338" y="6067081"/>
                      <a:ext cx="863600" cy="158750"/>
                    </a:xfrm>
                    <a:custGeom>
                      <a:avLst/>
                      <a:gdLst/>
                      <a:ahLst/>
                      <a:cxnLst>
                        <a:cxn ang="0">
                          <a:pos x="1088" y="73"/>
                        </a:cxn>
                        <a:cxn ang="0">
                          <a:pos x="1087" y="91"/>
                        </a:cxn>
                        <a:cxn ang="0">
                          <a:pos x="1082" y="107"/>
                        </a:cxn>
                        <a:cxn ang="0">
                          <a:pos x="1074" y="122"/>
                        </a:cxn>
                        <a:cxn ang="0">
                          <a:pos x="1064" y="136"/>
                        </a:cxn>
                        <a:cxn ang="0">
                          <a:pos x="1052" y="147"/>
                        </a:cxn>
                        <a:cxn ang="0">
                          <a:pos x="1038" y="157"/>
                        </a:cxn>
                        <a:cxn ang="0">
                          <a:pos x="1023" y="163"/>
                        </a:cxn>
                        <a:cxn ang="0">
                          <a:pos x="1006" y="167"/>
                        </a:cxn>
                        <a:cxn ang="0">
                          <a:pos x="891" y="179"/>
                        </a:cxn>
                        <a:cxn ang="0">
                          <a:pos x="660" y="194"/>
                        </a:cxn>
                        <a:cxn ang="0">
                          <a:pos x="429" y="199"/>
                        </a:cxn>
                        <a:cxn ang="0">
                          <a:pos x="199" y="193"/>
                        </a:cxn>
                        <a:cxn ang="0">
                          <a:pos x="83" y="186"/>
                        </a:cxn>
                        <a:cxn ang="0">
                          <a:pos x="67" y="183"/>
                        </a:cxn>
                        <a:cxn ang="0">
                          <a:pos x="52" y="178"/>
                        </a:cxn>
                        <a:cxn ang="0">
                          <a:pos x="37" y="168"/>
                        </a:cxn>
                        <a:cxn ang="0">
                          <a:pos x="25" y="157"/>
                        </a:cxn>
                        <a:cxn ang="0">
                          <a:pos x="15" y="144"/>
                        </a:cxn>
                        <a:cxn ang="0">
                          <a:pos x="7" y="129"/>
                        </a:cxn>
                        <a:cxn ang="0">
                          <a:pos x="1" y="113"/>
                        </a:cxn>
                        <a:cxn ang="0">
                          <a:pos x="0" y="96"/>
                        </a:cxn>
                        <a:cxn ang="0">
                          <a:pos x="0" y="96"/>
                        </a:cxn>
                        <a:cxn ang="0">
                          <a:pos x="1" y="80"/>
                        </a:cxn>
                        <a:cxn ang="0">
                          <a:pos x="5" y="64"/>
                        </a:cxn>
                        <a:cxn ang="0">
                          <a:pos x="12" y="51"/>
                        </a:cxn>
                        <a:cxn ang="0">
                          <a:pos x="22" y="39"/>
                        </a:cxn>
                        <a:cxn ang="0">
                          <a:pos x="35" y="30"/>
                        </a:cxn>
                        <a:cxn ang="0">
                          <a:pos x="48" y="23"/>
                        </a:cxn>
                        <a:cxn ang="0">
                          <a:pos x="64" y="20"/>
                        </a:cxn>
                        <a:cxn ang="0">
                          <a:pos x="80" y="20"/>
                        </a:cxn>
                        <a:cxn ang="0">
                          <a:pos x="196" y="27"/>
                        </a:cxn>
                        <a:cxn ang="0">
                          <a:pos x="426" y="32"/>
                        </a:cxn>
                        <a:cxn ang="0">
                          <a:pos x="657" y="28"/>
                        </a:cxn>
                        <a:cxn ang="0">
                          <a:pos x="888" y="13"/>
                        </a:cxn>
                        <a:cxn ang="0">
                          <a:pos x="1003" y="1"/>
                        </a:cxn>
                        <a:cxn ang="0">
                          <a:pos x="1019" y="0"/>
                        </a:cxn>
                        <a:cxn ang="0">
                          <a:pos x="1035" y="3"/>
                        </a:cxn>
                        <a:cxn ang="0">
                          <a:pos x="1049" y="9"/>
                        </a:cxn>
                        <a:cxn ang="0">
                          <a:pos x="1062" y="19"/>
                        </a:cxn>
                        <a:cxn ang="0">
                          <a:pos x="1073" y="29"/>
                        </a:cxn>
                        <a:cxn ang="0">
                          <a:pos x="1081" y="42"/>
                        </a:cxn>
                        <a:cxn ang="0">
                          <a:pos x="1085" y="57"/>
                        </a:cxn>
                        <a:cxn ang="0">
                          <a:pos x="1088" y="73"/>
                        </a:cxn>
                      </a:cxnLst>
                      <a:rect l="0" t="0" r="r" b="b"/>
                      <a:pathLst>
                        <a:path w="1088" h="199">
                          <a:moveTo>
                            <a:pt x="1088" y="73"/>
                          </a:moveTo>
                          <a:lnTo>
                            <a:pt x="1088" y="73"/>
                          </a:lnTo>
                          <a:lnTo>
                            <a:pt x="1087" y="82"/>
                          </a:lnTo>
                          <a:lnTo>
                            <a:pt x="1087" y="91"/>
                          </a:lnTo>
                          <a:lnTo>
                            <a:pt x="1084" y="99"/>
                          </a:lnTo>
                          <a:lnTo>
                            <a:pt x="1082" y="107"/>
                          </a:lnTo>
                          <a:lnTo>
                            <a:pt x="1078" y="115"/>
                          </a:lnTo>
                          <a:lnTo>
                            <a:pt x="1074" y="122"/>
                          </a:lnTo>
                          <a:lnTo>
                            <a:pt x="1069" y="129"/>
                          </a:lnTo>
                          <a:lnTo>
                            <a:pt x="1064" y="136"/>
                          </a:lnTo>
                          <a:lnTo>
                            <a:pt x="1059" y="142"/>
                          </a:lnTo>
                          <a:lnTo>
                            <a:pt x="1052" y="147"/>
                          </a:lnTo>
                          <a:lnTo>
                            <a:pt x="1046" y="152"/>
                          </a:lnTo>
                          <a:lnTo>
                            <a:pt x="1038" y="157"/>
                          </a:lnTo>
                          <a:lnTo>
                            <a:pt x="1031" y="160"/>
                          </a:lnTo>
                          <a:lnTo>
                            <a:pt x="1023" y="163"/>
                          </a:lnTo>
                          <a:lnTo>
                            <a:pt x="1015" y="165"/>
                          </a:lnTo>
                          <a:lnTo>
                            <a:pt x="1006" y="167"/>
                          </a:lnTo>
                          <a:lnTo>
                            <a:pt x="1006" y="167"/>
                          </a:lnTo>
                          <a:lnTo>
                            <a:pt x="891" y="179"/>
                          </a:lnTo>
                          <a:lnTo>
                            <a:pt x="775" y="188"/>
                          </a:lnTo>
                          <a:lnTo>
                            <a:pt x="660" y="194"/>
                          </a:lnTo>
                          <a:lnTo>
                            <a:pt x="545" y="197"/>
                          </a:lnTo>
                          <a:lnTo>
                            <a:pt x="429" y="199"/>
                          </a:lnTo>
                          <a:lnTo>
                            <a:pt x="314" y="197"/>
                          </a:lnTo>
                          <a:lnTo>
                            <a:pt x="199" y="193"/>
                          </a:lnTo>
                          <a:lnTo>
                            <a:pt x="83" y="186"/>
                          </a:lnTo>
                          <a:lnTo>
                            <a:pt x="83" y="186"/>
                          </a:lnTo>
                          <a:lnTo>
                            <a:pt x="75" y="185"/>
                          </a:lnTo>
                          <a:lnTo>
                            <a:pt x="67" y="183"/>
                          </a:lnTo>
                          <a:lnTo>
                            <a:pt x="59" y="181"/>
                          </a:lnTo>
                          <a:lnTo>
                            <a:pt x="52" y="178"/>
                          </a:lnTo>
                          <a:lnTo>
                            <a:pt x="44" y="173"/>
                          </a:lnTo>
                          <a:lnTo>
                            <a:pt x="37" y="168"/>
                          </a:lnTo>
                          <a:lnTo>
                            <a:pt x="31" y="163"/>
                          </a:lnTo>
                          <a:lnTo>
                            <a:pt x="25" y="157"/>
                          </a:lnTo>
                          <a:lnTo>
                            <a:pt x="19" y="151"/>
                          </a:lnTo>
                          <a:lnTo>
                            <a:pt x="15" y="144"/>
                          </a:lnTo>
                          <a:lnTo>
                            <a:pt x="10" y="137"/>
                          </a:lnTo>
                          <a:lnTo>
                            <a:pt x="7" y="129"/>
                          </a:lnTo>
                          <a:lnTo>
                            <a:pt x="3" y="121"/>
                          </a:lnTo>
                          <a:lnTo>
                            <a:pt x="1" y="113"/>
                          </a:lnTo>
                          <a:lnTo>
                            <a:pt x="0" y="104"/>
                          </a:lnTo>
                          <a:lnTo>
                            <a:pt x="0" y="96"/>
                          </a:lnTo>
                          <a:lnTo>
                            <a:pt x="0" y="96"/>
                          </a:lnTo>
                          <a:lnTo>
                            <a:pt x="0" y="96"/>
                          </a:lnTo>
                          <a:lnTo>
                            <a:pt x="0" y="88"/>
                          </a:lnTo>
                          <a:lnTo>
                            <a:pt x="1" y="80"/>
                          </a:lnTo>
                          <a:lnTo>
                            <a:pt x="2" y="72"/>
                          </a:lnTo>
                          <a:lnTo>
                            <a:pt x="5" y="64"/>
                          </a:lnTo>
                          <a:lnTo>
                            <a:pt x="8" y="57"/>
                          </a:lnTo>
                          <a:lnTo>
                            <a:pt x="12" y="51"/>
                          </a:lnTo>
                          <a:lnTo>
                            <a:pt x="17" y="45"/>
                          </a:lnTo>
                          <a:lnTo>
                            <a:pt x="22" y="39"/>
                          </a:lnTo>
                          <a:lnTo>
                            <a:pt x="28" y="35"/>
                          </a:lnTo>
                          <a:lnTo>
                            <a:pt x="35" y="30"/>
                          </a:lnTo>
                          <a:lnTo>
                            <a:pt x="41" y="27"/>
                          </a:lnTo>
                          <a:lnTo>
                            <a:pt x="48" y="23"/>
                          </a:lnTo>
                          <a:lnTo>
                            <a:pt x="55" y="22"/>
                          </a:lnTo>
                          <a:lnTo>
                            <a:pt x="64" y="20"/>
                          </a:lnTo>
                          <a:lnTo>
                            <a:pt x="72" y="20"/>
                          </a:lnTo>
                          <a:lnTo>
                            <a:pt x="80" y="20"/>
                          </a:lnTo>
                          <a:lnTo>
                            <a:pt x="80" y="20"/>
                          </a:lnTo>
                          <a:lnTo>
                            <a:pt x="196" y="27"/>
                          </a:lnTo>
                          <a:lnTo>
                            <a:pt x="311" y="31"/>
                          </a:lnTo>
                          <a:lnTo>
                            <a:pt x="426" y="32"/>
                          </a:lnTo>
                          <a:lnTo>
                            <a:pt x="542" y="31"/>
                          </a:lnTo>
                          <a:lnTo>
                            <a:pt x="657" y="28"/>
                          </a:lnTo>
                          <a:lnTo>
                            <a:pt x="772" y="22"/>
                          </a:lnTo>
                          <a:lnTo>
                            <a:pt x="888" y="13"/>
                          </a:lnTo>
                          <a:lnTo>
                            <a:pt x="1003" y="1"/>
                          </a:lnTo>
                          <a:lnTo>
                            <a:pt x="1003" y="1"/>
                          </a:lnTo>
                          <a:lnTo>
                            <a:pt x="1011" y="0"/>
                          </a:lnTo>
                          <a:lnTo>
                            <a:pt x="1019" y="0"/>
                          </a:lnTo>
                          <a:lnTo>
                            <a:pt x="1027" y="1"/>
                          </a:lnTo>
                          <a:lnTo>
                            <a:pt x="1035" y="3"/>
                          </a:lnTo>
                          <a:lnTo>
                            <a:pt x="1042" y="6"/>
                          </a:lnTo>
                          <a:lnTo>
                            <a:pt x="1049" y="9"/>
                          </a:lnTo>
                          <a:lnTo>
                            <a:pt x="1056" y="14"/>
                          </a:lnTo>
                          <a:lnTo>
                            <a:pt x="1062" y="19"/>
                          </a:lnTo>
                          <a:lnTo>
                            <a:pt x="1067" y="23"/>
                          </a:lnTo>
                          <a:lnTo>
                            <a:pt x="1073" y="29"/>
                          </a:lnTo>
                          <a:lnTo>
                            <a:pt x="1076" y="35"/>
                          </a:lnTo>
                          <a:lnTo>
                            <a:pt x="1081" y="42"/>
                          </a:lnTo>
                          <a:lnTo>
                            <a:pt x="1083" y="50"/>
                          </a:lnTo>
                          <a:lnTo>
                            <a:pt x="1085" y="57"/>
                          </a:lnTo>
                          <a:lnTo>
                            <a:pt x="1087" y="65"/>
                          </a:lnTo>
                          <a:lnTo>
                            <a:pt x="1088" y="73"/>
                          </a:lnTo>
                          <a:lnTo>
                            <a:pt x="1088" y="73"/>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2" name="Forma libre 24">
                      <a:extLst>
                        <a:ext uri="{FF2B5EF4-FFF2-40B4-BE49-F238E27FC236}">
                          <a16:creationId xmlns:a16="http://schemas.microsoft.com/office/drawing/2014/main" id="{29F30F8E-9D59-3440-8F49-E966FE0526C3}"/>
                        </a:ext>
                      </a:extLst>
                    </p:cNvPr>
                    <p:cNvSpPr>
                      <a:spLocks/>
                    </p:cNvSpPr>
                    <p:nvPr/>
                  </p:nvSpPr>
                  <p:spPr bwMode="auto">
                    <a:xfrm>
                      <a:off x="2876551" y="5884518"/>
                      <a:ext cx="784225" cy="147637"/>
                    </a:xfrm>
                    <a:custGeom>
                      <a:avLst/>
                      <a:gdLst/>
                      <a:ahLst/>
                      <a:cxnLst>
                        <a:cxn ang="0">
                          <a:pos x="988" y="68"/>
                        </a:cxn>
                        <a:cxn ang="0">
                          <a:pos x="987" y="84"/>
                        </a:cxn>
                        <a:cxn ang="0">
                          <a:pos x="983" y="99"/>
                        </a:cxn>
                        <a:cxn ang="0">
                          <a:pos x="968" y="125"/>
                        </a:cxn>
                        <a:cxn ang="0">
                          <a:pos x="950" y="142"/>
                        </a:cxn>
                        <a:cxn ang="0">
                          <a:pos x="936" y="149"/>
                        </a:cxn>
                        <a:cxn ang="0">
                          <a:pos x="922" y="154"/>
                        </a:cxn>
                        <a:cxn ang="0">
                          <a:pos x="914" y="156"/>
                        </a:cxn>
                        <a:cxn ang="0">
                          <a:pos x="705" y="175"/>
                        </a:cxn>
                        <a:cxn ang="0">
                          <a:pos x="496" y="185"/>
                        </a:cxn>
                        <a:cxn ang="0">
                          <a:pos x="286" y="183"/>
                        </a:cxn>
                        <a:cxn ang="0">
                          <a:pos x="77" y="173"/>
                        </a:cxn>
                        <a:cxn ang="0">
                          <a:pos x="70" y="173"/>
                        </a:cxn>
                        <a:cxn ang="0">
                          <a:pos x="55" y="168"/>
                        </a:cxn>
                        <a:cxn ang="0">
                          <a:pos x="41" y="161"/>
                        </a:cxn>
                        <a:cxn ang="0">
                          <a:pos x="23" y="146"/>
                        </a:cxn>
                        <a:cxn ang="0">
                          <a:pos x="7" y="120"/>
                        </a:cxn>
                        <a:cxn ang="0">
                          <a:pos x="3" y="106"/>
                        </a:cxn>
                        <a:cxn ang="0">
                          <a:pos x="0" y="89"/>
                        </a:cxn>
                        <a:cxn ang="0">
                          <a:pos x="0" y="89"/>
                        </a:cxn>
                        <a:cxn ang="0">
                          <a:pos x="1" y="74"/>
                        </a:cxn>
                        <a:cxn ang="0">
                          <a:pos x="6" y="59"/>
                        </a:cxn>
                        <a:cxn ang="0">
                          <a:pos x="12" y="46"/>
                        </a:cxn>
                        <a:cxn ang="0">
                          <a:pos x="21" y="36"/>
                        </a:cxn>
                        <a:cxn ang="0">
                          <a:pos x="33" y="28"/>
                        </a:cxn>
                        <a:cxn ang="0">
                          <a:pos x="44" y="22"/>
                        </a:cxn>
                        <a:cxn ang="0">
                          <a:pos x="59" y="19"/>
                        </a:cxn>
                        <a:cxn ang="0">
                          <a:pos x="75" y="17"/>
                        </a:cxn>
                        <a:cxn ang="0">
                          <a:pos x="179" y="24"/>
                        </a:cxn>
                        <a:cxn ang="0">
                          <a:pos x="388" y="30"/>
                        </a:cxn>
                        <a:cxn ang="0">
                          <a:pos x="597" y="25"/>
                        </a:cxn>
                        <a:cxn ang="0">
                          <a:pos x="806" y="10"/>
                        </a:cxn>
                        <a:cxn ang="0">
                          <a:pos x="911" y="0"/>
                        </a:cxn>
                        <a:cxn ang="0">
                          <a:pos x="927" y="0"/>
                        </a:cxn>
                        <a:cxn ang="0">
                          <a:pos x="941" y="2"/>
                        </a:cxn>
                        <a:cxn ang="0">
                          <a:pos x="954" y="8"/>
                        </a:cxn>
                        <a:cxn ang="0">
                          <a:pos x="965" y="16"/>
                        </a:cxn>
                        <a:cxn ang="0">
                          <a:pos x="974" y="27"/>
                        </a:cxn>
                        <a:cxn ang="0">
                          <a:pos x="981" y="38"/>
                        </a:cxn>
                        <a:cxn ang="0">
                          <a:pos x="986" y="52"/>
                        </a:cxn>
                        <a:cxn ang="0">
                          <a:pos x="988" y="68"/>
                        </a:cxn>
                      </a:cxnLst>
                      <a:rect l="0" t="0" r="r" b="b"/>
                      <a:pathLst>
                        <a:path w="988" h="186">
                          <a:moveTo>
                            <a:pt x="988" y="68"/>
                          </a:moveTo>
                          <a:lnTo>
                            <a:pt x="988" y="68"/>
                          </a:lnTo>
                          <a:lnTo>
                            <a:pt x="987" y="77"/>
                          </a:lnTo>
                          <a:lnTo>
                            <a:pt x="987" y="84"/>
                          </a:lnTo>
                          <a:lnTo>
                            <a:pt x="985" y="92"/>
                          </a:lnTo>
                          <a:lnTo>
                            <a:pt x="983" y="99"/>
                          </a:lnTo>
                          <a:lnTo>
                            <a:pt x="976" y="114"/>
                          </a:lnTo>
                          <a:lnTo>
                            <a:pt x="968" y="125"/>
                          </a:lnTo>
                          <a:lnTo>
                            <a:pt x="956" y="137"/>
                          </a:lnTo>
                          <a:lnTo>
                            <a:pt x="950" y="142"/>
                          </a:lnTo>
                          <a:lnTo>
                            <a:pt x="943" y="145"/>
                          </a:lnTo>
                          <a:lnTo>
                            <a:pt x="936" y="149"/>
                          </a:lnTo>
                          <a:lnTo>
                            <a:pt x="929" y="152"/>
                          </a:lnTo>
                          <a:lnTo>
                            <a:pt x="922" y="154"/>
                          </a:lnTo>
                          <a:lnTo>
                            <a:pt x="914" y="156"/>
                          </a:lnTo>
                          <a:lnTo>
                            <a:pt x="914" y="156"/>
                          </a:lnTo>
                          <a:lnTo>
                            <a:pt x="810" y="166"/>
                          </a:lnTo>
                          <a:lnTo>
                            <a:pt x="705" y="175"/>
                          </a:lnTo>
                          <a:lnTo>
                            <a:pt x="601" y="181"/>
                          </a:lnTo>
                          <a:lnTo>
                            <a:pt x="496" y="185"/>
                          </a:lnTo>
                          <a:lnTo>
                            <a:pt x="392" y="186"/>
                          </a:lnTo>
                          <a:lnTo>
                            <a:pt x="286" y="183"/>
                          </a:lnTo>
                          <a:lnTo>
                            <a:pt x="181" y="180"/>
                          </a:lnTo>
                          <a:lnTo>
                            <a:pt x="77" y="173"/>
                          </a:lnTo>
                          <a:lnTo>
                            <a:pt x="77" y="173"/>
                          </a:lnTo>
                          <a:lnTo>
                            <a:pt x="70" y="173"/>
                          </a:lnTo>
                          <a:lnTo>
                            <a:pt x="62" y="171"/>
                          </a:lnTo>
                          <a:lnTo>
                            <a:pt x="55" y="168"/>
                          </a:lnTo>
                          <a:lnTo>
                            <a:pt x="48" y="165"/>
                          </a:lnTo>
                          <a:lnTo>
                            <a:pt x="41" y="161"/>
                          </a:lnTo>
                          <a:lnTo>
                            <a:pt x="35" y="157"/>
                          </a:lnTo>
                          <a:lnTo>
                            <a:pt x="23" y="146"/>
                          </a:lnTo>
                          <a:lnTo>
                            <a:pt x="14" y="133"/>
                          </a:lnTo>
                          <a:lnTo>
                            <a:pt x="7" y="120"/>
                          </a:lnTo>
                          <a:lnTo>
                            <a:pt x="4" y="113"/>
                          </a:lnTo>
                          <a:lnTo>
                            <a:pt x="3" y="106"/>
                          </a:lnTo>
                          <a:lnTo>
                            <a:pt x="1" y="97"/>
                          </a:lnTo>
                          <a:lnTo>
                            <a:pt x="0" y="89"/>
                          </a:lnTo>
                          <a:lnTo>
                            <a:pt x="0" y="89"/>
                          </a:lnTo>
                          <a:lnTo>
                            <a:pt x="0" y="89"/>
                          </a:lnTo>
                          <a:lnTo>
                            <a:pt x="0" y="81"/>
                          </a:lnTo>
                          <a:lnTo>
                            <a:pt x="1" y="74"/>
                          </a:lnTo>
                          <a:lnTo>
                            <a:pt x="4" y="66"/>
                          </a:lnTo>
                          <a:lnTo>
                            <a:pt x="6" y="59"/>
                          </a:lnTo>
                          <a:lnTo>
                            <a:pt x="8" y="53"/>
                          </a:lnTo>
                          <a:lnTo>
                            <a:pt x="12" y="46"/>
                          </a:lnTo>
                          <a:lnTo>
                            <a:pt x="16" y="42"/>
                          </a:lnTo>
                          <a:lnTo>
                            <a:pt x="21" y="36"/>
                          </a:lnTo>
                          <a:lnTo>
                            <a:pt x="27" y="31"/>
                          </a:lnTo>
                          <a:lnTo>
                            <a:pt x="33" y="28"/>
                          </a:lnTo>
                          <a:lnTo>
                            <a:pt x="39" y="24"/>
                          </a:lnTo>
                          <a:lnTo>
                            <a:pt x="44" y="22"/>
                          </a:lnTo>
                          <a:lnTo>
                            <a:pt x="51" y="20"/>
                          </a:lnTo>
                          <a:lnTo>
                            <a:pt x="59" y="19"/>
                          </a:lnTo>
                          <a:lnTo>
                            <a:pt x="66" y="17"/>
                          </a:lnTo>
                          <a:lnTo>
                            <a:pt x="75" y="17"/>
                          </a:lnTo>
                          <a:lnTo>
                            <a:pt x="75" y="17"/>
                          </a:lnTo>
                          <a:lnTo>
                            <a:pt x="179" y="24"/>
                          </a:lnTo>
                          <a:lnTo>
                            <a:pt x="284" y="28"/>
                          </a:lnTo>
                          <a:lnTo>
                            <a:pt x="388" y="30"/>
                          </a:lnTo>
                          <a:lnTo>
                            <a:pt x="493" y="29"/>
                          </a:lnTo>
                          <a:lnTo>
                            <a:pt x="597" y="25"/>
                          </a:lnTo>
                          <a:lnTo>
                            <a:pt x="702" y="20"/>
                          </a:lnTo>
                          <a:lnTo>
                            <a:pt x="806" y="10"/>
                          </a:lnTo>
                          <a:lnTo>
                            <a:pt x="911" y="0"/>
                          </a:lnTo>
                          <a:lnTo>
                            <a:pt x="911" y="0"/>
                          </a:lnTo>
                          <a:lnTo>
                            <a:pt x="919" y="0"/>
                          </a:lnTo>
                          <a:lnTo>
                            <a:pt x="927" y="0"/>
                          </a:lnTo>
                          <a:lnTo>
                            <a:pt x="934" y="1"/>
                          </a:lnTo>
                          <a:lnTo>
                            <a:pt x="941" y="2"/>
                          </a:lnTo>
                          <a:lnTo>
                            <a:pt x="948" y="5"/>
                          </a:lnTo>
                          <a:lnTo>
                            <a:pt x="954" y="8"/>
                          </a:lnTo>
                          <a:lnTo>
                            <a:pt x="959" y="12"/>
                          </a:lnTo>
                          <a:lnTo>
                            <a:pt x="965" y="16"/>
                          </a:lnTo>
                          <a:lnTo>
                            <a:pt x="970" y="21"/>
                          </a:lnTo>
                          <a:lnTo>
                            <a:pt x="974" y="27"/>
                          </a:lnTo>
                          <a:lnTo>
                            <a:pt x="978" y="32"/>
                          </a:lnTo>
                          <a:lnTo>
                            <a:pt x="981" y="38"/>
                          </a:lnTo>
                          <a:lnTo>
                            <a:pt x="984" y="45"/>
                          </a:lnTo>
                          <a:lnTo>
                            <a:pt x="986" y="52"/>
                          </a:lnTo>
                          <a:lnTo>
                            <a:pt x="987" y="60"/>
                          </a:lnTo>
                          <a:lnTo>
                            <a:pt x="988" y="68"/>
                          </a:lnTo>
                          <a:lnTo>
                            <a:pt x="988" y="6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3" name="Forma libre 25">
                      <a:extLst>
                        <a:ext uri="{FF2B5EF4-FFF2-40B4-BE49-F238E27FC236}">
                          <a16:creationId xmlns:a16="http://schemas.microsoft.com/office/drawing/2014/main" id="{D8DD20AF-776E-D349-BADA-C046D28BF94D}"/>
                        </a:ext>
                      </a:extLst>
                    </p:cNvPr>
                    <p:cNvSpPr>
                      <a:spLocks/>
                    </p:cNvSpPr>
                    <p:nvPr/>
                  </p:nvSpPr>
                  <p:spPr bwMode="auto">
                    <a:xfrm>
                      <a:off x="2933700" y="5711825"/>
                      <a:ext cx="715963" cy="136525"/>
                    </a:xfrm>
                    <a:custGeom>
                      <a:avLst/>
                      <a:gdLst/>
                      <a:ahLst/>
                      <a:cxnLst>
                        <a:cxn ang="0">
                          <a:pos x="901" y="64"/>
                        </a:cxn>
                        <a:cxn ang="0">
                          <a:pos x="900" y="79"/>
                        </a:cxn>
                        <a:cxn ang="0">
                          <a:pos x="891" y="105"/>
                        </a:cxn>
                        <a:cxn ang="0">
                          <a:pos x="872" y="127"/>
                        </a:cxn>
                        <a:cxn ang="0">
                          <a:pos x="855" y="139"/>
                        </a:cxn>
                        <a:cxn ang="0">
                          <a:pos x="841" y="144"/>
                        </a:cxn>
                        <a:cxn ang="0">
                          <a:pos x="834" y="145"/>
                        </a:cxn>
                        <a:cxn ang="0">
                          <a:pos x="644" y="163"/>
                        </a:cxn>
                        <a:cxn ang="0">
                          <a:pos x="453" y="172"/>
                        </a:cxn>
                        <a:cxn ang="0">
                          <a:pos x="261" y="172"/>
                        </a:cxn>
                        <a:cxn ang="0">
                          <a:pos x="71" y="162"/>
                        </a:cxn>
                        <a:cxn ang="0">
                          <a:pos x="64" y="161"/>
                        </a:cxn>
                        <a:cxn ang="0">
                          <a:pos x="50" y="156"/>
                        </a:cxn>
                        <a:cxn ang="0">
                          <a:pos x="33" y="146"/>
                        </a:cxn>
                        <a:cxn ang="0">
                          <a:pos x="13" y="125"/>
                        </a:cxn>
                        <a:cxn ang="0">
                          <a:pos x="3" y="98"/>
                        </a:cxn>
                        <a:cxn ang="0">
                          <a:pos x="0" y="83"/>
                        </a:cxn>
                        <a:cxn ang="0">
                          <a:pos x="0" y="83"/>
                        </a:cxn>
                        <a:cxn ang="0">
                          <a:pos x="1" y="69"/>
                        </a:cxn>
                        <a:cxn ang="0">
                          <a:pos x="6" y="55"/>
                        </a:cxn>
                        <a:cxn ang="0">
                          <a:pos x="20" y="33"/>
                        </a:cxn>
                        <a:cxn ang="0">
                          <a:pos x="35" y="23"/>
                        </a:cxn>
                        <a:cxn ang="0">
                          <a:pos x="48" y="18"/>
                        </a:cxn>
                        <a:cxn ang="0">
                          <a:pos x="61" y="16"/>
                        </a:cxn>
                        <a:cxn ang="0">
                          <a:pos x="68" y="17"/>
                        </a:cxn>
                        <a:cxn ang="0">
                          <a:pos x="259" y="26"/>
                        </a:cxn>
                        <a:cxn ang="0">
                          <a:pos x="450" y="28"/>
                        </a:cxn>
                        <a:cxn ang="0">
                          <a:pos x="641" y="18"/>
                        </a:cxn>
                        <a:cxn ang="0">
                          <a:pos x="832" y="0"/>
                        </a:cxn>
                        <a:cxn ang="0">
                          <a:pos x="839" y="0"/>
                        </a:cxn>
                        <a:cxn ang="0">
                          <a:pos x="851" y="1"/>
                        </a:cxn>
                        <a:cxn ang="0">
                          <a:pos x="864" y="4"/>
                        </a:cxn>
                        <a:cxn ang="0">
                          <a:pos x="880" y="15"/>
                        </a:cxn>
                        <a:cxn ang="0">
                          <a:pos x="896" y="36"/>
                        </a:cxn>
                        <a:cxn ang="0">
                          <a:pos x="900" y="50"/>
                        </a:cxn>
                        <a:cxn ang="0">
                          <a:pos x="901" y="64"/>
                        </a:cxn>
                      </a:cxnLst>
                      <a:rect l="0" t="0" r="r" b="b"/>
                      <a:pathLst>
                        <a:path w="901" h="173">
                          <a:moveTo>
                            <a:pt x="901" y="64"/>
                          </a:moveTo>
                          <a:lnTo>
                            <a:pt x="901" y="64"/>
                          </a:lnTo>
                          <a:lnTo>
                            <a:pt x="901" y="71"/>
                          </a:lnTo>
                          <a:lnTo>
                            <a:pt x="900" y="79"/>
                          </a:lnTo>
                          <a:lnTo>
                            <a:pt x="897" y="93"/>
                          </a:lnTo>
                          <a:lnTo>
                            <a:pt x="891" y="105"/>
                          </a:lnTo>
                          <a:lnTo>
                            <a:pt x="883" y="117"/>
                          </a:lnTo>
                          <a:lnTo>
                            <a:pt x="872" y="127"/>
                          </a:lnTo>
                          <a:lnTo>
                            <a:pt x="861" y="136"/>
                          </a:lnTo>
                          <a:lnTo>
                            <a:pt x="855" y="139"/>
                          </a:lnTo>
                          <a:lnTo>
                            <a:pt x="848" y="141"/>
                          </a:lnTo>
                          <a:lnTo>
                            <a:pt x="841" y="144"/>
                          </a:lnTo>
                          <a:lnTo>
                            <a:pt x="834" y="145"/>
                          </a:lnTo>
                          <a:lnTo>
                            <a:pt x="834" y="145"/>
                          </a:lnTo>
                          <a:lnTo>
                            <a:pt x="739" y="155"/>
                          </a:lnTo>
                          <a:lnTo>
                            <a:pt x="644" y="163"/>
                          </a:lnTo>
                          <a:lnTo>
                            <a:pt x="548" y="169"/>
                          </a:lnTo>
                          <a:lnTo>
                            <a:pt x="453" y="172"/>
                          </a:lnTo>
                          <a:lnTo>
                            <a:pt x="357" y="173"/>
                          </a:lnTo>
                          <a:lnTo>
                            <a:pt x="261" y="172"/>
                          </a:lnTo>
                          <a:lnTo>
                            <a:pt x="166" y="168"/>
                          </a:lnTo>
                          <a:lnTo>
                            <a:pt x="71" y="162"/>
                          </a:lnTo>
                          <a:lnTo>
                            <a:pt x="71" y="162"/>
                          </a:lnTo>
                          <a:lnTo>
                            <a:pt x="64" y="161"/>
                          </a:lnTo>
                          <a:lnTo>
                            <a:pt x="57" y="159"/>
                          </a:lnTo>
                          <a:lnTo>
                            <a:pt x="50" y="156"/>
                          </a:lnTo>
                          <a:lnTo>
                            <a:pt x="44" y="154"/>
                          </a:lnTo>
                          <a:lnTo>
                            <a:pt x="33" y="146"/>
                          </a:lnTo>
                          <a:lnTo>
                            <a:pt x="22" y="137"/>
                          </a:lnTo>
                          <a:lnTo>
                            <a:pt x="13" y="125"/>
                          </a:lnTo>
                          <a:lnTo>
                            <a:pt x="7" y="112"/>
                          </a:lnTo>
                          <a:lnTo>
                            <a:pt x="3" y="98"/>
                          </a:lnTo>
                          <a:lnTo>
                            <a:pt x="1" y="90"/>
                          </a:lnTo>
                          <a:lnTo>
                            <a:pt x="0" y="83"/>
                          </a:lnTo>
                          <a:lnTo>
                            <a:pt x="0" y="83"/>
                          </a:lnTo>
                          <a:lnTo>
                            <a:pt x="0" y="83"/>
                          </a:lnTo>
                          <a:lnTo>
                            <a:pt x="1" y="76"/>
                          </a:lnTo>
                          <a:lnTo>
                            <a:pt x="1" y="69"/>
                          </a:lnTo>
                          <a:lnTo>
                            <a:pt x="4" y="62"/>
                          </a:lnTo>
                          <a:lnTo>
                            <a:pt x="6" y="55"/>
                          </a:lnTo>
                          <a:lnTo>
                            <a:pt x="12" y="44"/>
                          </a:lnTo>
                          <a:lnTo>
                            <a:pt x="20" y="33"/>
                          </a:lnTo>
                          <a:lnTo>
                            <a:pt x="30" y="26"/>
                          </a:lnTo>
                          <a:lnTo>
                            <a:pt x="35" y="23"/>
                          </a:lnTo>
                          <a:lnTo>
                            <a:pt x="41" y="21"/>
                          </a:lnTo>
                          <a:lnTo>
                            <a:pt x="48" y="18"/>
                          </a:lnTo>
                          <a:lnTo>
                            <a:pt x="54" y="17"/>
                          </a:lnTo>
                          <a:lnTo>
                            <a:pt x="61" y="16"/>
                          </a:lnTo>
                          <a:lnTo>
                            <a:pt x="68" y="17"/>
                          </a:lnTo>
                          <a:lnTo>
                            <a:pt x="68" y="17"/>
                          </a:lnTo>
                          <a:lnTo>
                            <a:pt x="163" y="23"/>
                          </a:lnTo>
                          <a:lnTo>
                            <a:pt x="259" y="26"/>
                          </a:lnTo>
                          <a:lnTo>
                            <a:pt x="354" y="28"/>
                          </a:lnTo>
                          <a:lnTo>
                            <a:pt x="450" y="28"/>
                          </a:lnTo>
                          <a:lnTo>
                            <a:pt x="545" y="24"/>
                          </a:lnTo>
                          <a:lnTo>
                            <a:pt x="641" y="18"/>
                          </a:lnTo>
                          <a:lnTo>
                            <a:pt x="736" y="10"/>
                          </a:lnTo>
                          <a:lnTo>
                            <a:pt x="832" y="0"/>
                          </a:lnTo>
                          <a:lnTo>
                            <a:pt x="832" y="0"/>
                          </a:lnTo>
                          <a:lnTo>
                            <a:pt x="839" y="0"/>
                          </a:lnTo>
                          <a:lnTo>
                            <a:pt x="846" y="0"/>
                          </a:lnTo>
                          <a:lnTo>
                            <a:pt x="851" y="1"/>
                          </a:lnTo>
                          <a:lnTo>
                            <a:pt x="858" y="2"/>
                          </a:lnTo>
                          <a:lnTo>
                            <a:pt x="864" y="4"/>
                          </a:lnTo>
                          <a:lnTo>
                            <a:pt x="870" y="8"/>
                          </a:lnTo>
                          <a:lnTo>
                            <a:pt x="880" y="15"/>
                          </a:lnTo>
                          <a:lnTo>
                            <a:pt x="889" y="25"/>
                          </a:lnTo>
                          <a:lnTo>
                            <a:pt x="896" y="36"/>
                          </a:lnTo>
                          <a:lnTo>
                            <a:pt x="898" y="43"/>
                          </a:lnTo>
                          <a:lnTo>
                            <a:pt x="900" y="50"/>
                          </a:lnTo>
                          <a:lnTo>
                            <a:pt x="901" y="57"/>
                          </a:lnTo>
                          <a:lnTo>
                            <a:pt x="901" y="64"/>
                          </a:lnTo>
                          <a:lnTo>
                            <a:pt x="901" y="6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4" name="Forma libre 26">
                      <a:extLst>
                        <a:ext uri="{FF2B5EF4-FFF2-40B4-BE49-F238E27FC236}">
                          <a16:creationId xmlns:a16="http://schemas.microsoft.com/office/drawing/2014/main" id="{91BBF5DB-57B1-3C47-A333-8CC0369742F9}"/>
                        </a:ext>
                      </a:extLst>
                    </p:cNvPr>
                    <p:cNvSpPr>
                      <a:spLocks/>
                    </p:cNvSpPr>
                    <p:nvPr/>
                  </p:nvSpPr>
                  <p:spPr bwMode="auto">
                    <a:xfrm>
                      <a:off x="2982913" y="5543212"/>
                      <a:ext cx="661988" cy="127000"/>
                    </a:xfrm>
                    <a:custGeom>
                      <a:avLst/>
                      <a:gdLst/>
                      <a:ahLst/>
                      <a:cxnLst>
                        <a:cxn ang="0">
                          <a:pos x="834" y="58"/>
                        </a:cxn>
                        <a:cxn ang="0">
                          <a:pos x="834" y="58"/>
                        </a:cxn>
                        <a:cxn ang="0">
                          <a:pos x="832" y="72"/>
                        </a:cxn>
                        <a:cxn ang="0">
                          <a:pos x="829" y="84"/>
                        </a:cxn>
                        <a:cxn ang="0">
                          <a:pos x="824" y="97"/>
                        </a:cxn>
                        <a:cxn ang="0">
                          <a:pos x="816" y="108"/>
                        </a:cxn>
                        <a:cxn ang="0">
                          <a:pos x="807" y="117"/>
                        </a:cxn>
                        <a:cxn ang="0">
                          <a:pos x="796" y="125"/>
                        </a:cxn>
                        <a:cxn ang="0">
                          <a:pos x="785" y="131"/>
                        </a:cxn>
                        <a:cxn ang="0">
                          <a:pos x="778" y="132"/>
                        </a:cxn>
                        <a:cxn ang="0">
                          <a:pos x="772" y="133"/>
                        </a:cxn>
                        <a:cxn ang="0">
                          <a:pos x="772" y="133"/>
                        </a:cxn>
                        <a:cxn ang="0">
                          <a:pos x="684" y="143"/>
                        </a:cxn>
                        <a:cxn ang="0">
                          <a:pos x="595" y="151"/>
                        </a:cxn>
                        <a:cxn ang="0">
                          <a:pos x="506" y="155"/>
                        </a:cxn>
                        <a:cxn ang="0">
                          <a:pos x="418" y="159"/>
                        </a:cxn>
                        <a:cxn ang="0">
                          <a:pos x="330" y="160"/>
                        </a:cxn>
                        <a:cxn ang="0">
                          <a:pos x="241" y="158"/>
                        </a:cxn>
                        <a:cxn ang="0">
                          <a:pos x="153" y="154"/>
                        </a:cxn>
                        <a:cxn ang="0">
                          <a:pos x="65" y="149"/>
                        </a:cxn>
                        <a:cxn ang="0">
                          <a:pos x="65" y="149"/>
                        </a:cxn>
                        <a:cxn ang="0">
                          <a:pos x="58" y="148"/>
                        </a:cxn>
                        <a:cxn ang="0">
                          <a:pos x="52" y="147"/>
                        </a:cxn>
                        <a:cxn ang="0">
                          <a:pos x="39" y="141"/>
                        </a:cxn>
                        <a:cxn ang="0">
                          <a:pos x="29" y="134"/>
                        </a:cxn>
                        <a:cxn ang="0">
                          <a:pos x="19" y="125"/>
                        </a:cxn>
                        <a:cxn ang="0">
                          <a:pos x="11" y="115"/>
                        </a:cxn>
                        <a:cxn ang="0">
                          <a:pos x="6" y="103"/>
                        </a:cxn>
                        <a:cxn ang="0">
                          <a:pos x="1" y="90"/>
                        </a:cxn>
                        <a:cxn ang="0">
                          <a:pos x="0" y="76"/>
                        </a:cxn>
                        <a:cxn ang="0">
                          <a:pos x="0" y="76"/>
                        </a:cxn>
                        <a:cxn ang="0">
                          <a:pos x="0" y="76"/>
                        </a:cxn>
                        <a:cxn ang="0">
                          <a:pos x="1" y="64"/>
                        </a:cxn>
                        <a:cxn ang="0">
                          <a:pos x="4" y="51"/>
                        </a:cxn>
                        <a:cxn ang="0">
                          <a:pos x="10" y="40"/>
                        </a:cxn>
                        <a:cxn ang="0">
                          <a:pos x="17" y="31"/>
                        </a:cxn>
                        <a:cxn ang="0">
                          <a:pos x="26" y="23"/>
                        </a:cxn>
                        <a:cxn ang="0">
                          <a:pos x="37" y="18"/>
                        </a:cxn>
                        <a:cxn ang="0">
                          <a:pos x="49" y="15"/>
                        </a:cxn>
                        <a:cxn ang="0">
                          <a:pos x="61" y="15"/>
                        </a:cxn>
                        <a:cxn ang="0">
                          <a:pos x="61" y="15"/>
                        </a:cxn>
                        <a:cxn ang="0">
                          <a:pos x="150" y="21"/>
                        </a:cxn>
                        <a:cxn ang="0">
                          <a:pos x="239" y="24"/>
                        </a:cxn>
                        <a:cxn ang="0">
                          <a:pos x="327" y="25"/>
                        </a:cxn>
                        <a:cxn ang="0">
                          <a:pos x="415" y="24"/>
                        </a:cxn>
                        <a:cxn ang="0">
                          <a:pos x="504" y="22"/>
                        </a:cxn>
                        <a:cxn ang="0">
                          <a:pos x="592" y="16"/>
                        </a:cxn>
                        <a:cxn ang="0">
                          <a:pos x="680" y="9"/>
                        </a:cxn>
                        <a:cxn ang="0">
                          <a:pos x="768" y="0"/>
                        </a:cxn>
                        <a:cxn ang="0">
                          <a:pos x="768" y="0"/>
                        </a:cxn>
                        <a:cxn ang="0">
                          <a:pos x="781" y="0"/>
                        </a:cxn>
                        <a:cxn ang="0">
                          <a:pos x="794" y="2"/>
                        </a:cxn>
                        <a:cxn ang="0">
                          <a:pos x="804" y="7"/>
                        </a:cxn>
                        <a:cxn ang="0">
                          <a:pos x="814" y="14"/>
                        </a:cxn>
                        <a:cxn ang="0">
                          <a:pos x="822" y="22"/>
                        </a:cxn>
                        <a:cxn ang="0">
                          <a:pos x="828" y="32"/>
                        </a:cxn>
                        <a:cxn ang="0">
                          <a:pos x="832" y="45"/>
                        </a:cxn>
                        <a:cxn ang="0">
                          <a:pos x="834" y="58"/>
                        </a:cxn>
                        <a:cxn ang="0">
                          <a:pos x="834" y="58"/>
                        </a:cxn>
                      </a:cxnLst>
                      <a:rect l="0" t="0" r="r" b="b"/>
                      <a:pathLst>
                        <a:path w="834" h="160">
                          <a:moveTo>
                            <a:pt x="834" y="58"/>
                          </a:moveTo>
                          <a:lnTo>
                            <a:pt x="834" y="58"/>
                          </a:lnTo>
                          <a:lnTo>
                            <a:pt x="832" y="72"/>
                          </a:lnTo>
                          <a:lnTo>
                            <a:pt x="829" y="84"/>
                          </a:lnTo>
                          <a:lnTo>
                            <a:pt x="824" y="97"/>
                          </a:lnTo>
                          <a:lnTo>
                            <a:pt x="816" y="108"/>
                          </a:lnTo>
                          <a:lnTo>
                            <a:pt x="807" y="117"/>
                          </a:lnTo>
                          <a:lnTo>
                            <a:pt x="796" y="125"/>
                          </a:lnTo>
                          <a:lnTo>
                            <a:pt x="785" y="131"/>
                          </a:lnTo>
                          <a:lnTo>
                            <a:pt x="778" y="132"/>
                          </a:lnTo>
                          <a:lnTo>
                            <a:pt x="772" y="133"/>
                          </a:lnTo>
                          <a:lnTo>
                            <a:pt x="772" y="133"/>
                          </a:lnTo>
                          <a:lnTo>
                            <a:pt x="684" y="143"/>
                          </a:lnTo>
                          <a:lnTo>
                            <a:pt x="595" y="151"/>
                          </a:lnTo>
                          <a:lnTo>
                            <a:pt x="506" y="155"/>
                          </a:lnTo>
                          <a:lnTo>
                            <a:pt x="418" y="159"/>
                          </a:lnTo>
                          <a:lnTo>
                            <a:pt x="330" y="160"/>
                          </a:lnTo>
                          <a:lnTo>
                            <a:pt x="241" y="158"/>
                          </a:lnTo>
                          <a:lnTo>
                            <a:pt x="153" y="154"/>
                          </a:lnTo>
                          <a:lnTo>
                            <a:pt x="65" y="149"/>
                          </a:lnTo>
                          <a:lnTo>
                            <a:pt x="65" y="149"/>
                          </a:lnTo>
                          <a:lnTo>
                            <a:pt x="58" y="148"/>
                          </a:lnTo>
                          <a:lnTo>
                            <a:pt x="52" y="147"/>
                          </a:lnTo>
                          <a:lnTo>
                            <a:pt x="39" y="141"/>
                          </a:lnTo>
                          <a:lnTo>
                            <a:pt x="29" y="134"/>
                          </a:lnTo>
                          <a:lnTo>
                            <a:pt x="19" y="125"/>
                          </a:lnTo>
                          <a:lnTo>
                            <a:pt x="11" y="115"/>
                          </a:lnTo>
                          <a:lnTo>
                            <a:pt x="6" y="103"/>
                          </a:lnTo>
                          <a:lnTo>
                            <a:pt x="1" y="90"/>
                          </a:lnTo>
                          <a:lnTo>
                            <a:pt x="0" y="76"/>
                          </a:lnTo>
                          <a:lnTo>
                            <a:pt x="0" y="76"/>
                          </a:lnTo>
                          <a:lnTo>
                            <a:pt x="0" y="76"/>
                          </a:lnTo>
                          <a:lnTo>
                            <a:pt x="1" y="64"/>
                          </a:lnTo>
                          <a:lnTo>
                            <a:pt x="4" y="51"/>
                          </a:lnTo>
                          <a:lnTo>
                            <a:pt x="10" y="40"/>
                          </a:lnTo>
                          <a:lnTo>
                            <a:pt x="17" y="31"/>
                          </a:lnTo>
                          <a:lnTo>
                            <a:pt x="26" y="23"/>
                          </a:lnTo>
                          <a:lnTo>
                            <a:pt x="37" y="18"/>
                          </a:lnTo>
                          <a:lnTo>
                            <a:pt x="49" y="15"/>
                          </a:lnTo>
                          <a:lnTo>
                            <a:pt x="61" y="15"/>
                          </a:lnTo>
                          <a:lnTo>
                            <a:pt x="61" y="15"/>
                          </a:lnTo>
                          <a:lnTo>
                            <a:pt x="150" y="21"/>
                          </a:lnTo>
                          <a:lnTo>
                            <a:pt x="239" y="24"/>
                          </a:lnTo>
                          <a:lnTo>
                            <a:pt x="327" y="25"/>
                          </a:lnTo>
                          <a:lnTo>
                            <a:pt x="415" y="24"/>
                          </a:lnTo>
                          <a:lnTo>
                            <a:pt x="504" y="22"/>
                          </a:lnTo>
                          <a:lnTo>
                            <a:pt x="592" y="16"/>
                          </a:lnTo>
                          <a:lnTo>
                            <a:pt x="680" y="9"/>
                          </a:lnTo>
                          <a:lnTo>
                            <a:pt x="768" y="0"/>
                          </a:lnTo>
                          <a:lnTo>
                            <a:pt x="768" y="0"/>
                          </a:lnTo>
                          <a:lnTo>
                            <a:pt x="781" y="0"/>
                          </a:lnTo>
                          <a:lnTo>
                            <a:pt x="794" y="2"/>
                          </a:lnTo>
                          <a:lnTo>
                            <a:pt x="804" y="7"/>
                          </a:lnTo>
                          <a:lnTo>
                            <a:pt x="814" y="14"/>
                          </a:lnTo>
                          <a:lnTo>
                            <a:pt x="822" y="22"/>
                          </a:lnTo>
                          <a:lnTo>
                            <a:pt x="828" y="32"/>
                          </a:lnTo>
                          <a:lnTo>
                            <a:pt x="832" y="45"/>
                          </a:lnTo>
                          <a:lnTo>
                            <a:pt x="834" y="58"/>
                          </a:lnTo>
                          <a:lnTo>
                            <a:pt x="834" y="58"/>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35" name="Forma libre 27">
                      <a:extLst>
                        <a:ext uri="{FF2B5EF4-FFF2-40B4-BE49-F238E27FC236}">
                          <a16:creationId xmlns:a16="http://schemas.microsoft.com/office/drawing/2014/main" id="{02F94DF1-9838-4747-8D1E-9A3A9DC78C03}"/>
                        </a:ext>
                      </a:extLst>
                    </p:cNvPr>
                    <p:cNvSpPr>
                      <a:spLocks/>
                    </p:cNvSpPr>
                    <p:nvPr/>
                  </p:nvSpPr>
                  <p:spPr bwMode="auto">
                    <a:xfrm>
                      <a:off x="3030538" y="5378112"/>
                      <a:ext cx="641350" cy="117475"/>
                    </a:xfrm>
                    <a:custGeom>
                      <a:avLst/>
                      <a:gdLst/>
                      <a:ahLst/>
                      <a:cxnLst>
                        <a:cxn ang="0">
                          <a:pos x="808" y="54"/>
                        </a:cxn>
                        <a:cxn ang="0">
                          <a:pos x="808" y="54"/>
                        </a:cxn>
                        <a:cxn ang="0">
                          <a:pos x="807" y="66"/>
                        </a:cxn>
                        <a:cxn ang="0">
                          <a:pos x="804" y="78"/>
                        </a:cxn>
                        <a:cxn ang="0">
                          <a:pos x="798" y="89"/>
                        </a:cxn>
                        <a:cxn ang="0">
                          <a:pos x="791" y="99"/>
                        </a:cxn>
                        <a:cxn ang="0">
                          <a:pos x="782" y="109"/>
                        </a:cxn>
                        <a:cxn ang="0">
                          <a:pos x="771" y="116"/>
                        </a:cxn>
                        <a:cxn ang="0">
                          <a:pos x="761" y="120"/>
                        </a:cxn>
                        <a:cxn ang="0">
                          <a:pos x="748" y="123"/>
                        </a:cxn>
                        <a:cxn ang="0">
                          <a:pos x="748" y="123"/>
                        </a:cxn>
                        <a:cxn ang="0">
                          <a:pos x="662" y="132"/>
                        </a:cxn>
                        <a:cxn ang="0">
                          <a:pos x="577" y="139"/>
                        </a:cxn>
                        <a:cxn ang="0">
                          <a:pos x="491" y="143"/>
                        </a:cxn>
                        <a:cxn ang="0">
                          <a:pos x="405" y="146"/>
                        </a:cxn>
                        <a:cxn ang="0">
                          <a:pos x="319" y="147"/>
                        </a:cxn>
                        <a:cxn ang="0">
                          <a:pos x="234" y="146"/>
                        </a:cxn>
                        <a:cxn ang="0">
                          <a:pos x="149" y="142"/>
                        </a:cxn>
                        <a:cxn ang="0">
                          <a:pos x="63" y="138"/>
                        </a:cxn>
                        <a:cxn ang="0">
                          <a:pos x="63" y="138"/>
                        </a:cxn>
                        <a:cxn ang="0">
                          <a:pos x="50" y="135"/>
                        </a:cxn>
                        <a:cxn ang="0">
                          <a:pos x="38" y="131"/>
                        </a:cxn>
                        <a:cxn ang="0">
                          <a:pos x="28" y="124"/>
                        </a:cxn>
                        <a:cxn ang="0">
                          <a:pos x="19" y="116"/>
                        </a:cxn>
                        <a:cxn ang="0">
                          <a:pos x="12" y="106"/>
                        </a:cxn>
                        <a:cxn ang="0">
                          <a:pos x="6" y="95"/>
                        </a:cxn>
                        <a:cxn ang="0">
                          <a:pos x="1" y="83"/>
                        </a:cxn>
                        <a:cxn ang="0">
                          <a:pos x="0" y="70"/>
                        </a:cxn>
                        <a:cxn ang="0">
                          <a:pos x="0" y="70"/>
                        </a:cxn>
                        <a:cxn ang="0">
                          <a:pos x="0" y="70"/>
                        </a:cxn>
                        <a:cxn ang="0">
                          <a:pos x="1" y="59"/>
                        </a:cxn>
                        <a:cxn ang="0">
                          <a:pos x="5" y="47"/>
                        </a:cxn>
                        <a:cxn ang="0">
                          <a:pos x="9" y="37"/>
                        </a:cxn>
                        <a:cxn ang="0">
                          <a:pos x="18" y="29"/>
                        </a:cxn>
                        <a:cxn ang="0">
                          <a:pos x="26" y="22"/>
                        </a:cxn>
                        <a:cxn ang="0">
                          <a:pos x="36" y="17"/>
                        </a:cxn>
                        <a:cxn ang="0">
                          <a:pos x="48" y="13"/>
                        </a:cxn>
                        <a:cxn ang="0">
                          <a:pos x="61" y="13"/>
                        </a:cxn>
                        <a:cxn ang="0">
                          <a:pos x="61" y="13"/>
                        </a:cxn>
                        <a:cxn ang="0">
                          <a:pos x="146" y="19"/>
                        </a:cxn>
                        <a:cxn ang="0">
                          <a:pos x="231" y="22"/>
                        </a:cxn>
                        <a:cxn ang="0">
                          <a:pos x="317" y="24"/>
                        </a:cxn>
                        <a:cxn ang="0">
                          <a:pos x="403" y="23"/>
                        </a:cxn>
                        <a:cxn ang="0">
                          <a:pos x="489" y="20"/>
                        </a:cxn>
                        <a:cxn ang="0">
                          <a:pos x="574" y="15"/>
                        </a:cxn>
                        <a:cxn ang="0">
                          <a:pos x="660" y="9"/>
                        </a:cxn>
                        <a:cxn ang="0">
                          <a:pos x="746" y="0"/>
                        </a:cxn>
                        <a:cxn ang="0">
                          <a:pos x="746" y="0"/>
                        </a:cxn>
                        <a:cxn ang="0">
                          <a:pos x="757" y="0"/>
                        </a:cxn>
                        <a:cxn ang="0">
                          <a:pos x="769" y="2"/>
                        </a:cxn>
                        <a:cxn ang="0">
                          <a:pos x="780" y="6"/>
                        </a:cxn>
                        <a:cxn ang="0">
                          <a:pos x="790" y="12"/>
                        </a:cxn>
                        <a:cxn ang="0">
                          <a:pos x="797" y="20"/>
                        </a:cxn>
                        <a:cxn ang="0">
                          <a:pos x="803" y="31"/>
                        </a:cxn>
                        <a:cxn ang="0">
                          <a:pos x="807" y="41"/>
                        </a:cxn>
                        <a:cxn ang="0">
                          <a:pos x="808" y="54"/>
                        </a:cxn>
                        <a:cxn ang="0">
                          <a:pos x="808" y="54"/>
                        </a:cxn>
                      </a:cxnLst>
                      <a:rect l="0" t="0" r="r" b="b"/>
                      <a:pathLst>
                        <a:path w="808" h="147">
                          <a:moveTo>
                            <a:pt x="808" y="54"/>
                          </a:moveTo>
                          <a:lnTo>
                            <a:pt x="808" y="54"/>
                          </a:lnTo>
                          <a:lnTo>
                            <a:pt x="807" y="66"/>
                          </a:lnTo>
                          <a:lnTo>
                            <a:pt x="804" y="78"/>
                          </a:lnTo>
                          <a:lnTo>
                            <a:pt x="798" y="89"/>
                          </a:lnTo>
                          <a:lnTo>
                            <a:pt x="791" y="99"/>
                          </a:lnTo>
                          <a:lnTo>
                            <a:pt x="782" y="109"/>
                          </a:lnTo>
                          <a:lnTo>
                            <a:pt x="771" y="116"/>
                          </a:lnTo>
                          <a:lnTo>
                            <a:pt x="761" y="120"/>
                          </a:lnTo>
                          <a:lnTo>
                            <a:pt x="748" y="123"/>
                          </a:lnTo>
                          <a:lnTo>
                            <a:pt x="748" y="123"/>
                          </a:lnTo>
                          <a:lnTo>
                            <a:pt x="662" y="132"/>
                          </a:lnTo>
                          <a:lnTo>
                            <a:pt x="577" y="139"/>
                          </a:lnTo>
                          <a:lnTo>
                            <a:pt x="491" y="143"/>
                          </a:lnTo>
                          <a:lnTo>
                            <a:pt x="405" y="146"/>
                          </a:lnTo>
                          <a:lnTo>
                            <a:pt x="319" y="147"/>
                          </a:lnTo>
                          <a:lnTo>
                            <a:pt x="234" y="146"/>
                          </a:lnTo>
                          <a:lnTo>
                            <a:pt x="149" y="142"/>
                          </a:lnTo>
                          <a:lnTo>
                            <a:pt x="63" y="138"/>
                          </a:lnTo>
                          <a:lnTo>
                            <a:pt x="63" y="138"/>
                          </a:lnTo>
                          <a:lnTo>
                            <a:pt x="50" y="135"/>
                          </a:lnTo>
                          <a:lnTo>
                            <a:pt x="38" y="131"/>
                          </a:lnTo>
                          <a:lnTo>
                            <a:pt x="28" y="124"/>
                          </a:lnTo>
                          <a:lnTo>
                            <a:pt x="19" y="116"/>
                          </a:lnTo>
                          <a:lnTo>
                            <a:pt x="12" y="106"/>
                          </a:lnTo>
                          <a:lnTo>
                            <a:pt x="6" y="95"/>
                          </a:lnTo>
                          <a:lnTo>
                            <a:pt x="1" y="83"/>
                          </a:lnTo>
                          <a:lnTo>
                            <a:pt x="0" y="70"/>
                          </a:lnTo>
                          <a:lnTo>
                            <a:pt x="0" y="70"/>
                          </a:lnTo>
                          <a:lnTo>
                            <a:pt x="0" y="70"/>
                          </a:lnTo>
                          <a:lnTo>
                            <a:pt x="1" y="59"/>
                          </a:lnTo>
                          <a:lnTo>
                            <a:pt x="5" y="47"/>
                          </a:lnTo>
                          <a:lnTo>
                            <a:pt x="9" y="37"/>
                          </a:lnTo>
                          <a:lnTo>
                            <a:pt x="18" y="29"/>
                          </a:lnTo>
                          <a:lnTo>
                            <a:pt x="26" y="22"/>
                          </a:lnTo>
                          <a:lnTo>
                            <a:pt x="36" y="17"/>
                          </a:lnTo>
                          <a:lnTo>
                            <a:pt x="48" y="13"/>
                          </a:lnTo>
                          <a:lnTo>
                            <a:pt x="61" y="13"/>
                          </a:lnTo>
                          <a:lnTo>
                            <a:pt x="61" y="13"/>
                          </a:lnTo>
                          <a:lnTo>
                            <a:pt x="146" y="19"/>
                          </a:lnTo>
                          <a:lnTo>
                            <a:pt x="231" y="22"/>
                          </a:lnTo>
                          <a:lnTo>
                            <a:pt x="317" y="24"/>
                          </a:lnTo>
                          <a:lnTo>
                            <a:pt x="403" y="23"/>
                          </a:lnTo>
                          <a:lnTo>
                            <a:pt x="489" y="20"/>
                          </a:lnTo>
                          <a:lnTo>
                            <a:pt x="574" y="15"/>
                          </a:lnTo>
                          <a:lnTo>
                            <a:pt x="660" y="9"/>
                          </a:lnTo>
                          <a:lnTo>
                            <a:pt x="746" y="0"/>
                          </a:lnTo>
                          <a:lnTo>
                            <a:pt x="746" y="0"/>
                          </a:lnTo>
                          <a:lnTo>
                            <a:pt x="757" y="0"/>
                          </a:lnTo>
                          <a:lnTo>
                            <a:pt x="769" y="2"/>
                          </a:lnTo>
                          <a:lnTo>
                            <a:pt x="780" y="6"/>
                          </a:lnTo>
                          <a:lnTo>
                            <a:pt x="790" y="12"/>
                          </a:lnTo>
                          <a:lnTo>
                            <a:pt x="797" y="20"/>
                          </a:lnTo>
                          <a:lnTo>
                            <a:pt x="803" y="31"/>
                          </a:lnTo>
                          <a:lnTo>
                            <a:pt x="807" y="41"/>
                          </a:lnTo>
                          <a:lnTo>
                            <a:pt x="808" y="54"/>
                          </a:lnTo>
                          <a:lnTo>
                            <a:pt x="808" y="54"/>
                          </a:lnTo>
                          <a:close/>
                        </a:path>
                      </a:pathLst>
                    </a:custGeom>
                    <a:gradFill flip="none" rotWithShape="1">
                      <a:gsLst>
                        <a:gs pos="0">
                          <a:schemeClr val="tx2">
                            <a:lumMod val="50000"/>
                          </a:schemeClr>
                        </a:gs>
                        <a:gs pos="100000">
                          <a:schemeClr val="tx2">
                            <a:lumMod val="40000"/>
                            <a:lumOff val="60000"/>
                            <a:alpha val="50000"/>
                          </a:schemeClr>
                        </a:gs>
                      </a:gsLst>
                      <a:lin ang="498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grpSp>
          <p:sp>
            <p:nvSpPr>
              <p:cNvPr id="11" name="Forma libre 7">
                <a:extLst>
                  <a:ext uri="{FF2B5EF4-FFF2-40B4-BE49-F238E27FC236}">
                    <a16:creationId xmlns:a16="http://schemas.microsoft.com/office/drawing/2014/main" id="{E097554C-226A-604D-972E-6C3DDDE67D2E}"/>
                  </a:ext>
                </a:extLst>
              </p:cNvPr>
              <p:cNvSpPr>
                <a:spLocks/>
              </p:cNvSpPr>
              <p:nvPr/>
            </p:nvSpPr>
            <p:spPr bwMode="auto">
              <a:xfrm>
                <a:off x="2665412" y="2151380"/>
                <a:ext cx="250190" cy="1807210"/>
              </a:xfrm>
              <a:custGeom>
                <a:avLst/>
                <a:gdLst/>
                <a:ahLst/>
                <a:cxnLst>
                  <a:cxn ang="0">
                    <a:pos x="395" y="2847"/>
                  </a:cxn>
                  <a:cxn ang="0">
                    <a:pos x="383" y="2844"/>
                  </a:cxn>
                  <a:cxn ang="0">
                    <a:pos x="373" y="2839"/>
                  </a:cxn>
                  <a:cxn ang="0">
                    <a:pos x="361" y="2830"/>
                  </a:cxn>
                  <a:cxn ang="0">
                    <a:pos x="340" y="2801"/>
                  </a:cxn>
                  <a:cxn ang="0">
                    <a:pos x="319" y="2760"/>
                  </a:cxn>
                  <a:cxn ang="0">
                    <a:pos x="300" y="2706"/>
                  </a:cxn>
                  <a:cxn ang="0">
                    <a:pos x="281" y="2640"/>
                  </a:cxn>
                  <a:cxn ang="0">
                    <a:pos x="264" y="2563"/>
                  </a:cxn>
                  <a:cxn ang="0">
                    <a:pos x="247" y="2476"/>
                  </a:cxn>
                  <a:cxn ang="0">
                    <a:pos x="225" y="2329"/>
                  </a:cxn>
                  <a:cxn ang="0">
                    <a:pos x="201" y="2101"/>
                  </a:cxn>
                  <a:cxn ang="0">
                    <a:pos x="185" y="1846"/>
                  </a:cxn>
                  <a:cxn ang="0">
                    <a:pos x="175" y="1569"/>
                  </a:cxn>
                  <a:cxn ang="0">
                    <a:pos x="175" y="1423"/>
                  </a:cxn>
                  <a:cxn ang="0">
                    <a:pos x="179" y="1137"/>
                  </a:cxn>
                  <a:cxn ang="0">
                    <a:pos x="192" y="870"/>
                  </a:cxn>
                  <a:cxn ang="0">
                    <a:pos x="213" y="628"/>
                  </a:cxn>
                  <a:cxn ang="0">
                    <a:pos x="239" y="417"/>
                  </a:cxn>
                  <a:cxn ang="0">
                    <a:pos x="254" y="325"/>
                  </a:cxn>
                  <a:cxn ang="0">
                    <a:pos x="272" y="244"/>
                  </a:cxn>
                  <a:cxn ang="0">
                    <a:pos x="290" y="172"/>
                  </a:cxn>
                  <a:cxn ang="0">
                    <a:pos x="309" y="113"/>
                  </a:cxn>
                  <a:cxn ang="0">
                    <a:pos x="330" y="64"/>
                  </a:cxn>
                  <a:cxn ang="0">
                    <a:pos x="351" y="29"/>
                  </a:cxn>
                  <a:cxn ang="0">
                    <a:pos x="367" y="12"/>
                  </a:cxn>
                  <a:cxn ang="0">
                    <a:pos x="377" y="5"/>
                  </a:cxn>
                  <a:cxn ang="0">
                    <a:pos x="389" y="1"/>
                  </a:cxn>
                  <a:cxn ang="0">
                    <a:pos x="219" y="0"/>
                  </a:cxn>
                  <a:cxn ang="0">
                    <a:pos x="214" y="1"/>
                  </a:cxn>
                  <a:cxn ang="0">
                    <a:pos x="202" y="5"/>
                  </a:cxn>
                  <a:cxn ang="0">
                    <a:pos x="192" y="12"/>
                  </a:cxn>
                  <a:cxn ang="0">
                    <a:pos x="175" y="29"/>
                  </a:cxn>
                  <a:cxn ang="0">
                    <a:pos x="154" y="64"/>
                  </a:cxn>
                  <a:cxn ang="0">
                    <a:pos x="134" y="113"/>
                  </a:cxn>
                  <a:cxn ang="0">
                    <a:pos x="115" y="172"/>
                  </a:cxn>
                  <a:cxn ang="0">
                    <a:pos x="96" y="244"/>
                  </a:cxn>
                  <a:cxn ang="0">
                    <a:pos x="79" y="325"/>
                  </a:cxn>
                  <a:cxn ang="0">
                    <a:pos x="64" y="417"/>
                  </a:cxn>
                  <a:cxn ang="0">
                    <a:pos x="37" y="628"/>
                  </a:cxn>
                  <a:cxn ang="0">
                    <a:pos x="16" y="870"/>
                  </a:cxn>
                  <a:cxn ang="0">
                    <a:pos x="3" y="1137"/>
                  </a:cxn>
                  <a:cxn ang="0">
                    <a:pos x="0" y="1423"/>
                  </a:cxn>
                  <a:cxn ang="0">
                    <a:pos x="0" y="1569"/>
                  </a:cxn>
                  <a:cxn ang="0">
                    <a:pos x="9" y="1846"/>
                  </a:cxn>
                  <a:cxn ang="0">
                    <a:pos x="26" y="2101"/>
                  </a:cxn>
                  <a:cxn ang="0">
                    <a:pos x="50" y="2329"/>
                  </a:cxn>
                  <a:cxn ang="0">
                    <a:pos x="72" y="2476"/>
                  </a:cxn>
                  <a:cxn ang="0">
                    <a:pos x="88" y="2563"/>
                  </a:cxn>
                  <a:cxn ang="0">
                    <a:pos x="106" y="2640"/>
                  </a:cxn>
                  <a:cxn ang="0">
                    <a:pos x="124" y="2706"/>
                  </a:cxn>
                  <a:cxn ang="0">
                    <a:pos x="144" y="2760"/>
                  </a:cxn>
                  <a:cxn ang="0">
                    <a:pos x="165" y="2801"/>
                  </a:cxn>
                  <a:cxn ang="0">
                    <a:pos x="186" y="2830"/>
                  </a:cxn>
                  <a:cxn ang="0">
                    <a:pos x="197" y="2839"/>
                  </a:cxn>
                  <a:cxn ang="0">
                    <a:pos x="208" y="2844"/>
                  </a:cxn>
                  <a:cxn ang="0">
                    <a:pos x="219" y="2847"/>
                  </a:cxn>
                </a:cxnLst>
                <a:rect l="0" t="0" r="r" b="b"/>
                <a:pathLst>
                  <a:path w="395" h="2847">
                    <a:moveTo>
                      <a:pt x="395" y="2847"/>
                    </a:moveTo>
                    <a:lnTo>
                      <a:pt x="395" y="2847"/>
                    </a:lnTo>
                    <a:lnTo>
                      <a:pt x="389" y="2846"/>
                    </a:lnTo>
                    <a:lnTo>
                      <a:pt x="383" y="2844"/>
                    </a:lnTo>
                    <a:lnTo>
                      <a:pt x="377" y="2842"/>
                    </a:lnTo>
                    <a:lnTo>
                      <a:pt x="373" y="2839"/>
                    </a:lnTo>
                    <a:lnTo>
                      <a:pt x="367" y="2835"/>
                    </a:lnTo>
                    <a:lnTo>
                      <a:pt x="361" y="2830"/>
                    </a:lnTo>
                    <a:lnTo>
                      <a:pt x="351" y="2818"/>
                    </a:lnTo>
                    <a:lnTo>
                      <a:pt x="340" y="2801"/>
                    </a:lnTo>
                    <a:lnTo>
                      <a:pt x="330" y="2783"/>
                    </a:lnTo>
                    <a:lnTo>
                      <a:pt x="319" y="2760"/>
                    </a:lnTo>
                    <a:lnTo>
                      <a:pt x="309" y="2734"/>
                    </a:lnTo>
                    <a:lnTo>
                      <a:pt x="300" y="2706"/>
                    </a:lnTo>
                    <a:lnTo>
                      <a:pt x="290" y="2675"/>
                    </a:lnTo>
                    <a:lnTo>
                      <a:pt x="281" y="2640"/>
                    </a:lnTo>
                    <a:lnTo>
                      <a:pt x="272" y="2603"/>
                    </a:lnTo>
                    <a:lnTo>
                      <a:pt x="264" y="2563"/>
                    </a:lnTo>
                    <a:lnTo>
                      <a:pt x="254" y="2522"/>
                    </a:lnTo>
                    <a:lnTo>
                      <a:pt x="247" y="2476"/>
                    </a:lnTo>
                    <a:lnTo>
                      <a:pt x="239" y="2430"/>
                    </a:lnTo>
                    <a:lnTo>
                      <a:pt x="225" y="2329"/>
                    </a:lnTo>
                    <a:lnTo>
                      <a:pt x="213" y="2219"/>
                    </a:lnTo>
                    <a:lnTo>
                      <a:pt x="201" y="2101"/>
                    </a:lnTo>
                    <a:lnTo>
                      <a:pt x="192" y="1977"/>
                    </a:lnTo>
                    <a:lnTo>
                      <a:pt x="185" y="1846"/>
                    </a:lnTo>
                    <a:lnTo>
                      <a:pt x="179" y="1710"/>
                    </a:lnTo>
                    <a:lnTo>
                      <a:pt x="175" y="1569"/>
                    </a:lnTo>
                    <a:lnTo>
                      <a:pt x="175" y="1423"/>
                    </a:lnTo>
                    <a:lnTo>
                      <a:pt x="175" y="1423"/>
                    </a:lnTo>
                    <a:lnTo>
                      <a:pt x="175" y="1278"/>
                    </a:lnTo>
                    <a:lnTo>
                      <a:pt x="179" y="1137"/>
                    </a:lnTo>
                    <a:lnTo>
                      <a:pt x="185" y="1001"/>
                    </a:lnTo>
                    <a:lnTo>
                      <a:pt x="192" y="870"/>
                    </a:lnTo>
                    <a:lnTo>
                      <a:pt x="201" y="745"/>
                    </a:lnTo>
                    <a:lnTo>
                      <a:pt x="213" y="628"/>
                    </a:lnTo>
                    <a:lnTo>
                      <a:pt x="225" y="518"/>
                    </a:lnTo>
                    <a:lnTo>
                      <a:pt x="239" y="417"/>
                    </a:lnTo>
                    <a:lnTo>
                      <a:pt x="247" y="370"/>
                    </a:lnTo>
                    <a:lnTo>
                      <a:pt x="254" y="325"/>
                    </a:lnTo>
                    <a:lnTo>
                      <a:pt x="264" y="283"/>
                    </a:lnTo>
                    <a:lnTo>
                      <a:pt x="272" y="244"/>
                    </a:lnTo>
                    <a:lnTo>
                      <a:pt x="281" y="207"/>
                    </a:lnTo>
                    <a:lnTo>
                      <a:pt x="290" y="172"/>
                    </a:lnTo>
                    <a:lnTo>
                      <a:pt x="300" y="141"/>
                    </a:lnTo>
                    <a:lnTo>
                      <a:pt x="309" y="113"/>
                    </a:lnTo>
                    <a:lnTo>
                      <a:pt x="319" y="87"/>
                    </a:lnTo>
                    <a:lnTo>
                      <a:pt x="330" y="64"/>
                    </a:lnTo>
                    <a:lnTo>
                      <a:pt x="340" y="45"/>
                    </a:lnTo>
                    <a:lnTo>
                      <a:pt x="351" y="29"/>
                    </a:lnTo>
                    <a:lnTo>
                      <a:pt x="361" y="16"/>
                    </a:lnTo>
                    <a:lnTo>
                      <a:pt x="367" y="12"/>
                    </a:lnTo>
                    <a:lnTo>
                      <a:pt x="373" y="8"/>
                    </a:lnTo>
                    <a:lnTo>
                      <a:pt x="377" y="5"/>
                    </a:lnTo>
                    <a:lnTo>
                      <a:pt x="383" y="2"/>
                    </a:lnTo>
                    <a:lnTo>
                      <a:pt x="389" y="1"/>
                    </a:lnTo>
                    <a:lnTo>
                      <a:pt x="395" y="0"/>
                    </a:lnTo>
                    <a:lnTo>
                      <a:pt x="219" y="0"/>
                    </a:lnTo>
                    <a:lnTo>
                      <a:pt x="219" y="0"/>
                    </a:lnTo>
                    <a:lnTo>
                      <a:pt x="214" y="1"/>
                    </a:lnTo>
                    <a:lnTo>
                      <a:pt x="208" y="2"/>
                    </a:lnTo>
                    <a:lnTo>
                      <a:pt x="202" y="5"/>
                    </a:lnTo>
                    <a:lnTo>
                      <a:pt x="197" y="8"/>
                    </a:lnTo>
                    <a:lnTo>
                      <a:pt x="192" y="12"/>
                    </a:lnTo>
                    <a:lnTo>
                      <a:pt x="186" y="16"/>
                    </a:lnTo>
                    <a:lnTo>
                      <a:pt x="175" y="29"/>
                    </a:lnTo>
                    <a:lnTo>
                      <a:pt x="165" y="45"/>
                    </a:lnTo>
                    <a:lnTo>
                      <a:pt x="154" y="64"/>
                    </a:lnTo>
                    <a:lnTo>
                      <a:pt x="144" y="87"/>
                    </a:lnTo>
                    <a:lnTo>
                      <a:pt x="134" y="113"/>
                    </a:lnTo>
                    <a:lnTo>
                      <a:pt x="124" y="141"/>
                    </a:lnTo>
                    <a:lnTo>
                      <a:pt x="115" y="172"/>
                    </a:lnTo>
                    <a:lnTo>
                      <a:pt x="106" y="207"/>
                    </a:lnTo>
                    <a:lnTo>
                      <a:pt x="96" y="244"/>
                    </a:lnTo>
                    <a:lnTo>
                      <a:pt x="88" y="283"/>
                    </a:lnTo>
                    <a:lnTo>
                      <a:pt x="79" y="325"/>
                    </a:lnTo>
                    <a:lnTo>
                      <a:pt x="72" y="370"/>
                    </a:lnTo>
                    <a:lnTo>
                      <a:pt x="64" y="417"/>
                    </a:lnTo>
                    <a:lnTo>
                      <a:pt x="50" y="518"/>
                    </a:lnTo>
                    <a:lnTo>
                      <a:pt x="37" y="628"/>
                    </a:lnTo>
                    <a:lnTo>
                      <a:pt x="26" y="745"/>
                    </a:lnTo>
                    <a:lnTo>
                      <a:pt x="16" y="870"/>
                    </a:lnTo>
                    <a:lnTo>
                      <a:pt x="9" y="1001"/>
                    </a:lnTo>
                    <a:lnTo>
                      <a:pt x="3" y="1137"/>
                    </a:lnTo>
                    <a:lnTo>
                      <a:pt x="0" y="1278"/>
                    </a:lnTo>
                    <a:lnTo>
                      <a:pt x="0" y="1423"/>
                    </a:lnTo>
                    <a:lnTo>
                      <a:pt x="0" y="1423"/>
                    </a:lnTo>
                    <a:lnTo>
                      <a:pt x="0" y="1569"/>
                    </a:lnTo>
                    <a:lnTo>
                      <a:pt x="3" y="1710"/>
                    </a:lnTo>
                    <a:lnTo>
                      <a:pt x="9" y="1846"/>
                    </a:lnTo>
                    <a:lnTo>
                      <a:pt x="16" y="1977"/>
                    </a:lnTo>
                    <a:lnTo>
                      <a:pt x="26" y="2101"/>
                    </a:lnTo>
                    <a:lnTo>
                      <a:pt x="37" y="2219"/>
                    </a:lnTo>
                    <a:lnTo>
                      <a:pt x="50" y="2329"/>
                    </a:lnTo>
                    <a:lnTo>
                      <a:pt x="64" y="2430"/>
                    </a:lnTo>
                    <a:lnTo>
                      <a:pt x="72" y="2476"/>
                    </a:lnTo>
                    <a:lnTo>
                      <a:pt x="79" y="2522"/>
                    </a:lnTo>
                    <a:lnTo>
                      <a:pt x="88" y="2563"/>
                    </a:lnTo>
                    <a:lnTo>
                      <a:pt x="96" y="2603"/>
                    </a:lnTo>
                    <a:lnTo>
                      <a:pt x="106" y="2640"/>
                    </a:lnTo>
                    <a:lnTo>
                      <a:pt x="115" y="2675"/>
                    </a:lnTo>
                    <a:lnTo>
                      <a:pt x="124" y="2706"/>
                    </a:lnTo>
                    <a:lnTo>
                      <a:pt x="134" y="2734"/>
                    </a:lnTo>
                    <a:lnTo>
                      <a:pt x="144" y="2760"/>
                    </a:lnTo>
                    <a:lnTo>
                      <a:pt x="154" y="2783"/>
                    </a:lnTo>
                    <a:lnTo>
                      <a:pt x="165" y="2801"/>
                    </a:lnTo>
                    <a:lnTo>
                      <a:pt x="175" y="2818"/>
                    </a:lnTo>
                    <a:lnTo>
                      <a:pt x="186" y="2830"/>
                    </a:lnTo>
                    <a:lnTo>
                      <a:pt x="192" y="2835"/>
                    </a:lnTo>
                    <a:lnTo>
                      <a:pt x="197" y="2839"/>
                    </a:lnTo>
                    <a:lnTo>
                      <a:pt x="202" y="2842"/>
                    </a:lnTo>
                    <a:lnTo>
                      <a:pt x="208" y="2844"/>
                    </a:lnTo>
                    <a:lnTo>
                      <a:pt x="214" y="2846"/>
                    </a:lnTo>
                    <a:lnTo>
                      <a:pt x="219" y="2847"/>
                    </a:lnTo>
                    <a:lnTo>
                      <a:pt x="395" y="2847"/>
                    </a:lnTo>
                    <a:close/>
                  </a:path>
                </a:pathLst>
              </a:custGeom>
              <a:gradFill flip="none" rotWithShape="1">
                <a:gsLst>
                  <a:gs pos="41000">
                    <a:schemeClr val="tx2">
                      <a:lumMod val="60000"/>
                      <a:lumOff val="40000"/>
                    </a:schemeClr>
                  </a:gs>
                  <a:gs pos="100000">
                    <a:schemeClr val="tx2">
                      <a:lumMod val="50000"/>
                    </a:schemeClr>
                  </a:gs>
                  <a:gs pos="0">
                    <a:schemeClr val="tx2">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solidFill>
                    <a:schemeClr val="bg1"/>
                  </a:solidFill>
                </a:endParaRPr>
              </a:p>
            </p:txBody>
          </p:sp>
          <p:sp>
            <p:nvSpPr>
              <p:cNvPr id="12" name="Forma libre 10">
                <a:extLst>
                  <a:ext uri="{FF2B5EF4-FFF2-40B4-BE49-F238E27FC236}">
                    <a16:creationId xmlns:a16="http://schemas.microsoft.com/office/drawing/2014/main" id="{2F2AE1D3-04EF-4249-B1B1-C73E3F345715}"/>
                  </a:ext>
                </a:extLst>
              </p:cNvPr>
              <p:cNvSpPr>
                <a:spLocks/>
              </p:cNvSpPr>
              <p:nvPr/>
            </p:nvSpPr>
            <p:spPr bwMode="auto">
              <a:xfrm>
                <a:off x="2765743" y="815701"/>
                <a:ext cx="5331463" cy="4491991"/>
              </a:xfrm>
              <a:custGeom>
                <a:avLst/>
                <a:gdLst/>
                <a:ahLst/>
                <a:cxnLst>
                  <a:cxn ang="0">
                    <a:pos x="8270" y="93"/>
                  </a:cxn>
                  <a:cxn ang="0">
                    <a:pos x="7907" y="347"/>
                  </a:cxn>
                  <a:cxn ang="0">
                    <a:pos x="7414" y="662"/>
                  </a:cxn>
                  <a:cxn ang="0">
                    <a:pos x="6814" y="1007"/>
                  </a:cxn>
                  <a:cxn ang="0">
                    <a:pos x="6478" y="1180"/>
                  </a:cxn>
                  <a:cxn ang="0">
                    <a:pos x="6124" y="1348"/>
                  </a:cxn>
                  <a:cxn ang="0">
                    <a:pos x="5753" y="1506"/>
                  </a:cxn>
                  <a:cxn ang="0">
                    <a:pos x="5367" y="1652"/>
                  </a:cxn>
                  <a:cxn ang="0">
                    <a:pos x="4971" y="1780"/>
                  </a:cxn>
                  <a:cxn ang="0">
                    <a:pos x="4565" y="1887"/>
                  </a:cxn>
                  <a:cxn ang="0">
                    <a:pos x="4152" y="1968"/>
                  </a:cxn>
                  <a:cxn ang="0">
                    <a:pos x="3736" y="2020"/>
                  </a:cxn>
                  <a:cxn ang="0">
                    <a:pos x="3319" y="2039"/>
                  </a:cxn>
                  <a:cxn ang="0">
                    <a:pos x="219" y="2040"/>
                  </a:cxn>
                  <a:cxn ang="0">
                    <a:pos x="196" y="2056"/>
                  </a:cxn>
                  <a:cxn ang="0">
                    <a:pos x="152" y="2129"/>
                  </a:cxn>
                  <a:cxn ang="0">
                    <a:pos x="111" y="2256"/>
                  </a:cxn>
                  <a:cxn ang="0">
                    <a:pos x="75" y="2428"/>
                  </a:cxn>
                  <a:cxn ang="0">
                    <a:pos x="39" y="2699"/>
                  </a:cxn>
                  <a:cxn ang="0">
                    <a:pos x="5" y="3235"/>
                  </a:cxn>
                  <a:cxn ang="0">
                    <a:pos x="1" y="3690"/>
                  </a:cxn>
                  <a:cxn ang="0">
                    <a:pos x="28" y="4250"/>
                  </a:cxn>
                  <a:cxn ang="0">
                    <a:pos x="67" y="4595"/>
                  </a:cxn>
                  <a:cxn ang="0">
                    <a:pos x="102" y="4779"/>
                  </a:cxn>
                  <a:cxn ang="0">
                    <a:pos x="142" y="4917"/>
                  </a:cxn>
                  <a:cxn ang="0">
                    <a:pos x="185" y="5004"/>
                  </a:cxn>
                  <a:cxn ang="0">
                    <a:pos x="214" y="5029"/>
                  </a:cxn>
                  <a:cxn ang="0">
                    <a:pos x="3319" y="5034"/>
                  </a:cxn>
                  <a:cxn ang="0">
                    <a:pos x="3631" y="5044"/>
                  </a:cxn>
                  <a:cxn ang="0">
                    <a:pos x="4047" y="5089"/>
                  </a:cxn>
                  <a:cxn ang="0">
                    <a:pos x="4459" y="5163"/>
                  </a:cxn>
                  <a:cxn ang="0">
                    <a:pos x="4867" y="5264"/>
                  </a:cxn>
                  <a:cxn ang="0">
                    <a:pos x="5266" y="5388"/>
                  </a:cxn>
                  <a:cxn ang="0">
                    <a:pos x="5655" y="5530"/>
                  </a:cxn>
                  <a:cxn ang="0">
                    <a:pos x="6030" y="5685"/>
                  </a:cxn>
                  <a:cxn ang="0">
                    <a:pos x="6389" y="5851"/>
                  </a:cxn>
                  <a:cxn ang="0">
                    <a:pos x="6729" y="6024"/>
                  </a:cxn>
                  <a:cxn ang="0">
                    <a:pos x="7273" y="6327"/>
                  </a:cxn>
                  <a:cxn ang="0">
                    <a:pos x="7795" y="6654"/>
                  </a:cxn>
                  <a:cxn ang="0">
                    <a:pos x="8192" y="6925"/>
                  </a:cxn>
                  <a:cxn ang="0">
                    <a:pos x="8397" y="7075"/>
                  </a:cxn>
                  <a:cxn ang="0">
                    <a:pos x="8350" y="6990"/>
                  </a:cxn>
                  <a:cxn ang="0">
                    <a:pos x="8264" y="6751"/>
                  </a:cxn>
                  <a:cxn ang="0">
                    <a:pos x="8188" y="6428"/>
                  </a:cxn>
                  <a:cxn ang="0">
                    <a:pos x="8119" y="6029"/>
                  </a:cxn>
                  <a:cxn ang="0">
                    <a:pos x="8061" y="5562"/>
                  </a:cxn>
                  <a:cxn ang="0">
                    <a:pos x="8016" y="5039"/>
                  </a:cxn>
                  <a:cxn ang="0">
                    <a:pos x="7984" y="4466"/>
                  </a:cxn>
                  <a:cxn ang="0">
                    <a:pos x="7968" y="3854"/>
                  </a:cxn>
                  <a:cxn ang="0">
                    <a:pos x="7967" y="3377"/>
                  </a:cxn>
                  <a:cxn ang="0">
                    <a:pos x="7979" y="2757"/>
                  </a:cxn>
                  <a:cxn ang="0">
                    <a:pos x="8006" y="2175"/>
                  </a:cxn>
                  <a:cxn ang="0">
                    <a:pos x="8048" y="1638"/>
                  </a:cxn>
                  <a:cxn ang="0">
                    <a:pos x="8103" y="1156"/>
                  </a:cxn>
                  <a:cxn ang="0">
                    <a:pos x="8169" y="740"/>
                  </a:cxn>
                  <a:cxn ang="0">
                    <a:pos x="8245" y="396"/>
                  </a:cxn>
                  <a:cxn ang="0">
                    <a:pos x="8328" y="136"/>
                  </a:cxn>
                  <a:cxn ang="0">
                    <a:pos x="8384" y="19"/>
                  </a:cxn>
                </a:cxnLst>
                <a:rect l="0" t="0" r="r" b="b"/>
                <a:pathLst>
                  <a:path w="8397" h="7075">
                    <a:moveTo>
                      <a:pt x="8395" y="0"/>
                    </a:moveTo>
                    <a:lnTo>
                      <a:pt x="8395" y="0"/>
                    </a:lnTo>
                    <a:lnTo>
                      <a:pt x="8337" y="43"/>
                    </a:lnTo>
                    <a:lnTo>
                      <a:pt x="8270" y="93"/>
                    </a:lnTo>
                    <a:lnTo>
                      <a:pt x="8192" y="149"/>
                    </a:lnTo>
                    <a:lnTo>
                      <a:pt x="8106" y="210"/>
                    </a:lnTo>
                    <a:lnTo>
                      <a:pt x="8011" y="276"/>
                    </a:lnTo>
                    <a:lnTo>
                      <a:pt x="7907" y="347"/>
                    </a:lnTo>
                    <a:lnTo>
                      <a:pt x="7795" y="421"/>
                    </a:lnTo>
                    <a:lnTo>
                      <a:pt x="7676" y="498"/>
                    </a:lnTo>
                    <a:lnTo>
                      <a:pt x="7549" y="579"/>
                    </a:lnTo>
                    <a:lnTo>
                      <a:pt x="7414" y="662"/>
                    </a:lnTo>
                    <a:lnTo>
                      <a:pt x="7274" y="747"/>
                    </a:lnTo>
                    <a:lnTo>
                      <a:pt x="7126" y="832"/>
                    </a:lnTo>
                    <a:lnTo>
                      <a:pt x="6973" y="920"/>
                    </a:lnTo>
                    <a:lnTo>
                      <a:pt x="6814" y="1007"/>
                    </a:lnTo>
                    <a:lnTo>
                      <a:pt x="6731" y="1050"/>
                    </a:lnTo>
                    <a:lnTo>
                      <a:pt x="6649" y="1094"/>
                    </a:lnTo>
                    <a:lnTo>
                      <a:pt x="6564" y="1137"/>
                    </a:lnTo>
                    <a:lnTo>
                      <a:pt x="6478" y="1180"/>
                    </a:lnTo>
                    <a:lnTo>
                      <a:pt x="6391" y="1223"/>
                    </a:lnTo>
                    <a:lnTo>
                      <a:pt x="6304" y="1264"/>
                    </a:lnTo>
                    <a:lnTo>
                      <a:pt x="6215" y="1306"/>
                    </a:lnTo>
                    <a:lnTo>
                      <a:pt x="6124" y="1348"/>
                    </a:lnTo>
                    <a:lnTo>
                      <a:pt x="6032" y="1389"/>
                    </a:lnTo>
                    <a:lnTo>
                      <a:pt x="5941" y="1428"/>
                    </a:lnTo>
                    <a:lnTo>
                      <a:pt x="5848" y="1468"/>
                    </a:lnTo>
                    <a:lnTo>
                      <a:pt x="5753" y="1506"/>
                    </a:lnTo>
                    <a:lnTo>
                      <a:pt x="5657" y="1544"/>
                    </a:lnTo>
                    <a:lnTo>
                      <a:pt x="5562" y="1581"/>
                    </a:lnTo>
                    <a:lnTo>
                      <a:pt x="5465" y="1617"/>
                    </a:lnTo>
                    <a:lnTo>
                      <a:pt x="5367" y="1652"/>
                    </a:lnTo>
                    <a:lnTo>
                      <a:pt x="5269" y="1686"/>
                    </a:lnTo>
                    <a:lnTo>
                      <a:pt x="5171" y="1718"/>
                    </a:lnTo>
                    <a:lnTo>
                      <a:pt x="5071" y="1750"/>
                    </a:lnTo>
                    <a:lnTo>
                      <a:pt x="4971" y="1780"/>
                    </a:lnTo>
                    <a:lnTo>
                      <a:pt x="4870" y="1809"/>
                    </a:lnTo>
                    <a:lnTo>
                      <a:pt x="4769" y="1837"/>
                    </a:lnTo>
                    <a:lnTo>
                      <a:pt x="4667" y="1862"/>
                    </a:lnTo>
                    <a:lnTo>
                      <a:pt x="4565" y="1887"/>
                    </a:lnTo>
                    <a:lnTo>
                      <a:pt x="4462" y="1910"/>
                    </a:lnTo>
                    <a:lnTo>
                      <a:pt x="4359" y="1931"/>
                    </a:lnTo>
                    <a:lnTo>
                      <a:pt x="4256" y="1950"/>
                    </a:lnTo>
                    <a:lnTo>
                      <a:pt x="4152" y="1968"/>
                    </a:lnTo>
                    <a:lnTo>
                      <a:pt x="4048" y="1984"/>
                    </a:lnTo>
                    <a:lnTo>
                      <a:pt x="3945" y="1998"/>
                    </a:lnTo>
                    <a:lnTo>
                      <a:pt x="3840" y="2011"/>
                    </a:lnTo>
                    <a:lnTo>
                      <a:pt x="3736" y="2020"/>
                    </a:lnTo>
                    <a:lnTo>
                      <a:pt x="3631" y="2028"/>
                    </a:lnTo>
                    <a:lnTo>
                      <a:pt x="3528" y="2034"/>
                    </a:lnTo>
                    <a:lnTo>
                      <a:pt x="3423" y="2038"/>
                    </a:lnTo>
                    <a:lnTo>
                      <a:pt x="3319" y="2039"/>
                    </a:lnTo>
                    <a:lnTo>
                      <a:pt x="232" y="2039"/>
                    </a:lnTo>
                    <a:lnTo>
                      <a:pt x="232" y="2039"/>
                    </a:lnTo>
                    <a:lnTo>
                      <a:pt x="225" y="2039"/>
                    </a:lnTo>
                    <a:lnTo>
                      <a:pt x="219" y="2040"/>
                    </a:lnTo>
                    <a:lnTo>
                      <a:pt x="214" y="2043"/>
                    </a:lnTo>
                    <a:lnTo>
                      <a:pt x="208" y="2046"/>
                    </a:lnTo>
                    <a:lnTo>
                      <a:pt x="202" y="2050"/>
                    </a:lnTo>
                    <a:lnTo>
                      <a:pt x="196" y="2056"/>
                    </a:lnTo>
                    <a:lnTo>
                      <a:pt x="185" y="2069"/>
                    </a:lnTo>
                    <a:lnTo>
                      <a:pt x="174" y="2085"/>
                    </a:lnTo>
                    <a:lnTo>
                      <a:pt x="162" y="2106"/>
                    </a:lnTo>
                    <a:lnTo>
                      <a:pt x="152" y="2129"/>
                    </a:lnTo>
                    <a:lnTo>
                      <a:pt x="142" y="2156"/>
                    </a:lnTo>
                    <a:lnTo>
                      <a:pt x="131" y="2186"/>
                    </a:lnTo>
                    <a:lnTo>
                      <a:pt x="121" y="2219"/>
                    </a:lnTo>
                    <a:lnTo>
                      <a:pt x="111" y="2256"/>
                    </a:lnTo>
                    <a:lnTo>
                      <a:pt x="102" y="2294"/>
                    </a:lnTo>
                    <a:lnTo>
                      <a:pt x="93" y="2336"/>
                    </a:lnTo>
                    <a:lnTo>
                      <a:pt x="85" y="2380"/>
                    </a:lnTo>
                    <a:lnTo>
                      <a:pt x="75" y="2428"/>
                    </a:lnTo>
                    <a:lnTo>
                      <a:pt x="67" y="2478"/>
                    </a:lnTo>
                    <a:lnTo>
                      <a:pt x="60" y="2529"/>
                    </a:lnTo>
                    <a:lnTo>
                      <a:pt x="53" y="2583"/>
                    </a:lnTo>
                    <a:lnTo>
                      <a:pt x="39" y="2699"/>
                    </a:lnTo>
                    <a:lnTo>
                      <a:pt x="28" y="2822"/>
                    </a:lnTo>
                    <a:lnTo>
                      <a:pt x="19" y="2954"/>
                    </a:lnTo>
                    <a:lnTo>
                      <a:pt x="10" y="3091"/>
                    </a:lnTo>
                    <a:lnTo>
                      <a:pt x="5" y="3235"/>
                    </a:lnTo>
                    <a:lnTo>
                      <a:pt x="1" y="3383"/>
                    </a:lnTo>
                    <a:lnTo>
                      <a:pt x="0" y="3536"/>
                    </a:lnTo>
                    <a:lnTo>
                      <a:pt x="0" y="3536"/>
                    </a:lnTo>
                    <a:lnTo>
                      <a:pt x="1" y="3690"/>
                    </a:lnTo>
                    <a:lnTo>
                      <a:pt x="5" y="3838"/>
                    </a:lnTo>
                    <a:lnTo>
                      <a:pt x="10" y="3982"/>
                    </a:lnTo>
                    <a:lnTo>
                      <a:pt x="19" y="4119"/>
                    </a:lnTo>
                    <a:lnTo>
                      <a:pt x="28" y="4250"/>
                    </a:lnTo>
                    <a:lnTo>
                      <a:pt x="39" y="4373"/>
                    </a:lnTo>
                    <a:lnTo>
                      <a:pt x="53" y="4490"/>
                    </a:lnTo>
                    <a:lnTo>
                      <a:pt x="60" y="4543"/>
                    </a:lnTo>
                    <a:lnTo>
                      <a:pt x="67" y="4595"/>
                    </a:lnTo>
                    <a:lnTo>
                      <a:pt x="75" y="4645"/>
                    </a:lnTo>
                    <a:lnTo>
                      <a:pt x="85" y="4693"/>
                    </a:lnTo>
                    <a:lnTo>
                      <a:pt x="93" y="4737"/>
                    </a:lnTo>
                    <a:lnTo>
                      <a:pt x="102" y="4779"/>
                    </a:lnTo>
                    <a:lnTo>
                      <a:pt x="111" y="4817"/>
                    </a:lnTo>
                    <a:lnTo>
                      <a:pt x="121" y="4853"/>
                    </a:lnTo>
                    <a:lnTo>
                      <a:pt x="131" y="4887"/>
                    </a:lnTo>
                    <a:lnTo>
                      <a:pt x="142" y="4917"/>
                    </a:lnTo>
                    <a:lnTo>
                      <a:pt x="152" y="4943"/>
                    </a:lnTo>
                    <a:lnTo>
                      <a:pt x="162" y="4967"/>
                    </a:lnTo>
                    <a:lnTo>
                      <a:pt x="174" y="4988"/>
                    </a:lnTo>
                    <a:lnTo>
                      <a:pt x="185" y="5004"/>
                    </a:lnTo>
                    <a:lnTo>
                      <a:pt x="196" y="5017"/>
                    </a:lnTo>
                    <a:lnTo>
                      <a:pt x="202" y="5022"/>
                    </a:lnTo>
                    <a:lnTo>
                      <a:pt x="208" y="5027"/>
                    </a:lnTo>
                    <a:lnTo>
                      <a:pt x="214" y="5029"/>
                    </a:lnTo>
                    <a:lnTo>
                      <a:pt x="219" y="5033"/>
                    </a:lnTo>
                    <a:lnTo>
                      <a:pt x="225" y="5034"/>
                    </a:lnTo>
                    <a:lnTo>
                      <a:pt x="232" y="5034"/>
                    </a:lnTo>
                    <a:lnTo>
                      <a:pt x="3319" y="5034"/>
                    </a:lnTo>
                    <a:lnTo>
                      <a:pt x="3319" y="5034"/>
                    </a:lnTo>
                    <a:lnTo>
                      <a:pt x="3422" y="5035"/>
                    </a:lnTo>
                    <a:lnTo>
                      <a:pt x="3527" y="5039"/>
                    </a:lnTo>
                    <a:lnTo>
                      <a:pt x="3631" y="5044"/>
                    </a:lnTo>
                    <a:lnTo>
                      <a:pt x="3734" y="5053"/>
                    </a:lnTo>
                    <a:lnTo>
                      <a:pt x="3839" y="5062"/>
                    </a:lnTo>
                    <a:lnTo>
                      <a:pt x="3942" y="5075"/>
                    </a:lnTo>
                    <a:lnTo>
                      <a:pt x="4047" y="5089"/>
                    </a:lnTo>
                    <a:lnTo>
                      <a:pt x="4150" y="5105"/>
                    </a:lnTo>
                    <a:lnTo>
                      <a:pt x="4253" y="5122"/>
                    </a:lnTo>
                    <a:lnTo>
                      <a:pt x="4357" y="5142"/>
                    </a:lnTo>
                    <a:lnTo>
                      <a:pt x="4459" y="5163"/>
                    </a:lnTo>
                    <a:lnTo>
                      <a:pt x="4561" y="5186"/>
                    </a:lnTo>
                    <a:lnTo>
                      <a:pt x="4663" y="5211"/>
                    </a:lnTo>
                    <a:lnTo>
                      <a:pt x="4766" y="5236"/>
                    </a:lnTo>
                    <a:lnTo>
                      <a:pt x="4867" y="5264"/>
                    </a:lnTo>
                    <a:lnTo>
                      <a:pt x="4968" y="5293"/>
                    </a:lnTo>
                    <a:lnTo>
                      <a:pt x="5067" y="5323"/>
                    </a:lnTo>
                    <a:lnTo>
                      <a:pt x="5167" y="5354"/>
                    </a:lnTo>
                    <a:lnTo>
                      <a:pt x="5266" y="5388"/>
                    </a:lnTo>
                    <a:lnTo>
                      <a:pt x="5365" y="5422"/>
                    </a:lnTo>
                    <a:lnTo>
                      <a:pt x="5461" y="5457"/>
                    </a:lnTo>
                    <a:lnTo>
                      <a:pt x="5559" y="5493"/>
                    </a:lnTo>
                    <a:lnTo>
                      <a:pt x="5655" y="5530"/>
                    </a:lnTo>
                    <a:lnTo>
                      <a:pt x="5749" y="5567"/>
                    </a:lnTo>
                    <a:lnTo>
                      <a:pt x="5844" y="5606"/>
                    </a:lnTo>
                    <a:lnTo>
                      <a:pt x="5937" y="5646"/>
                    </a:lnTo>
                    <a:lnTo>
                      <a:pt x="6030" y="5685"/>
                    </a:lnTo>
                    <a:lnTo>
                      <a:pt x="6121" y="5726"/>
                    </a:lnTo>
                    <a:lnTo>
                      <a:pt x="6211" y="5768"/>
                    </a:lnTo>
                    <a:lnTo>
                      <a:pt x="6301" y="5810"/>
                    </a:lnTo>
                    <a:lnTo>
                      <a:pt x="6389" y="5851"/>
                    </a:lnTo>
                    <a:lnTo>
                      <a:pt x="6476" y="5894"/>
                    </a:lnTo>
                    <a:lnTo>
                      <a:pt x="6562" y="5937"/>
                    </a:lnTo>
                    <a:lnTo>
                      <a:pt x="6646" y="5980"/>
                    </a:lnTo>
                    <a:lnTo>
                      <a:pt x="6729" y="6024"/>
                    </a:lnTo>
                    <a:lnTo>
                      <a:pt x="6812" y="6067"/>
                    </a:lnTo>
                    <a:lnTo>
                      <a:pt x="6971" y="6154"/>
                    </a:lnTo>
                    <a:lnTo>
                      <a:pt x="7124" y="6241"/>
                    </a:lnTo>
                    <a:lnTo>
                      <a:pt x="7273" y="6327"/>
                    </a:lnTo>
                    <a:lnTo>
                      <a:pt x="7413" y="6412"/>
                    </a:lnTo>
                    <a:lnTo>
                      <a:pt x="7548" y="6496"/>
                    </a:lnTo>
                    <a:lnTo>
                      <a:pt x="7674" y="6576"/>
                    </a:lnTo>
                    <a:lnTo>
                      <a:pt x="7795" y="6654"/>
                    </a:lnTo>
                    <a:lnTo>
                      <a:pt x="7907" y="6728"/>
                    </a:lnTo>
                    <a:lnTo>
                      <a:pt x="8010" y="6799"/>
                    </a:lnTo>
                    <a:lnTo>
                      <a:pt x="8106" y="6865"/>
                    </a:lnTo>
                    <a:lnTo>
                      <a:pt x="8192" y="6925"/>
                    </a:lnTo>
                    <a:lnTo>
                      <a:pt x="8270" y="6982"/>
                    </a:lnTo>
                    <a:lnTo>
                      <a:pt x="8337" y="7031"/>
                    </a:lnTo>
                    <a:lnTo>
                      <a:pt x="8397" y="7075"/>
                    </a:lnTo>
                    <a:lnTo>
                      <a:pt x="8397" y="7075"/>
                    </a:lnTo>
                    <a:lnTo>
                      <a:pt x="8385" y="7056"/>
                    </a:lnTo>
                    <a:lnTo>
                      <a:pt x="8373" y="7036"/>
                    </a:lnTo>
                    <a:lnTo>
                      <a:pt x="8362" y="7014"/>
                    </a:lnTo>
                    <a:lnTo>
                      <a:pt x="8350" y="6990"/>
                    </a:lnTo>
                    <a:lnTo>
                      <a:pt x="8328" y="6939"/>
                    </a:lnTo>
                    <a:lnTo>
                      <a:pt x="8307" y="6882"/>
                    </a:lnTo>
                    <a:lnTo>
                      <a:pt x="8285" y="6820"/>
                    </a:lnTo>
                    <a:lnTo>
                      <a:pt x="8264" y="6751"/>
                    </a:lnTo>
                    <a:lnTo>
                      <a:pt x="8245" y="6678"/>
                    </a:lnTo>
                    <a:lnTo>
                      <a:pt x="8225" y="6600"/>
                    </a:lnTo>
                    <a:lnTo>
                      <a:pt x="8206" y="6517"/>
                    </a:lnTo>
                    <a:lnTo>
                      <a:pt x="8188" y="6428"/>
                    </a:lnTo>
                    <a:lnTo>
                      <a:pt x="8169" y="6336"/>
                    </a:lnTo>
                    <a:lnTo>
                      <a:pt x="8152" y="6238"/>
                    </a:lnTo>
                    <a:lnTo>
                      <a:pt x="8135" y="6136"/>
                    </a:lnTo>
                    <a:lnTo>
                      <a:pt x="8119" y="6029"/>
                    </a:lnTo>
                    <a:lnTo>
                      <a:pt x="8103" y="5919"/>
                    </a:lnTo>
                    <a:lnTo>
                      <a:pt x="8089" y="5804"/>
                    </a:lnTo>
                    <a:lnTo>
                      <a:pt x="8075" y="5685"/>
                    </a:lnTo>
                    <a:lnTo>
                      <a:pt x="8061" y="5562"/>
                    </a:lnTo>
                    <a:lnTo>
                      <a:pt x="8049" y="5437"/>
                    </a:lnTo>
                    <a:lnTo>
                      <a:pt x="8037" y="5308"/>
                    </a:lnTo>
                    <a:lnTo>
                      <a:pt x="8026" y="5175"/>
                    </a:lnTo>
                    <a:lnTo>
                      <a:pt x="8016" y="5039"/>
                    </a:lnTo>
                    <a:lnTo>
                      <a:pt x="8006" y="4901"/>
                    </a:lnTo>
                    <a:lnTo>
                      <a:pt x="7998" y="4759"/>
                    </a:lnTo>
                    <a:lnTo>
                      <a:pt x="7991" y="4614"/>
                    </a:lnTo>
                    <a:lnTo>
                      <a:pt x="7984" y="4466"/>
                    </a:lnTo>
                    <a:lnTo>
                      <a:pt x="7979" y="4318"/>
                    </a:lnTo>
                    <a:lnTo>
                      <a:pt x="7974" y="4166"/>
                    </a:lnTo>
                    <a:lnTo>
                      <a:pt x="7970" y="4011"/>
                    </a:lnTo>
                    <a:lnTo>
                      <a:pt x="7968" y="3854"/>
                    </a:lnTo>
                    <a:lnTo>
                      <a:pt x="7967" y="3697"/>
                    </a:lnTo>
                    <a:lnTo>
                      <a:pt x="7966" y="3538"/>
                    </a:lnTo>
                    <a:lnTo>
                      <a:pt x="7966" y="3538"/>
                    </a:lnTo>
                    <a:lnTo>
                      <a:pt x="7967" y="3377"/>
                    </a:lnTo>
                    <a:lnTo>
                      <a:pt x="7968" y="3219"/>
                    </a:lnTo>
                    <a:lnTo>
                      <a:pt x="7970" y="3063"/>
                    </a:lnTo>
                    <a:lnTo>
                      <a:pt x="7974" y="2909"/>
                    </a:lnTo>
                    <a:lnTo>
                      <a:pt x="7979" y="2757"/>
                    </a:lnTo>
                    <a:lnTo>
                      <a:pt x="7984" y="2608"/>
                    </a:lnTo>
                    <a:lnTo>
                      <a:pt x="7991" y="2460"/>
                    </a:lnTo>
                    <a:lnTo>
                      <a:pt x="7998" y="2316"/>
                    </a:lnTo>
                    <a:lnTo>
                      <a:pt x="8006" y="2175"/>
                    </a:lnTo>
                    <a:lnTo>
                      <a:pt x="8016" y="2035"/>
                    </a:lnTo>
                    <a:lnTo>
                      <a:pt x="8026" y="1899"/>
                    </a:lnTo>
                    <a:lnTo>
                      <a:pt x="8037" y="1767"/>
                    </a:lnTo>
                    <a:lnTo>
                      <a:pt x="8048" y="1638"/>
                    </a:lnTo>
                    <a:lnTo>
                      <a:pt x="8061" y="1512"/>
                    </a:lnTo>
                    <a:lnTo>
                      <a:pt x="8075" y="1390"/>
                    </a:lnTo>
                    <a:lnTo>
                      <a:pt x="8089" y="1271"/>
                    </a:lnTo>
                    <a:lnTo>
                      <a:pt x="8103" y="1156"/>
                    </a:lnTo>
                    <a:lnTo>
                      <a:pt x="8119" y="1046"/>
                    </a:lnTo>
                    <a:lnTo>
                      <a:pt x="8134" y="939"/>
                    </a:lnTo>
                    <a:lnTo>
                      <a:pt x="8152" y="837"/>
                    </a:lnTo>
                    <a:lnTo>
                      <a:pt x="8169" y="740"/>
                    </a:lnTo>
                    <a:lnTo>
                      <a:pt x="8186" y="647"/>
                    </a:lnTo>
                    <a:lnTo>
                      <a:pt x="8205" y="558"/>
                    </a:lnTo>
                    <a:lnTo>
                      <a:pt x="8225" y="475"/>
                    </a:lnTo>
                    <a:lnTo>
                      <a:pt x="8245" y="396"/>
                    </a:lnTo>
                    <a:lnTo>
                      <a:pt x="8264" y="323"/>
                    </a:lnTo>
                    <a:lnTo>
                      <a:pt x="8285" y="255"/>
                    </a:lnTo>
                    <a:lnTo>
                      <a:pt x="8306" y="193"/>
                    </a:lnTo>
                    <a:lnTo>
                      <a:pt x="8328" y="136"/>
                    </a:lnTo>
                    <a:lnTo>
                      <a:pt x="8350" y="85"/>
                    </a:lnTo>
                    <a:lnTo>
                      <a:pt x="8362" y="60"/>
                    </a:lnTo>
                    <a:lnTo>
                      <a:pt x="8372" y="40"/>
                    </a:lnTo>
                    <a:lnTo>
                      <a:pt x="8384" y="19"/>
                    </a:lnTo>
                    <a:lnTo>
                      <a:pt x="8395" y="0"/>
                    </a:lnTo>
                    <a:lnTo>
                      <a:pt x="8395" y="0"/>
                    </a:lnTo>
                    <a:close/>
                  </a:path>
                </a:pathLst>
              </a:custGeom>
              <a:gradFill flip="none" rotWithShape="1">
                <a:gsLst>
                  <a:gs pos="0">
                    <a:schemeClr val="bg1">
                      <a:lumMod val="50000"/>
                    </a:schemeClr>
                  </a:gs>
                  <a:gs pos="23000">
                    <a:schemeClr val="bg1"/>
                  </a:gs>
                  <a:gs pos="61000">
                    <a:schemeClr val="bg2"/>
                  </a:gs>
                </a:gsLst>
                <a:path path="circle">
                  <a:fillToRect r="100000" b="100000"/>
                </a:path>
                <a:tileRect l="-100000" t="-100000"/>
              </a:gradFill>
              <a:ln w="9525">
                <a:noFill/>
                <a:round/>
                <a:headEnd/>
                <a:tailEnd/>
              </a:ln>
              <a:effectLst>
                <a:innerShdw blurRad="758825" dist="215900" dir="5400000">
                  <a:srgbClr val="000000">
                    <a:alpha val="20000"/>
                  </a:srgbClr>
                </a:innerShdw>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13" name="Forma libre 11">
                <a:extLst>
                  <a:ext uri="{FF2B5EF4-FFF2-40B4-BE49-F238E27FC236}">
                    <a16:creationId xmlns:a16="http://schemas.microsoft.com/office/drawing/2014/main" id="{BA5E1E36-BBE8-6D41-972D-4EDC2AFB9712}"/>
                  </a:ext>
                </a:extLst>
              </p:cNvPr>
              <p:cNvSpPr>
                <a:spLocks/>
              </p:cNvSpPr>
              <p:nvPr/>
            </p:nvSpPr>
            <p:spPr bwMode="auto">
              <a:xfrm>
                <a:off x="7779708" y="744220"/>
                <a:ext cx="715011" cy="4622801"/>
              </a:xfrm>
              <a:custGeom>
                <a:avLst/>
                <a:gdLst/>
                <a:ahLst/>
                <a:cxnLst>
                  <a:cxn ang="0">
                    <a:pos x="1125" y="3827"/>
                  </a:cxn>
                  <a:cxn ang="0">
                    <a:pos x="1115" y="4374"/>
                  </a:cxn>
                  <a:cxn ang="0">
                    <a:pos x="1092" y="4892"/>
                  </a:cxn>
                  <a:cxn ang="0">
                    <a:pos x="1058" y="5375"/>
                  </a:cxn>
                  <a:cxn ang="0">
                    <a:pos x="1014" y="5819"/>
                  </a:cxn>
                  <a:cxn ang="0">
                    <a:pos x="960" y="6214"/>
                  </a:cxn>
                  <a:cxn ang="0">
                    <a:pos x="900" y="6557"/>
                  </a:cxn>
                  <a:cxn ang="0">
                    <a:pos x="832" y="6841"/>
                  </a:cxn>
                  <a:cxn ang="0">
                    <a:pos x="794" y="6959"/>
                  </a:cxn>
                  <a:cxn ang="0">
                    <a:pos x="756" y="7060"/>
                  </a:cxn>
                  <a:cxn ang="0">
                    <a:pos x="717" y="7142"/>
                  </a:cxn>
                  <a:cxn ang="0">
                    <a:pos x="676" y="7207"/>
                  </a:cxn>
                  <a:cxn ang="0">
                    <a:pos x="634" y="7251"/>
                  </a:cxn>
                  <a:cxn ang="0">
                    <a:pos x="592" y="7276"/>
                  </a:cxn>
                  <a:cxn ang="0">
                    <a:pos x="563" y="7280"/>
                  </a:cxn>
                  <a:cxn ang="0">
                    <a:pos x="519" y="7270"/>
                  </a:cxn>
                  <a:cxn ang="0">
                    <a:pos x="477" y="7238"/>
                  </a:cxn>
                  <a:cxn ang="0">
                    <a:pos x="436" y="7187"/>
                  </a:cxn>
                  <a:cxn ang="0">
                    <a:pos x="395" y="7117"/>
                  </a:cxn>
                  <a:cxn ang="0">
                    <a:pos x="357" y="7028"/>
                  </a:cxn>
                  <a:cxn ang="0">
                    <a:pos x="318" y="6921"/>
                  </a:cxn>
                  <a:cxn ang="0">
                    <a:pos x="271" y="6753"/>
                  </a:cxn>
                  <a:cxn ang="0">
                    <a:pos x="205" y="6449"/>
                  </a:cxn>
                  <a:cxn ang="0">
                    <a:pos x="146" y="6088"/>
                  </a:cxn>
                  <a:cxn ang="0">
                    <a:pos x="95" y="5676"/>
                  </a:cxn>
                  <a:cxn ang="0">
                    <a:pos x="55" y="5218"/>
                  </a:cxn>
                  <a:cxn ang="0">
                    <a:pos x="25" y="4723"/>
                  </a:cxn>
                  <a:cxn ang="0">
                    <a:pos x="6" y="4194"/>
                  </a:cxn>
                  <a:cxn ang="0">
                    <a:pos x="0" y="3641"/>
                  </a:cxn>
                  <a:cxn ang="0">
                    <a:pos x="2" y="3268"/>
                  </a:cxn>
                  <a:cxn ang="0">
                    <a:pos x="18" y="2730"/>
                  </a:cxn>
                  <a:cxn ang="0">
                    <a:pos x="44" y="2223"/>
                  </a:cxn>
                  <a:cxn ang="0">
                    <a:pos x="81" y="1752"/>
                  </a:cxn>
                  <a:cxn ang="0">
                    <a:pos x="128" y="1324"/>
                  </a:cxn>
                  <a:cxn ang="0">
                    <a:pos x="185" y="945"/>
                  </a:cxn>
                  <a:cxn ang="0">
                    <a:pos x="247" y="621"/>
                  </a:cxn>
                  <a:cxn ang="0">
                    <a:pos x="307" y="398"/>
                  </a:cxn>
                  <a:cxn ang="0">
                    <a:pos x="344" y="285"/>
                  </a:cxn>
                  <a:cxn ang="0">
                    <a:pos x="382" y="190"/>
                  </a:cxn>
                  <a:cxn ang="0">
                    <a:pos x="422" y="113"/>
                  </a:cxn>
                  <a:cxn ang="0">
                    <a:pos x="463" y="57"/>
                  </a:cxn>
                  <a:cxn ang="0">
                    <a:pos x="505" y="18"/>
                  </a:cxn>
                  <a:cxn ang="0">
                    <a:pos x="548" y="1"/>
                  </a:cxn>
                  <a:cxn ang="0">
                    <a:pos x="577" y="1"/>
                  </a:cxn>
                  <a:cxn ang="0">
                    <a:pos x="620" y="18"/>
                  </a:cxn>
                  <a:cxn ang="0">
                    <a:pos x="662" y="57"/>
                  </a:cxn>
                  <a:cxn ang="0">
                    <a:pos x="704" y="113"/>
                  </a:cxn>
                  <a:cxn ang="0">
                    <a:pos x="743" y="190"/>
                  </a:cxn>
                  <a:cxn ang="0">
                    <a:pos x="782" y="285"/>
                  </a:cxn>
                  <a:cxn ang="0">
                    <a:pos x="819" y="398"/>
                  </a:cxn>
                  <a:cxn ang="0">
                    <a:pos x="878" y="621"/>
                  </a:cxn>
                  <a:cxn ang="0">
                    <a:pos x="942" y="945"/>
                  </a:cxn>
                  <a:cxn ang="0">
                    <a:pos x="998" y="1324"/>
                  </a:cxn>
                  <a:cxn ang="0">
                    <a:pos x="1044" y="1752"/>
                  </a:cxn>
                  <a:cxn ang="0">
                    <a:pos x="1081" y="2223"/>
                  </a:cxn>
                  <a:cxn ang="0">
                    <a:pos x="1108" y="2730"/>
                  </a:cxn>
                  <a:cxn ang="0">
                    <a:pos x="1123" y="3268"/>
                  </a:cxn>
                  <a:cxn ang="0">
                    <a:pos x="1125" y="3641"/>
                  </a:cxn>
                </a:cxnLst>
                <a:rect l="0" t="0" r="r" b="b"/>
                <a:pathLst>
                  <a:path w="1125" h="7280">
                    <a:moveTo>
                      <a:pt x="1125" y="3641"/>
                    </a:moveTo>
                    <a:lnTo>
                      <a:pt x="1125" y="3641"/>
                    </a:lnTo>
                    <a:lnTo>
                      <a:pt x="1125" y="3827"/>
                    </a:lnTo>
                    <a:lnTo>
                      <a:pt x="1123" y="4012"/>
                    </a:lnTo>
                    <a:lnTo>
                      <a:pt x="1120" y="4194"/>
                    </a:lnTo>
                    <a:lnTo>
                      <a:pt x="1115" y="4374"/>
                    </a:lnTo>
                    <a:lnTo>
                      <a:pt x="1108" y="4550"/>
                    </a:lnTo>
                    <a:lnTo>
                      <a:pt x="1101" y="4723"/>
                    </a:lnTo>
                    <a:lnTo>
                      <a:pt x="1092" y="4892"/>
                    </a:lnTo>
                    <a:lnTo>
                      <a:pt x="1081" y="5057"/>
                    </a:lnTo>
                    <a:lnTo>
                      <a:pt x="1071" y="5218"/>
                    </a:lnTo>
                    <a:lnTo>
                      <a:pt x="1058" y="5375"/>
                    </a:lnTo>
                    <a:lnTo>
                      <a:pt x="1044" y="5528"/>
                    </a:lnTo>
                    <a:lnTo>
                      <a:pt x="1030" y="5676"/>
                    </a:lnTo>
                    <a:lnTo>
                      <a:pt x="1014" y="5819"/>
                    </a:lnTo>
                    <a:lnTo>
                      <a:pt x="998" y="5956"/>
                    </a:lnTo>
                    <a:lnTo>
                      <a:pt x="979" y="6088"/>
                    </a:lnTo>
                    <a:lnTo>
                      <a:pt x="960" y="6214"/>
                    </a:lnTo>
                    <a:lnTo>
                      <a:pt x="942" y="6335"/>
                    </a:lnTo>
                    <a:lnTo>
                      <a:pt x="921" y="6449"/>
                    </a:lnTo>
                    <a:lnTo>
                      <a:pt x="900" y="6557"/>
                    </a:lnTo>
                    <a:lnTo>
                      <a:pt x="878" y="6659"/>
                    </a:lnTo>
                    <a:lnTo>
                      <a:pt x="855" y="6753"/>
                    </a:lnTo>
                    <a:lnTo>
                      <a:pt x="832" y="6841"/>
                    </a:lnTo>
                    <a:lnTo>
                      <a:pt x="819" y="6882"/>
                    </a:lnTo>
                    <a:lnTo>
                      <a:pt x="807" y="6921"/>
                    </a:lnTo>
                    <a:lnTo>
                      <a:pt x="794" y="6959"/>
                    </a:lnTo>
                    <a:lnTo>
                      <a:pt x="782" y="6995"/>
                    </a:lnTo>
                    <a:lnTo>
                      <a:pt x="769" y="7028"/>
                    </a:lnTo>
                    <a:lnTo>
                      <a:pt x="756" y="7060"/>
                    </a:lnTo>
                    <a:lnTo>
                      <a:pt x="743" y="7090"/>
                    </a:lnTo>
                    <a:lnTo>
                      <a:pt x="731" y="7117"/>
                    </a:lnTo>
                    <a:lnTo>
                      <a:pt x="717" y="7142"/>
                    </a:lnTo>
                    <a:lnTo>
                      <a:pt x="704" y="7166"/>
                    </a:lnTo>
                    <a:lnTo>
                      <a:pt x="690" y="7187"/>
                    </a:lnTo>
                    <a:lnTo>
                      <a:pt x="676" y="7207"/>
                    </a:lnTo>
                    <a:lnTo>
                      <a:pt x="662" y="7223"/>
                    </a:lnTo>
                    <a:lnTo>
                      <a:pt x="648" y="7238"/>
                    </a:lnTo>
                    <a:lnTo>
                      <a:pt x="634" y="7251"/>
                    </a:lnTo>
                    <a:lnTo>
                      <a:pt x="620" y="7262"/>
                    </a:lnTo>
                    <a:lnTo>
                      <a:pt x="606" y="7270"/>
                    </a:lnTo>
                    <a:lnTo>
                      <a:pt x="592" y="7276"/>
                    </a:lnTo>
                    <a:lnTo>
                      <a:pt x="577" y="7279"/>
                    </a:lnTo>
                    <a:lnTo>
                      <a:pt x="563" y="7280"/>
                    </a:lnTo>
                    <a:lnTo>
                      <a:pt x="563" y="7280"/>
                    </a:lnTo>
                    <a:lnTo>
                      <a:pt x="548" y="7279"/>
                    </a:lnTo>
                    <a:lnTo>
                      <a:pt x="534" y="7276"/>
                    </a:lnTo>
                    <a:lnTo>
                      <a:pt x="519" y="7270"/>
                    </a:lnTo>
                    <a:lnTo>
                      <a:pt x="505" y="7262"/>
                    </a:lnTo>
                    <a:lnTo>
                      <a:pt x="491" y="7251"/>
                    </a:lnTo>
                    <a:lnTo>
                      <a:pt x="477" y="7238"/>
                    </a:lnTo>
                    <a:lnTo>
                      <a:pt x="463" y="7223"/>
                    </a:lnTo>
                    <a:lnTo>
                      <a:pt x="450" y="7207"/>
                    </a:lnTo>
                    <a:lnTo>
                      <a:pt x="436" y="7187"/>
                    </a:lnTo>
                    <a:lnTo>
                      <a:pt x="422" y="7166"/>
                    </a:lnTo>
                    <a:lnTo>
                      <a:pt x="409" y="7142"/>
                    </a:lnTo>
                    <a:lnTo>
                      <a:pt x="395" y="7117"/>
                    </a:lnTo>
                    <a:lnTo>
                      <a:pt x="382" y="7090"/>
                    </a:lnTo>
                    <a:lnTo>
                      <a:pt x="369" y="7060"/>
                    </a:lnTo>
                    <a:lnTo>
                      <a:pt x="357" y="7028"/>
                    </a:lnTo>
                    <a:lnTo>
                      <a:pt x="344" y="6995"/>
                    </a:lnTo>
                    <a:lnTo>
                      <a:pt x="331" y="6959"/>
                    </a:lnTo>
                    <a:lnTo>
                      <a:pt x="318" y="6921"/>
                    </a:lnTo>
                    <a:lnTo>
                      <a:pt x="307" y="6882"/>
                    </a:lnTo>
                    <a:lnTo>
                      <a:pt x="294" y="6841"/>
                    </a:lnTo>
                    <a:lnTo>
                      <a:pt x="271" y="6753"/>
                    </a:lnTo>
                    <a:lnTo>
                      <a:pt x="247" y="6659"/>
                    </a:lnTo>
                    <a:lnTo>
                      <a:pt x="225" y="6557"/>
                    </a:lnTo>
                    <a:lnTo>
                      <a:pt x="205" y="6449"/>
                    </a:lnTo>
                    <a:lnTo>
                      <a:pt x="185" y="6335"/>
                    </a:lnTo>
                    <a:lnTo>
                      <a:pt x="165" y="6214"/>
                    </a:lnTo>
                    <a:lnTo>
                      <a:pt x="146" y="6088"/>
                    </a:lnTo>
                    <a:lnTo>
                      <a:pt x="128" y="5956"/>
                    </a:lnTo>
                    <a:lnTo>
                      <a:pt x="112" y="5819"/>
                    </a:lnTo>
                    <a:lnTo>
                      <a:pt x="95" y="5676"/>
                    </a:lnTo>
                    <a:lnTo>
                      <a:pt x="81" y="5528"/>
                    </a:lnTo>
                    <a:lnTo>
                      <a:pt x="68" y="5375"/>
                    </a:lnTo>
                    <a:lnTo>
                      <a:pt x="55" y="5218"/>
                    </a:lnTo>
                    <a:lnTo>
                      <a:pt x="44" y="5057"/>
                    </a:lnTo>
                    <a:lnTo>
                      <a:pt x="34" y="4892"/>
                    </a:lnTo>
                    <a:lnTo>
                      <a:pt x="25" y="4723"/>
                    </a:lnTo>
                    <a:lnTo>
                      <a:pt x="18" y="4550"/>
                    </a:lnTo>
                    <a:lnTo>
                      <a:pt x="11" y="4374"/>
                    </a:lnTo>
                    <a:lnTo>
                      <a:pt x="6" y="4194"/>
                    </a:lnTo>
                    <a:lnTo>
                      <a:pt x="2" y="4012"/>
                    </a:lnTo>
                    <a:lnTo>
                      <a:pt x="0" y="3827"/>
                    </a:lnTo>
                    <a:lnTo>
                      <a:pt x="0" y="3641"/>
                    </a:lnTo>
                    <a:lnTo>
                      <a:pt x="0" y="3641"/>
                    </a:lnTo>
                    <a:lnTo>
                      <a:pt x="0" y="3452"/>
                    </a:lnTo>
                    <a:lnTo>
                      <a:pt x="2" y="3268"/>
                    </a:lnTo>
                    <a:lnTo>
                      <a:pt x="6" y="3086"/>
                    </a:lnTo>
                    <a:lnTo>
                      <a:pt x="11" y="2907"/>
                    </a:lnTo>
                    <a:lnTo>
                      <a:pt x="18" y="2730"/>
                    </a:lnTo>
                    <a:lnTo>
                      <a:pt x="25" y="2557"/>
                    </a:lnTo>
                    <a:lnTo>
                      <a:pt x="34" y="2388"/>
                    </a:lnTo>
                    <a:lnTo>
                      <a:pt x="44" y="2223"/>
                    </a:lnTo>
                    <a:lnTo>
                      <a:pt x="55" y="2062"/>
                    </a:lnTo>
                    <a:lnTo>
                      <a:pt x="68" y="1905"/>
                    </a:lnTo>
                    <a:lnTo>
                      <a:pt x="81" y="1752"/>
                    </a:lnTo>
                    <a:lnTo>
                      <a:pt x="95" y="1604"/>
                    </a:lnTo>
                    <a:lnTo>
                      <a:pt x="112" y="1461"/>
                    </a:lnTo>
                    <a:lnTo>
                      <a:pt x="128" y="1324"/>
                    </a:lnTo>
                    <a:lnTo>
                      <a:pt x="146" y="1192"/>
                    </a:lnTo>
                    <a:lnTo>
                      <a:pt x="165" y="1065"/>
                    </a:lnTo>
                    <a:lnTo>
                      <a:pt x="185" y="945"/>
                    </a:lnTo>
                    <a:lnTo>
                      <a:pt x="205" y="831"/>
                    </a:lnTo>
                    <a:lnTo>
                      <a:pt x="225" y="723"/>
                    </a:lnTo>
                    <a:lnTo>
                      <a:pt x="247" y="621"/>
                    </a:lnTo>
                    <a:lnTo>
                      <a:pt x="271" y="527"/>
                    </a:lnTo>
                    <a:lnTo>
                      <a:pt x="294" y="439"/>
                    </a:lnTo>
                    <a:lnTo>
                      <a:pt x="307" y="398"/>
                    </a:lnTo>
                    <a:lnTo>
                      <a:pt x="318" y="358"/>
                    </a:lnTo>
                    <a:lnTo>
                      <a:pt x="331" y="321"/>
                    </a:lnTo>
                    <a:lnTo>
                      <a:pt x="344" y="285"/>
                    </a:lnTo>
                    <a:lnTo>
                      <a:pt x="357" y="252"/>
                    </a:lnTo>
                    <a:lnTo>
                      <a:pt x="369" y="220"/>
                    </a:lnTo>
                    <a:lnTo>
                      <a:pt x="382" y="190"/>
                    </a:lnTo>
                    <a:lnTo>
                      <a:pt x="395" y="163"/>
                    </a:lnTo>
                    <a:lnTo>
                      <a:pt x="409" y="138"/>
                    </a:lnTo>
                    <a:lnTo>
                      <a:pt x="422" y="113"/>
                    </a:lnTo>
                    <a:lnTo>
                      <a:pt x="436" y="93"/>
                    </a:lnTo>
                    <a:lnTo>
                      <a:pt x="450" y="73"/>
                    </a:lnTo>
                    <a:lnTo>
                      <a:pt x="463" y="57"/>
                    </a:lnTo>
                    <a:lnTo>
                      <a:pt x="477" y="42"/>
                    </a:lnTo>
                    <a:lnTo>
                      <a:pt x="491" y="29"/>
                    </a:lnTo>
                    <a:lnTo>
                      <a:pt x="505" y="18"/>
                    </a:lnTo>
                    <a:lnTo>
                      <a:pt x="519" y="10"/>
                    </a:lnTo>
                    <a:lnTo>
                      <a:pt x="534" y="4"/>
                    </a:lnTo>
                    <a:lnTo>
                      <a:pt x="548" y="1"/>
                    </a:lnTo>
                    <a:lnTo>
                      <a:pt x="563" y="0"/>
                    </a:lnTo>
                    <a:lnTo>
                      <a:pt x="563" y="0"/>
                    </a:lnTo>
                    <a:lnTo>
                      <a:pt x="577" y="1"/>
                    </a:lnTo>
                    <a:lnTo>
                      <a:pt x="592" y="4"/>
                    </a:lnTo>
                    <a:lnTo>
                      <a:pt x="606" y="10"/>
                    </a:lnTo>
                    <a:lnTo>
                      <a:pt x="620" y="18"/>
                    </a:lnTo>
                    <a:lnTo>
                      <a:pt x="634" y="29"/>
                    </a:lnTo>
                    <a:lnTo>
                      <a:pt x="648" y="42"/>
                    </a:lnTo>
                    <a:lnTo>
                      <a:pt x="662" y="57"/>
                    </a:lnTo>
                    <a:lnTo>
                      <a:pt x="676" y="73"/>
                    </a:lnTo>
                    <a:lnTo>
                      <a:pt x="690" y="93"/>
                    </a:lnTo>
                    <a:lnTo>
                      <a:pt x="704" y="113"/>
                    </a:lnTo>
                    <a:lnTo>
                      <a:pt x="717" y="138"/>
                    </a:lnTo>
                    <a:lnTo>
                      <a:pt x="731" y="163"/>
                    </a:lnTo>
                    <a:lnTo>
                      <a:pt x="743" y="190"/>
                    </a:lnTo>
                    <a:lnTo>
                      <a:pt x="756" y="220"/>
                    </a:lnTo>
                    <a:lnTo>
                      <a:pt x="769" y="252"/>
                    </a:lnTo>
                    <a:lnTo>
                      <a:pt x="782" y="285"/>
                    </a:lnTo>
                    <a:lnTo>
                      <a:pt x="794" y="321"/>
                    </a:lnTo>
                    <a:lnTo>
                      <a:pt x="807" y="358"/>
                    </a:lnTo>
                    <a:lnTo>
                      <a:pt x="819" y="398"/>
                    </a:lnTo>
                    <a:lnTo>
                      <a:pt x="832" y="439"/>
                    </a:lnTo>
                    <a:lnTo>
                      <a:pt x="855" y="527"/>
                    </a:lnTo>
                    <a:lnTo>
                      <a:pt x="878" y="621"/>
                    </a:lnTo>
                    <a:lnTo>
                      <a:pt x="900" y="723"/>
                    </a:lnTo>
                    <a:lnTo>
                      <a:pt x="921" y="831"/>
                    </a:lnTo>
                    <a:lnTo>
                      <a:pt x="942" y="945"/>
                    </a:lnTo>
                    <a:lnTo>
                      <a:pt x="960" y="1065"/>
                    </a:lnTo>
                    <a:lnTo>
                      <a:pt x="979" y="1192"/>
                    </a:lnTo>
                    <a:lnTo>
                      <a:pt x="998" y="1324"/>
                    </a:lnTo>
                    <a:lnTo>
                      <a:pt x="1014" y="1461"/>
                    </a:lnTo>
                    <a:lnTo>
                      <a:pt x="1030" y="1604"/>
                    </a:lnTo>
                    <a:lnTo>
                      <a:pt x="1044" y="1752"/>
                    </a:lnTo>
                    <a:lnTo>
                      <a:pt x="1058" y="1905"/>
                    </a:lnTo>
                    <a:lnTo>
                      <a:pt x="1071" y="2062"/>
                    </a:lnTo>
                    <a:lnTo>
                      <a:pt x="1081" y="2223"/>
                    </a:lnTo>
                    <a:lnTo>
                      <a:pt x="1092" y="2388"/>
                    </a:lnTo>
                    <a:lnTo>
                      <a:pt x="1101" y="2557"/>
                    </a:lnTo>
                    <a:lnTo>
                      <a:pt x="1108" y="2730"/>
                    </a:lnTo>
                    <a:lnTo>
                      <a:pt x="1115" y="2907"/>
                    </a:lnTo>
                    <a:lnTo>
                      <a:pt x="1120" y="3086"/>
                    </a:lnTo>
                    <a:lnTo>
                      <a:pt x="1123" y="3268"/>
                    </a:lnTo>
                    <a:lnTo>
                      <a:pt x="1125" y="3452"/>
                    </a:lnTo>
                    <a:lnTo>
                      <a:pt x="1125" y="3641"/>
                    </a:lnTo>
                    <a:lnTo>
                      <a:pt x="1125" y="3641"/>
                    </a:lnTo>
                    <a:close/>
                  </a:path>
                </a:pathLst>
              </a:custGeom>
              <a:gradFill flip="none" rotWithShape="1">
                <a:gsLst>
                  <a:gs pos="86000">
                    <a:schemeClr val="bg1">
                      <a:lumMod val="50000"/>
                    </a:schemeClr>
                  </a:gs>
                  <a:gs pos="10000">
                    <a:schemeClr val="bg1">
                      <a:lumMod val="65000"/>
                    </a:schemeClr>
                  </a:gs>
                  <a:gs pos="59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grpSp>
            <p:nvGrpSpPr>
              <p:cNvPr id="14" name="Grupo 26">
                <a:extLst>
                  <a:ext uri="{FF2B5EF4-FFF2-40B4-BE49-F238E27FC236}">
                    <a16:creationId xmlns:a16="http://schemas.microsoft.com/office/drawing/2014/main" id="{E80247B8-DC54-0247-A4A2-7066FD8C1F74}"/>
                  </a:ext>
                </a:extLst>
              </p:cNvPr>
              <p:cNvGrpSpPr/>
              <p:nvPr/>
            </p:nvGrpSpPr>
            <p:grpSpPr>
              <a:xfrm>
                <a:off x="7829236" y="2818131"/>
                <a:ext cx="360681" cy="469900"/>
                <a:chOff x="8804275" y="2665413"/>
                <a:chExt cx="450850" cy="587375"/>
              </a:xfrm>
            </p:grpSpPr>
            <p:sp>
              <p:nvSpPr>
                <p:cNvPr id="23" name="Forma libre 12">
                  <a:extLst>
                    <a:ext uri="{FF2B5EF4-FFF2-40B4-BE49-F238E27FC236}">
                      <a16:creationId xmlns:a16="http://schemas.microsoft.com/office/drawing/2014/main" id="{414BA82F-2AD0-6B42-AA47-A27B40D31A27}"/>
                    </a:ext>
                  </a:extLst>
                </p:cNvPr>
                <p:cNvSpPr>
                  <a:spLocks/>
                </p:cNvSpPr>
                <p:nvPr/>
              </p:nvSpPr>
              <p:spPr bwMode="auto">
                <a:xfrm>
                  <a:off x="8804275" y="2665413"/>
                  <a:ext cx="450850" cy="587375"/>
                </a:xfrm>
                <a:custGeom>
                  <a:avLst/>
                  <a:gdLst/>
                  <a:ahLst/>
                  <a:cxnLst>
                    <a:cxn ang="0">
                      <a:pos x="569" y="361"/>
                    </a:cxn>
                    <a:cxn ang="0">
                      <a:pos x="569" y="346"/>
                    </a:cxn>
                    <a:cxn ang="0">
                      <a:pos x="567" y="327"/>
                    </a:cxn>
                    <a:cxn ang="0">
                      <a:pos x="565" y="309"/>
                    </a:cxn>
                    <a:cxn ang="0">
                      <a:pos x="563" y="295"/>
                    </a:cxn>
                    <a:cxn ang="0">
                      <a:pos x="563" y="293"/>
                    </a:cxn>
                    <a:cxn ang="0">
                      <a:pos x="529" y="177"/>
                    </a:cxn>
                    <a:cxn ang="0">
                      <a:pos x="526" y="169"/>
                    </a:cxn>
                    <a:cxn ang="0">
                      <a:pos x="513" y="144"/>
                    </a:cxn>
                    <a:cxn ang="0">
                      <a:pos x="502" y="123"/>
                    </a:cxn>
                    <a:cxn ang="0">
                      <a:pos x="483" y="96"/>
                    </a:cxn>
                    <a:cxn ang="0">
                      <a:pos x="477" y="89"/>
                    </a:cxn>
                    <a:cxn ang="0">
                      <a:pos x="473" y="84"/>
                    </a:cxn>
                    <a:cxn ang="0">
                      <a:pos x="435" y="50"/>
                    </a:cxn>
                    <a:cxn ang="0">
                      <a:pos x="431" y="46"/>
                    </a:cxn>
                    <a:cxn ang="0">
                      <a:pos x="420" y="40"/>
                    </a:cxn>
                    <a:cxn ang="0">
                      <a:pos x="387" y="25"/>
                    </a:cxn>
                    <a:cxn ang="0">
                      <a:pos x="354" y="15"/>
                    </a:cxn>
                    <a:cxn ang="0">
                      <a:pos x="316" y="11"/>
                    </a:cxn>
                    <a:cxn ang="0">
                      <a:pos x="240" y="10"/>
                    </a:cxn>
                    <a:cxn ang="0">
                      <a:pos x="51" y="2"/>
                    </a:cxn>
                    <a:cxn ang="0">
                      <a:pos x="96" y="736"/>
                    </a:cxn>
                    <a:cxn ang="0">
                      <a:pos x="193" y="731"/>
                    </a:cxn>
                    <a:cxn ang="0">
                      <a:pos x="193" y="731"/>
                    </a:cxn>
                    <a:cxn ang="0">
                      <a:pos x="209" y="731"/>
                    </a:cxn>
                    <a:cxn ang="0">
                      <a:pos x="248" y="729"/>
                    </a:cxn>
                    <a:cxn ang="0">
                      <a:pos x="255" y="729"/>
                    </a:cxn>
                    <a:cxn ang="0">
                      <a:pos x="258" y="729"/>
                    </a:cxn>
                    <a:cxn ang="0">
                      <a:pos x="307" y="728"/>
                    </a:cxn>
                    <a:cxn ang="0">
                      <a:pos x="315" y="728"/>
                    </a:cxn>
                    <a:cxn ang="0">
                      <a:pos x="366" y="722"/>
                    </a:cxn>
                    <a:cxn ang="0">
                      <a:pos x="380" y="718"/>
                    </a:cxn>
                    <a:cxn ang="0">
                      <a:pos x="403" y="709"/>
                    </a:cxn>
                    <a:cxn ang="0">
                      <a:pos x="421" y="699"/>
                    </a:cxn>
                    <a:cxn ang="0">
                      <a:pos x="449" y="678"/>
                    </a:cxn>
                    <a:cxn ang="0">
                      <a:pos x="473" y="656"/>
                    </a:cxn>
                    <a:cxn ang="0">
                      <a:pos x="506" y="609"/>
                    </a:cxn>
                    <a:cxn ang="0">
                      <a:pos x="514" y="594"/>
                    </a:cxn>
                    <a:cxn ang="0">
                      <a:pos x="521" y="580"/>
                    </a:cxn>
                    <a:cxn ang="0">
                      <a:pos x="528" y="565"/>
                    </a:cxn>
                    <a:cxn ang="0">
                      <a:pos x="534" y="550"/>
                    </a:cxn>
                    <a:cxn ang="0">
                      <a:pos x="542" y="529"/>
                    </a:cxn>
                    <a:cxn ang="0">
                      <a:pos x="548" y="509"/>
                    </a:cxn>
                    <a:cxn ang="0">
                      <a:pos x="549" y="506"/>
                    </a:cxn>
                    <a:cxn ang="0">
                      <a:pos x="563" y="443"/>
                    </a:cxn>
                    <a:cxn ang="0">
                      <a:pos x="564" y="435"/>
                    </a:cxn>
                    <a:cxn ang="0">
                      <a:pos x="565" y="425"/>
                    </a:cxn>
                    <a:cxn ang="0">
                      <a:pos x="569" y="399"/>
                    </a:cxn>
                    <a:cxn ang="0">
                      <a:pos x="569" y="375"/>
                    </a:cxn>
                    <a:cxn ang="0">
                      <a:pos x="569" y="361"/>
                    </a:cxn>
                  </a:cxnLst>
                  <a:rect l="0" t="0" r="r" b="b"/>
                  <a:pathLst>
                    <a:path w="569" h="739">
                      <a:moveTo>
                        <a:pt x="569" y="361"/>
                      </a:moveTo>
                      <a:lnTo>
                        <a:pt x="569" y="361"/>
                      </a:lnTo>
                      <a:lnTo>
                        <a:pt x="569" y="361"/>
                      </a:lnTo>
                      <a:lnTo>
                        <a:pt x="569" y="361"/>
                      </a:lnTo>
                      <a:lnTo>
                        <a:pt x="569" y="347"/>
                      </a:lnTo>
                      <a:lnTo>
                        <a:pt x="569" y="347"/>
                      </a:lnTo>
                      <a:lnTo>
                        <a:pt x="569" y="346"/>
                      </a:lnTo>
                      <a:lnTo>
                        <a:pt x="569" y="346"/>
                      </a:lnTo>
                      <a:lnTo>
                        <a:pt x="568" y="333"/>
                      </a:lnTo>
                      <a:lnTo>
                        <a:pt x="568" y="333"/>
                      </a:lnTo>
                      <a:lnTo>
                        <a:pt x="567" y="327"/>
                      </a:lnTo>
                      <a:lnTo>
                        <a:pt x="567" y="327"/>
                      </a:lnTo>
                      <a:lnTo>
                        <a:pt x="567" y="318"/>
                      </a:lnTo>
                      <a:lnTo>
                        <a:pt x="567" y="318"/>
                      </a:lnTo>
                      <a:lnTo>
                        <a:pt x="565" y="309"/>
                      </a:lnTo>
                      <a:lnTo>
                        <a:pt x="565" y="309"/>
                      </a:lnTo>
                      <a:lnTo>
                        <a:pt x="564" y="305"/>
                      </a:lnTo>
                      <a:lnTo>
                        <a:pt x="564" y="305"/>
                      </a:lnTo>
                      <a:lnTo>
                        <a:pt x="563" y="295"/>
                      </a:lnTo>
                      <a:lnTo>
                        <a:pt x="563" y="295"/>
                      </a:lnTo>
                      <a:lnTo>
                        <a:pt x="563" y="293"/>
                      </a:lnTo>
                      <a:lnTo>
                        <a:pt x="563" y="293"/>
                      </a:lnTo>
                      <a:lnTo>
                        <a:pt x="563" y="293"/>
                      </a:lnTo>
                      <a:lnTo>
                        <a:pt x="563" y="293"/>
                      </a:lnTo>
                      <a:lnTo>
                        <a:pt x="559" y="269"/>
                      </a:lnTo>
                      <a:lnTo>
                        <a:pt x="552" y="240"/>
                      </a:lnTo>
                      <a:lnTo>
                        <a:pt x="542" y="210"/>
                      </a:lnTo>
                      <a:lnTo>
                        <a:pt x="529" y="177"/>
                      </a:lnTo>
                      <a:lnTo>
                        <a:pt x="529" y="177"/>
                      </a:lnTo>
                      <a:lnTo>
                        <a:pt x="528" y="174"/>
                      </a:lnTo>
                      <a:lnTo>
                        <a:pt x="528" y="174"/>
                      </a:lnTo>
                      <a:lnTo>
                        <a:pt x="526" y="169"/>
                      </a:lnTo>
                      <a:lnTo>
                        <a:pt x="526" y="169"/>
                      </a:lnTo>
                      <a:lnTo>
                        <a:pt x="525" y="166"/>
                      </a:lnTo>
                      <a:lnTo>
                        <a:pt x="525" y="166"/>
                      </a:lnTo>
                      <a:lnTo>
                        <a:pt x="513" y="144"/>
                      </a:lnTo>
                      <a:lnTo>
                        <a:pt x="503" y="125"/>
                      </a:lnTo>
                      <a:lnTo>
                        <a:pt x="503" y="125"/>
                      </a:lnTo>
                      <a:lnTo>
                        <a:pt x="502" y="123"/>
                      </a:lnTo>
                      <a:lnTo>
                        <a:pt x="502" y="123"/>
                      </a:lnTo>
                      <a:lnTo>
                        <a:pt x="496" y="115"/>
                      </a:lnTo>
                      <a:lnTo>
                        <a:pt x="496" y="115"/>
                      </a:lnTo>
                      <a:lnTo>
                        <a:pt x="483" y="96"/>
                      </a:lnTo>
                      <a:lnTo>
                        <a:pt x="483" y="96"/>
                      </a:lnTo>
                      <a:lnTo>
                        <a:pt x="480" y="93"/>
                      </a:lnTo>
                      <a:lnTo>
                        <a:pt x="480" y="93"/>
                      </a:lnTo>
                      <a:lnTo>
                        <a:pt x="477" y="89"/>
                      </a:lnTo>
                      <a:lnTo>
                        <a:pt x="477" y="89"/>
                      </a:lnTo>
                      <a:lnTo>
                        <a:pt x="475" y="87"/>
                      </a:lnTo>
                      <a:lnTo>
                        <a:pt x="475" y="87"/>
                      </a:lnTo>
                      <a:lnTo>
                        <a:pt x="473" y="84"/>
                      </a:lnTo>
                      <a:lnTo>
                        <a:pt x="473" y="84"/>
                      </a:lnTo>
                      <a:lnTo>
                        <a:pt x="467" y="77"/>
                      </a:lnTo>
                      <a:lnTo>
                        <a:pt x="467" y="77"/>
                      </a:lnTo>
                      <a:lnTo>
                        <a:pt x="451" y="61"/>
                      </a:lnTo>
                      <a:lnTo>
                        <a:pt x="435" y="50"/>
                      </a:lnTo>
                      <a:lnTo>
                        <a:pt x="435" y="50"/>
                      </a:lnTo>
                      <a:lnTo>
                        <a:pt x="434" y="48"/>
                      </a:lnTo>
                      <a:lnTo>
                        <a:pt x="434" y="48"/>
                      </a:lnTo>
                      <a:lnTo>
                        <a:pt x="431" y="46"/>
                      </a:lnTo>
                      <a:lnTo>
                        <a:pt x="431" y="46"/>
                      </a:lnTo>
                      <a:lnTo>
                        <a:pt x="426" y="44"/>
                      </a:lnTo>
                      <a:lnTo>
                        <a:pt x="426" y="44"/>
                      </a:lnTo>
                      <a:lnTo>
                        <a:pt x="420" y="40"/>
                      </a:lnTo>
                      <a:lnTo>
                        <a:pt x="420" y="40"/>
                      </a:lnTo>
                      <a:lnTo>
                        <a:pt x="404" y="32"/>
                      </a:lnTo>
                      <a:lnTo>
                        <a:pt x="387" y="25"/>
                      </a:lnTo>
                      <a:lnTo>
                        <a:pt x="387" y="25"/>
                      </a:lnTo>
                      <a:lnTo>
                        <a:pt x="370" y="18"/>
                      </a:lnTo>
                      <a:lnTo>
                        <a:pt x="370" y="18"/>
                      </a:lnTo>
                      <a:lnTo>
                        <a:pt x="362" y="16"/>
                      </a:lnTo>
                      <a:lnTo>
                        <a:pt x="354" y="15"/>
                      </a:lnTo>
                      <a:lnTo>
                        <a:pt x="337" y="12"/>
                      </a:lnTo>
                      <a:lnTo>
                        <a:pt x="337" y="12"/>
                      </a:lnTo>
                      <a:lnTo>
                        <a:pt x="316" y="11"/>
                      </a:lnTo>
                      <a:lnTo>
                        <a:pt x="316" y="11"/>
                      </a:lnTo>
                      <a:lnTo>
                        <a:pt x="315" y="11"/>
                      </a:lnTo>
                      <a:lnTo>
                        <a:pt x="315" y="11"/>
                      </a:lnTo>
                      <a:lnTo>
                        <a:pt x="240" y="10"/>
                      </a:lnTo>
                      <a:lnTo>
                        <a:pt x="240" y="10"/>
                      </a:lnTo>
                      <a:lnTo>
                        <a:pt x="207" y="9"/>
                      </a:lnTo>
                      <a:lnTo>
                        <a:pt x="207" y="9"/>
                      </a:lnTo>
                      <a:lnTo>
                        <a:pt x="51" y="2"/>
                      </a:lnTo>
                      <a:lnTo>
                        <a:pt x="51" y="2"/>
                      </a:lnTo>
                      <a:lnTo>
                        <a:pt x="0" y="0"/>
                      </a:lnTo>
                      <a:lnTo>
                        <a:pt x="0" y="739"/>
                      </a:lnTo>
                      <a:lnTo>
                        <a:pt x="0" y="739"/>
                      </a:lnTo>
                      <a:lnTo>
                        <a:pt x="96" y="736"/>
                      </a:lnTo>
                      <a:lnTo>
                        <a:pt x="96" y="736"/>
                      </a:lnTo>
                      <a:lnTo>
                        <a:pt x="193" y="731"/>
                      </a:lnTo>
                      <a:lnTo>
                        <a:pt x="193" y="731"/>
                      </a:lnTo>
                      <a:lnTo>
                        <a:pt x="193" y="731"/>
                      </a:lnTo>
                      <a:lnTo>
                        <a:pt x="193" y="731"/>
                      </a:lnTo>
                      <a:lnTo>
                        <a:pt x="193" y="731"/>
                      </a:lnTo>
                      <a:lnTo>
                        <a:pt x="193" y="731"/>
                      </a:lnTo>
                      <a:lnTo>
                        <a:pt x="193" y="731"/>
                      </a:lnTo>
                      <a:lnTo>
                        <a:pt x="193" y="731"/>
                      </a:lnTo>
                      <a:lnTo>
                        <a:pt x="193" y="731"/>
                      </a:lnTo>
                      <a:lnTo>
                        <a:pt x="209" y="731"/>
                      </a:lnTo>
                      <a:lnTo>
                        <a:pt x="209" y="731"/>
                      </a:lnTo>
                      <a:lnTo>
                        <a:pt x="209" y="731"/>
                      </a:lnTo>
                      <a:lnTo>
                        <a:pt x="209" y="731"/>
                      </a:lnTo>
                      <a:lnTo>
                        <a:pt x="248" y="729"/>
                      </a:lnTo>
                      <a:lnTo>
                        <a:pt x="248" y="729"/>
                      </a:lnTo>
                      <a:lnTo>
                        <a:pt x="252" y="729"/>
                      </a:lnTo>
                      <a:lnTo>
                        <a:pt x="252" y="729"/>
                      </a:lnTo>
                      <a:lnTo>
                        <a:pt x="255" y="729"/>
                      </a:lnTo>
                      <a:lnTo>
                        <a:pt x="255" y="729"/>
                      </a:lnTo>
                      <a:lnTo>
                        <a:pt x="255" y="729"/>
                      </a:lnTo>
                      <a:lnTo>
                        <a:pt x="255" y="729"/>
                      </a:lnTo>
                      <a:lnTo>
                        <a:pt x="258" y="729"/>
                      </a:lnTo>
                      <a:lnTo>
                        <a:pt x="258" y="729"/>
                      </a:lnTo>
                      <a:lnTo>
                        <a:pt x="315" y="728"/>
                      </a:lnTo>
                      <a:lnTo>
                        <a:pt x="315" y="728"/>
                      </a:lnTo>
                      <a:lnTo>
                        <a:pt x="307" y="728"/>
                      </a:lnTo>
                      <a:lnTo>
                        <a:pt x="307" y="728"/>
                      </a:lnTo>
                      <a:lnTo>
                        <a:pt x="315" y="728"/>
                      </a:lnTo>
                      <a:lnTo>
                        <a:pt x="315" y="728"/>
                      </a:lnTo>
                      <a:lnTo>
                        <a:pt x="315" y="728"/>
                      </a:lnTo>
                      <a:lnTo>
                        <a:pt x="315" y="728"/>
                      </a:lnTo>
                      <a:lnTo>
                        <a:pt x="332" y="726"/>
                      </a:lnTo>
                      <a:lnTo>
                        <a:pt x="355" y="724"/>
                      </a:lnTo>
                      <a:lnTo>
                        <a:pt x="355" y="724"/>
                      </a:lnTo>
                      <a:lnTo>
                        <a:pt x="366" y="722"/>
                      </a:lnTo>
                      <a:lnTo>
                        <a:pt x="376" y="720"/>
                      </a:lnTo>
                      <a:lnTo>
                        <a:pt x="376" y="720"/>
                      </a:lnTo>
                      <a:lnTo>
                        <a:pt x="380" y="718"/>
                      </a:lnTo>
                      <a:lnTo>
                        <a:pt x="380" y="718"/>
                      </a:lnTo>
                      <a:lnTo>
                        <a:pt x="382" y="717"/>
                      </a:lnTo>
                      <a:lnTo>
                        <a:pt x="382" y="717"/>
                      </a:lnTo>
                      <a:lnTo>
                        <a:pt x="394" y="713"/>
                      </a:lnTo>
                      <a:lnTo>
                        <a:pt x="403" y="709"/>
                      </a:lnTo>
                      <a:lnTo>
                        <a:pt x="403" y="709"/>
                      </a:lnTo>
                      <a:lnTo>
                        <a:pt x="408" y="707"/>
                      </a:lnTo>
                      <a:lnTo>
                        <a:pt x="408" y="707"/>
                      </a:lnTo>
                      <a:lnTo>
                        <a:pt x="421" y="699"/>
                      </a:lnTo>
                      <a:lnTo>
                        <a:pt x="435" y="689"/>
                      </a:lnTo>
                      <a:lnTo>
                        <a:pt x="435" y="689"/>
                      </a:lnTo>
                      <a:lnTo>
                        <a:pt x="449" y="678"/>
                      </a:lnTo>
                      <a:lnTo>
                        <a:pt x="449" y="678"/>
                      </a:lnTo>
                      <a:lnTo>
                        <a:pt x="451" y="678"/>
                      </a:lnTo>
                      <a:lnTo>
                        <a:pt x="451" y="678"/>
                      </a:lnTo>
                      <a:lnTo>
                        <a:pt x="460" y="668"/>
                      </a:lnTo>
                      <a:lnTo>
                        <a:pt x="473" y="656"/>
                      </a:lnTo>
                      <a:lnTo>
                        <a:pt x="488" y="637"/>
                      </a:lnTo>
                      <a:lnTo>
                        <a:pt x="503" y="614"/>
                      </a:lnTo>
                      <a:lnTo>
                        <a:pt x="503" y="614"/>
                      </a:lnTo>
                      <a:lnTo>
                        <a:pt x="506" y="609"/>
                      </a:lnTo>
                      <a:lnTo>
                        <a:pt x="506" y="609"/>
                      </a:lnTo>
                      <a:lnTo>
                        <a:pt x="510" y="603"/>
                      </a:lnTo>
                      <a:lnTo>
                        <a:pt x="510" y="603"/>
                      </a:lnTo>
                      <a:lnTo>
                        <a:pt x="514" y="594"/>
                      </a:lnTo>
                      <a:lnTo>
                        <a:pt x="514" y="594"/>
                      </a:lnTo>
                      <a:lnTo>
                        <a:pt x="516" y="591"/>
                      </a:lnTo>
                      <a:lnTo>
                        <a:pt x="516" y="591"/>
                      </a:lnTo>
                      <a:lnTo>
                        <a:pt x="521" y="580"/>
                      </a:lnTo>
                      <a:lnTo>
                        <a:pt x="521" y="580"/>
                      </a:lnTo>
                      <a:lnTo>
                        <a:pt x="523" y="577"/>
                      </a:lnTo>
                      <a:lnTo>
                        <a:pt x="523" y="577"/>
                      </a:lnTo>
                      <a:lnTo>
                        <a:pt x="528" y="565"/>
                      </a:lnTo>
                      <a:lnTo>
                        <a:pt x="528" y="565"/>
                      </a:lnTo>
                      <a:lnTo>
                        <a:pt x="529" y="562"/>
                      </a:lnTo>
                      <a:lnTo>
                        <a:pt x="529" y="562"/>
                      </a:lnTo>
                      <a:lnTo>
                        <a:pt x="534" y="550"/>
                      </a:lnTo>
                      <a:lnTo>
                        <a:pt x="534" y="550"/>
                      </a:lnTo>
                      <a:lnTo>
                        <a:pt x="536" y="545"/>
                      </a:lnTo>
                      <a:lnTo>
                        <a:pt x="536" y="545"/>
                      </a:lnTo>
                      <a:lnTo>
                        <a:pt x="542" y="529"/>
                      </a:lnTo>
                      <a:lnTo>
                        <a:pt x="542" y="529"/>
                      </a:lnTo>
                      <a:lnTo>
                        <a:pt x="542" y="529"/>
                      </a:lnTo>
                      <a:lnTo>
                        <a:pt x="542" y="529"/>
                      </a:lnTo>
                      <a:lnTo>
                        <a:pt x="548" y="509"/>
                      </a:lnTo>
                      <a:lnTo>
                        <a:pt x="548" y="509"/>
                      </a:lnTo>
                      <a:lnTo>
                        <a:pt x="548" y="509"/>
                      </a:lnTo>
                      <a:lnTo>
                        <a:pt x="548" y="509"/>
                      </a:lnTo>
                      <a:lnTo>
                        <a:pt x="549" y="506"/>
                      </a:lnTo>
                      <a:lnTo>
                        <a:pt x="549" y="506"/>
                      </a:lnTo>
                      <a:lnTo>
                        <a:pt x="557" y="472"/>
                      </a:lnTo>
                      <a:lnTo>
                        <a:pt x="563" y="443"/>
                      </a:lnTo>
                      <a:lnTo>
                        <a:pt x="563" y="443"/>
                      </a:lnTo>
                      <a:lnTo>
                        <a:pt x="563" y="442"/>
                      </a:lnTo>
                      <a:lnTo>
                        <a:pt x="563" y="442"/>
                      </a:lnTo>
                      <a:lnTo>
                        <a:pt x="564" y="435"/>
                      </a:lnTo>
                      <a:lnTo>
                        <a:pt x="564" y="435"/>
                      </a:lnTo>
                      <a:lnTo>
                        <a:pt x="565" y="429"/>
                      </a:lnTo>
                      <a:lnTo>
                        <a:pt x="565" y="429"/>
                      </a:lnTo>
                      <a:lnTo>
                        <a:pt x="565" y="425"/>
                      </a:lnTo>
                      <a:lnTo>
                        <a:pt x="565" y="425"/>
                      </a:lnTo>
                      <a:lnTo>
                        <a:pt x="567" y="419"/>
                      </a:lnTo>
                      <a:lnTo>
                        <a:pt x="567" y="419"/>
                      </a:lnTo>
                      <a:lnTo>
                        <a:pt x="569" y="399"/>
                      </a:lnTo>
                      <a:lnTo>
                        <a:pt x="569" y="399"/>
                      </a:lnTo>
                      <a:lnTo>
                        <a:pt x="569" y="379"/>
                      </a:lnTo>
                      <a:lnTo>
                        <a:pt x="569" y="379"/>
                      </a:lnTo>
                      <a:lnTo>
                        <a:pt x="569" y="375"/>
                      </a:lnTo>
                      <a:lnTo>
                        <a:pt x="569" y="375"/>
                      </a:lnTo>
                      <a:lnTo>
                        <a:pt x="569" y="371"/>
                      </a:lnTo>
                      <a:lnTo>
                        <a:pt x="569" y="371"/>
                      </a:lnTo>
                      <a:lnTo>
                        <a:pt x="569" y="361"/>
                      </a:lnTo>
                      <a:lnTo>
                        <a:pt x="569" y="361"/>
                      </a:lnTo>
                      <a:close/>
                    </a:path>
                  </a:pathLst>
                </a:custGeom>
                <a:gradFill flip="none" rotWithShape="1">
                  <a:gsLst>
                    <a:gs pos="0">
                      <a:schemeClr val="bg1">
                        <a:lumMod val="65000"/>
                      </a:schemeClr>
                    </a:gs>
                    <a:gs pos="100000">
                      <a:schemeClr val="bg1">
                        <a:lumMod val="50000"/>
                      </a:schemeClr>
                    </a:gs>
                    <a:gs pos="35000">
                      <a:schemeClr val="bg1">
                        <a:lumMod val="85000"/>
                      </a:schemeClr>
                    </a:gs>
                  </a:gsLst>
                  <a:lin ang="5400000" scaled="0"/>
                  <a:tileRect/>
                </a:gradFill>
                <a:ln w="9525">
                  <a:noFill/>
                  <a:round/>
                  <a:headEnd/>
                  <a:tailEnd/>
                </a:ln>
                <a:effectLst/>
              </p:spPr>
              <p:txBody>
                <a:bodyPr vert="horz" wrap="square" lIns="91440" tIns="45720" rIns="91440" bIns="45720" numCol="1" rtlCol="0" anchor="t" anchorCtr="0" compatLnSpc="1">
                  <a:prstTxWarp prst="textNoShape">
                    <a:avLst/>
                  </a:prstTxWarp>
                </a:bodyPr>
                <a:lstStyle/>
                <a:p>
                  <a:pPr rtl="0"/>
                  <a:endParaRPr lang="es-MX" noProof="0"/>
                </a:p>
              </p:txBody>
            </p:sp>
            <p:sp>
              <p:nvSpPr>
                <p:cNvPr id="24" name="Elipse 23">
                  <a:extLst>
                    <a:ext uri="{FF2B5EF4-FFF2-40B4-BE49-F238E27FC236}">
                      <a16:creationId xmlns:a16="http://schemas.microsoft.com/office/drawing/2014/main" id="{29C32DDD-81CF-D242-8551-0A40E1392C96}"/>
                    </a:ext>
                  </a:extLst>
                </p:cNvPr>
                <p:cNvSpPr/>
                <p:nvPr/>
              </p:nvSpPr>
              <p:spPr>
                <a:xfrm>
                  <a:off x="9142412" y="2819400"/>
                  <a:ext cx="94722" cy="270932"/>
                </a:xfrm>
                <a:prstGeom prst="ellipse">
                  <a:avLst/>
                </a:pr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15" name="Forma libre 14">
                <a:extLst>
                  <a:ext uri="{FF2B5EF4-FFF2-40B4-BE49-F238E27FC236}">
                    <a16:creationId xmlns:a16="http://schemas.microsoft.com/office/drawing/2014/main" id="{A035A684-E3D1-0343-81B7-EDEF4E00115D}"/>
                  </a:ext>
                </a:extLst>
              </p:cNvPr>
              <p:cNvSpPr/>
              <p:nvPr/>
            </p:nvSpPr>
            <p:spPr>
              <a:xfrm>
                <a:off x="3519419" y="1702021"/>
                <a:ext cx="4440232" cy="1042177"/>
              </a:xfrm>
              <a:custGeom>
                <a:avLst/>
                <a:gdLst>
                  <a:gd name="connsiteX0" fmla="*/ 747183 w 4707466"/>
                  <a:gd name="connsiteY0" fmla="*/ 726017 h 1104900"/>
                  <a:gd name="connsiteX1" fmla="*/ 2334683 w 4707466"/>
                  <a:gd name="connsiteY1" fmla="*/ 687917 h 1104900"/>
                  <a:gd name="connsiteX2" fmla="*/ 4328583 w 4707466"/>
                  <a:gd name="connsiteY2" fmla="*/ 205317 h 1104900"/>
                  <a:gd name="connsiteX3" fmla="*/ 4607983 w 4707466"/>
                  <a:gd name="connsiteY3" fmla="*/ 116417 h 1104900"/>
                  <a:gd name="connsiteX4" fmla="*/ 4557183 w 4707466"/>
                  <a:gd name="connsiteY4" fmla="*/ 903817 h 1104900"/>
                  <a:gd name="connsiteX5" fmla="*/ 4519083 w 4707466"/>
                  <a:gd name="connsiteY5" fmla="*/ 980017 h 1104900"/>
                  <a:gd name="connsiteX6" fmla="*/ 4480983 w 4707466"/>
                  <a:gd name="connsiteY6" fmla="*/ 1030817 h 1104900"/>
                  <a:gd name="connsiteX7" fmla="*/ 4392083 w 4707466"/>
                  <a:gd name="connsiteY7" fmla="*/ 1030817 h 1104900"/>
                  <a:gd name="connsiteX8" fmla="*/ 645583 w 4707466"/>
                  <a:gd name="connsiteY8" fmla="*/ 1056217 h 1104900"/>
                  <a:gd name="connsiteX9" fmla="*/ 518583 w 4707466"/>
                  <a:gd name="connsiteY9" fmla="*/ 738717 h 1104900"/>
                  <a:gd name="connsiteX10" fmla="*/ 810683 w 4707466"/>
                  <a:gd name="connsiteY10" fmla="*/ 726017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7466" h="1104900">
                    <a:moveTo>
                      <a:pt x="747183" y="726017"/>
                    </a:moveTo>
                    <a:cubicBezTo>
                      <a:pt x="1242483" y="750358"/>
                      <a:pt x="1737783" y="774700"/>
                      <a:pt x="2334683" y="687917"/>
                    </a:cubicBezTo>
                    <a:cubicBezTo>
                      <a:pt x="2931583" y="601134"/>
                      <a:pt x="3949700" y="300567"/>
                      <a:pt x="4328583" y="205317"/>
                    </a:cubicBezTo>
                    <a:cubicBezTo>
                      <a:pt x="4707466" y="110067"/>
                      <a:pt x="4569883" y="0"/>
                      <a:pt x="4607983" y="116417"/>
                    </a:cubicBezTo>
                    <a:cubicBezTo>
                      <a:pt x="4646083" y="232834"/>
                      <a:pt x="4572000" y="759884"/>
                      <a:pt x="4557183" y="903817"/>
                    </a:cubicBezTo>
                    <a:cubicBezTo>
                      <a:pt x="4542366" y="1047750"/>
                      <a:pt x="4531783" y="958850"/>
                      <a:pt x="4519083" y="980017"/>
                    </a:cubicBezTo>
                    <a:cubicBezTo>
                      <a:pt x="4506383" y="1001184"/>
                      <a:pt x="4502150" y="1022350"/>
                      <a:pt x="4480983" y="1030817"/>
                    </a:cubicBezTo>
                    <a:cubicBezTo>
                      <a:pt x="4459816" y="1039284"/>
                      <a:pt x="4392083" y="1030817"/>
                      <a:pt x="4392083" y="1030817"/>
                    </a:cubicBezTo>
                    <a:cubicBezTo>
                      <a:pt x="3752850" y="1035050"/>
                      <a:pt x="1291166" y="1104900"/>
                      <a:pt x="645583" y="1056217"/>
                    </a:cubicBezTo>
                    <a:cubicBezTo>
                      <a:pt x="0" y="1007534"/>
                      <a:pt x="491066" y="793750"/>
                      <a:pt x="518583" y="738717"/>
                    </a:cubicBezTo>
                    <a:cubicBezTo>
                      <a:pt x="546100" y="683684"/>
                      <a:pt x="810683" y="726017"/>
                      <a:pt x="810683" y="726017"/>
                    </a:cubicBezTo>
                  </a:path>
                </a:pathLst>
              </a:custGeom>
              <a:gradFill flip="none" rotWithShape="1">
                <a:gsLst>
                  <a:gs pos="0">
                    <a:srgbClr val="FFFFFF"/>
                  </a:gs>
                  <a:gs pos="100000">
                    <a:srgbClr val="FFFFFF">
                      <a:alpha val="0"/>
                    </a:srgbClr>
                  </a:gs>
                </a:gsLst>
                <a:lin ang="0" scaled="1"/>
                <a:tileRect/>
              </a:gra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rtl="0"/>
                <a:endParaRPr lang="es-MX" noProof="0"/>
              </a:p>
            </p:txBody>
          </p:sp>
          <p:grpSp>
            <p:nvGrpSpPr>
              <p:cNvPr id="16" name="Grupo 33">
                <a:extLst>
                  <a:ext uri="{FF2B5EF4-FFF2-40B4-BE49-F238E27FC236}">
                    <a16:creationId xmlns:a16="http://schemas.microsoft.com/office/drawing/2014/main" id="{8F895849-03F1-BB45-812D-3628374F6927}"/>
                  </a:ext>
                </a:extLst>
              </p:cNvPr>
              <p:cNvGrpSpPr/>
              <p:nvPr/>
            </p:nvGrpSpPr>
            <p:grpSpPr>
              <a:xfrm>
                <a:off x="7696128" y="685800"/>
                <a:ext cx="913101" cy="4734561"/>
                <a:chOff x="8637892" y="0"/>
                <a:chExt cx="1141376" cy="5918200"/>
              </a:xfrm>
            </p:grpSpPr>
            <p:sp>
              <p:nvSpPr>
                <p:cNvPr id="20" name="Forma libre 13">
                  <a:extLst>
                    <a:ext uri="{FF2B5EF4-FFF2-40B4-BE49-F238E27FC236}">
                      <a16:creationId xmlns:a16="http://schemas.microsoft.com/office/drawing/2014/main" id="{FFD83464-F347-9146-BDCB-B226C7D93D6D}"/>
                    </a:ext>
                  </a:extLst>
                </p:cNvPr>
                <p:cNvSpPr>
                  <a:spLocks/>
                </p:cNvSpPr>
                <p:nvPr/>
              </p:nvSpPr>
              <p:spPr bwMode="auto">
                <a:xfrm>
                  <a:off x="9166493" y="73025"/>
                  <a:ext cx="612775" cy="5773738"/>
                </a:xfrm>
                <a:custGeom>
                  <a:avLst/>
                  <a:gdLst/>
                  <a:ahLst/>
                  <a:cxnLst>
                    <a:cxn ang="0">
                      <a:pos x="0" y="7272"/>
                    </a:cxn>
                    <a:cxn ang="0">
                      <a:pos x="45" y="7262"/>
                    </a:cxn>
                    <a:cxn ang="0">
                      <a:pos x="89" y="7230"/>
                    </a:cxn>
                    <a:cxn ang="0">
                      <a:pos x="132" y="7181"/>
                    </a:cxn>
                    <a:cxn ang="0">
                      <a:pos x="173" y="7112"/>
                    </a:cxn>
                    <a:cxn ang="0">
                      <a:pos x="213" y="7026"/>
                    </a:cxn>
                    <a:cxn ang="0">
                      <a:pos x="253" y="6922"/>
                    </a:cxn>
                    <a:cxn ang="0">
                      <a:pos x="303" y="6758"/>
                    </a:cxn>
                    <a:cxn ang="0">
                      <a:pos x="371" y="6461"/>
                    </a:cxn>
                    <a:cxn ang="0">
                      <a:pos x="433" y="6107"/>
                    </a:cxn>
                    <a:cxn ang="0">
                      <a:pos x="485" y="5703"/>
                    </a:cxn>
                    <a:cxn ang="0">
                      <a:pos x="528" y="5253"/>
                    </a:cxn>
                    <a:cxn ang="0">
                      <a:pos x="561" y="4767"/>
                    </a:cxn>
                    <a:cxn ang="0">
                      <a:pos x="581" y="4246"/>
                    </a:cxn>
                    <a:cxn ang="0">
                      <a:pos x="590" y="3699"/>
                    </a:cxn>
                    <a:cxn ang="0">
                      <a:pos x="587" y="3327"/>
                    </a:cxn>
                    <a:cxn ang="0">
                      <a:pos x="573" y="2789"/>
                    </a:cxn>
                    <a:cxn ang="0">
                      <a:pos x="548" y="2279"/>
                    </a:cxn>
                    <a:cxn ang="0">
                      <a:pos x="509" y="1804"/>
                    </a:cxn>
                    <a:cxn ang="0">
                      <a:pos x="462" y="1372"/>
                    </a:cxn>
                    <a:cxn ang="0">
                      <a:pos x="404" y="987"/>
                    </a:cxn>
                    <a:cxn ang="0">
                      <a:pos x="338" y="656"/>
                    </a:cxn>
                    <a:cxn ang="0">
                      <a:pos x="277" y="426"/>
                    </a:cxn>
                    <a:cxn ang="0">
                      <a:pos x="239" y="310"/>
                    </a:cxn>
                    <a:cxn ang="0">
                      <a:pos x="198" y="211"/>
                    </a:cxn>
                    <a:cxn ang="0">
                      <a:pos x="158" y="130"/>
                    </a:cxn>
                    <a:cxn ang="0">
                      <a:pos x="115" y="68"/>
                    </a:cxn>
                    <a:cxn ang="0">
                      <a:pos x="71" y="25"/>
                    </a:cxn>
                    <a:cxn ang="0">
                      <a:pos x="25" y="2"/>
                    </a:cxn>
                    <a:cxn ang="0">
                      <a:pos x="192" y="0"/>
                    </a:cxn>
                    <a:cxn ang="0">
                      <a:pos x="238" y="15"/>
                    </a:cxn>
                    <a:cxn ang="0">
                      <a:pos x="282" y="51"/>
                    </a:cxn>
                    <a:cxn ang="0">
                      <a:pos x="325" y="108"/>
                    </a:cxn>
                    <a:cxn ang="0">
                      <a:pos x="368" y="182"/>
                    </a:cxn>
                    <a:cxn ang="0">
                      <a:pos x="408" y="275"/>
                    </a:cxn>
                    <a:cxn ang="0">
                      <a:pos x="447" y="385"/>
                    </a:cxn>
                    <a:cxn ang="0">
                      <a:pos x="497" y="559"/>
                    </a:cxn>
                    <a:cxn ang="0">
                      <a:pos x="565" y="871"/>
                    </a:cxn>
                    <a:cxn ang="0">
                      <a:pos x="626" y="1237"/>
                    </a:cxn>
                    <a:cxn ang="0">
                      <a:pos x="677" y="1655"/>
                    </a:cxn>
                    <a:cxn ang="0">
                      <a:pos x="718" y="2116"/>
                    </a:cxn>
                    <a:cxn ang="0">
                      <a:pos x="749" y="2616"/>
                    </a:cxn>
                    <a:cxn ang="0">
                      <a:pos x="767" y="3145"/>
                    </a:cxn>
                    <a:cxn ang="0">
                      <a:pos x="772" y="3699"/>
                    </a:cxn>
                    <a:cxn ang="0">
                      <a:pos x="768" y="4067"/>
                    </a:cxn>
                    <a:cxn ang="0">
                      <a:pos x="751" y="4596"/>
                    </a:cxn>
                    <a:cxn ang="0">
                      <a:pos x="723" y="5095"/>
                    </a:cxn>
                    <a:cxn ang="0">
                      <a:pos x="684" y="5557"/>
                    </a:cxn>
                    <a:cxn ang="0">
                      <a:pos x="634" y="5977"/>
                    </a:cxn>
                    <a:cxn ang="0">
                      <a:pos x="574" y="6348"/>
                    </a:cxn>
                    <a:cxn ang="0">
                      <a:pos x="508" y="6665"/>
                    </a:cxn>
                    <a:cxn ang="0">
                      <a:pos x="448" y="6883"/>
                    </a:cxn>
                    <a:cxn ang="0">
                      <a:pos x="410" y="6992"/>
                    </a:cxn>
                    <a:cxn ang="0">
                      <a:pos x="369" y="7085"/>
                    </a:cxn>
                    <a:cxn ang="0">
                      <a:pos x="328" y="7160"/>
                    </a:cxn>
                    <a:cxn ang="0">
                      <a:pos x="285" y="7217"/>
                    </a:cxn>
                    <a:cxn ang="0">
                      <a:pos x="242" y="7254"/>
                    </a:cxn>
                    <a:cxn ang="0">
                      <a:pos x="197" y="7271"/>
                    </a:cxn>
                  </a:cxnLst>
                  <a:rect l="0" t="0" r="r" b="b"/>
                  <a:pathLst>
                    <a:path w="772" h="7272">
                      <a:moveTo>
                        <a:pt x="182" y="7272"/>
                      </a:moveTo>
                      <a:lnTo>
                        <a:pt x="0" y="7272"/>
                      </a:lnTo>
                      <a:lnTo>
                        <a:pt x="0" y="7272"/>
                      </a:lnTo>
                      <a:lnTo>
                        <a:pt x="15" y="7271"/>
                      </a:lnTo>
                      <a:lnTo>
                        <a:pt x="30" y="7268"/>
                      </a:lnTo>
                      <a:lnTo>
                        <a:pt x="45" y="7262"/>
                      </a:lnTo>
                      <a:lnTo>
                        <a:pt x="60" y="7254"/>
                      </a:lnTo>
                      <a:lnTo>
                        <a:pt x="74" y="7243"/>
                      </a:lnTo>
                      <a:lnTo>
                        <a:pt x="89" y="7230"/>
                      </a:lnTo>
                      <a:lnTo>
                        <a:pt x="103" y="7217"/>
                      </a:lnTo>
                      <a:lnTo>
                        <a:pt x="117" y="7200"/>
                      </a:lnTo>
                      <a:lnTo>
                        <a:pt x="132" y="7181"/>
                      </a:lnTo>
                      <a:lnTo>
                        <a:pt x="146" y="7160"/>
                      </a:lnTo>
                      <a:lnTo>
                        <a:pt x="160" y="7138"/>
                      </a:lnTo>
                      <a:lnTo>
                        <a:pt x="173" y="7112"/>
                      </a:lnTo>
                      <a:lnTo>
                        <a:pt x="187" y="7085"/>
                      </a:lnTo>
                      <a:lnTo>
                        <a:pt x="201" y="7056"/>
                      </a:lnTo>
                      <a:lnTo>
                        <a:pt x="213" y="7026"/>
                      </a:lnTo>
                      <a:lnTo>
                        <a:pt x="227" y="6992"/>
                      </a:lnTo>
                      <a:lnTo>
                        <a:pt x="240" y="6959"/>
                      </a:lnTo>
                      <a:lnTo>
                        <a:pt x="253" y="6922"/>
                      </a:lnTo>
                      <a:lnTo>
                        <a:pt x="266" y="6883"/>
                      </a:lnTo>
                      <a:lnTo>
                        <a:pt x="278" y="6844"/>
                      </a:lnTo>
                      <a:lnTo>
                        <a:pt x="303" y="6758"/>
                      </a:lnTo>
                      <a:lnTo>
                        <a:pt x="326" y="6665"/>
                      </a:lnTo>
                      <a:lnTo>
                        <a:pt x="349" y="6566"/>
                      </a:lnTo>
                      <a:lnTo>
                        <a:pt x="371" y="6461"/>
                      </a:lnTo>
                      <a:lnTo>
                        <a:pt x="392" y="6348"/>
                      </a:lnTo>
                      <a:lnTo>
                        <a:pt x="413" y="6231"/>
                      </a:lnTo>
                      <a:lnTo>
                        <a:pt x="433" y="6107"/>
                      </a:lnTo>
                      <a:lnTo>
                        <a:pt x="451" y="5977"/>
                      </a:lnTo>
                      <a:lnTo>
                        <a:pt x="469" y="5842"/>
                      </a:lnTo>
                      <a:lnTo>
                        <a:pt x="485" y="5703"/>
                      </a:lnTo>
                      <a:lnTo>
                        <a:pt x="500" y="5557"/>
                      </a:lnTo>
                      <a:lnTo>
                        <a:pt x="515" y="5408"/>
                      </a:lnTo>
                      <a:lnTo>
                        <a:pt x="528" y="5253"/>
                      </a:lnTo>
                      <a:lnTo>
                        <a:pt x="541" y="5095"/>
                      </a:lnTo>
                      <a:lnTo>
                        <a:pt x="551" y="4933"/>
                      </a:lnTo>
                      <a:lnTo>
                        <a:pt x="561" y="4767"/>
                      </a:lnTo>
                      <a:lnTo>
                        <a:pt x="569" y="4596"/>
                      </a:lnTo>
                      <a:lnTo>
                        <a:pt x="576" y="4423"/>
                      </a:lnTo>
                      <a:lnTo>
                        <a:pt x="581" y="4246"/>
                      </a:lnTo>
                      <a:lnTo>
                        <a:pt x="586" y="4067"/>
                      </a:lnTo>
                      <a:lnTo>
                        <a:pt x="588" y="3885"/>
                      </a:lnTo>
                      <a:lnTo>
                        <a:pt x="590" y="3699"/>
                      </a:lnTo>
                      <a:lnTo>
                        <a:pt x="590" y="3699"/>
                      </a:lnTo>
                      <a:lnTo>
                        <a:pt x="590" y="3512"/>
                      </a:lnTo>
                      <a:lnTo>
                        <a:pt x="587" y="3327"/>
                      </a:lnTo>
                      <a:lnTo>
                        <a:pt x="585" y="3145"/>
                      </a:lnTo>
                      <a:lnTo>
                        <a:pt x="580" y="2965"/>
                      </a:lnTo>
                      <a:lnTo>
                        <a:pt x="573" y="2789"/>
                      </a:lnTo>
                      <a:lnTo>
                        <a:pt x="566" y="2616"/>
                      </a:lnTo>
                      <a:lnTo>
                        <a:pt x="557" y="2445"/>
                      </a:lnTo>
                      <a:lnTo>
                        <a:pt x="548" y="2279"/>
                      </a:lnTo>
                      <a:lnTo>
                        <a:pt x="536" y="2116"/>
                      </a:lnTo>
                      <a:lnTo>
                        <a:pt x="523" y="1958"/>
                      </a:lnTo>
                      <a:lnTo>
                        <a:pt x="509" y="1804"/>
                      </a:lnTo>
                      <a:lnTo>
                        <a:pt x="494" y="1655"/>
                      </a:lnTo>
                      <a:lnTo>
                        <a:pt x="478" y="1511"/>
                      </a:lnTo>
                      <a:lnTo>
                        <a:pt x="462" y="1372"/>
                      </a:lnTo>
                      <a:lnTo>
                        <a:pt x="443" y="1237"/>
                      </a:lnTo>
                      <a:lnTo>
                        <a:pt x="425" y="1110"/>
                      </a:lnTo>
                      <a:lnTo>
                        <a:pt x="404" y="987"/>
                      </a:lnTo>
                      <a:lnTo>
                        <a:pt x="383" y="871"/>
                      </a:lnTo>
                      <a:lnTo>
                        <a:pt x="361" y="760"/>
                      </a:lnTo>
                      <a:lnTo>
                        <a:pt x="338" y="656"/>
                      </a:lnTo>
                      <a:lnTo>
                        <a:pt x="314" y="559"/>
                      </a:lnTo>
                      <a:lnTo>
                        <a:pt x="290" y="469"/>
                      </a:lnTo>
                      <a:lnTo>
                        <a:pt x="277" y="426"/>
                      </a:lnTo>
                      <a:lnTo>
                        <a:pt x="264" y="385"/>
                      </a:lnTo>
                      <a:lnTo>
                        <a:pt x="252" y="347"/>
                      </a:lnTo>
                      <a:lnTo>
                        <a:pt x="239" y="310"/>
                      </a:lnTo>
                      <a:lnTo>
                        <a:pt x="226" y="275"/>
                      </a:lnTo>
                      <a:lnTo>
                        <a:pt x="212" y="243"/>
                      </a:lnTo>
                      <a:lnTo>
                        <a:pt x="198" y="211"/>
                      </a:lnTo>
                      <a:lnTo>
                        <a:pt x="185" y="182"/>
                      </a:lnTo>
                      <a:lnTo>
                        <a:pt x="172" y="155"/>
                      </a:lnTo>
                      <a:lnTo>
                        <a:pt x="158" y="130"/>
                      </a:lnTo>
                      <a:lnTo>
                        <a:pt x="143" y="108"/>
                      </a:lnTo>
                      <a:lnTo>
                        <a:pt x="129" y="87"/>
                      </a:lnTo>
                      <a:lnTo>
                        <a:pt x="115" y="68"/>
                      </a:lnTo>
                      <a:lnTo>
                        <a:pt x="100" y="51"/>
                      </a:lnTo>
                      <a:lnTo>
                        <a:pt x="86" y="37"/>
                      </a:lnTo>
                      <a:lnTo>
                        <a:pt x="71" y="25"/>
                      </a:lnTo>
                      <a:lnTo>
                        <a:pt x="55" y="15"/>
                      </a:lnTo>
                      <a:lnTo>
                        <a:pt x="40" y="8"/>
                      </a:lnTo>
                      <a:lnTo>
                        <a:pt x="25" y="2"/>
                      </a:lnTo>
                      <a:lnTo>
                        <a:pt x="10" y="0"/>
                      </a:lnTo>
                      <a:lnTo>
                        <a:pt x="192" y="0"/>
                      </a:lnTo>
                      <a:lnTo>
                        <a:pt x="192" y="0"/>
                      </a:lnTo>
                      <a:lnTo>
                        <a:pt x="208" y="2"/>
                      </a:lnTo>
                      <a:lnTo>
                        <a:pt x="223" y="8"/>
                      </a:lnTo>
                      <a:lnTo>
                        <a:pt x="238" y="15"/>
                      </a:lnTo>
                      <a:lnTo>
                        <a:pt x="253" y="25"/>
                      </a:lnTo>
                      <a:lnTo>
                        <a:pt x="268" y="37"/>
                      </a:lnTo>
                      <a:lnTo>
                        <a:pt x="282" y="51"/>
                      </a:lnTo>
                      <a:lnTo>
                        <a:pt x="297" y="68"/>
                      </a:lnTo>
                      <a:lnTo>
                        <a:pt x="311" y="87"/>
                      </a:lnTo>
                      <a:lnTo>
                        <a:pt x="325" y="108"/>
                      </a:lnTo>
                      <a:lnTo>
                        <a:pt x="340" y="130"/>
                      </a:lnTo>
                      <a:lnTo>
                        <a:pt x="354" y="155"/>
                      </a:lnTo>
                      <a:lnTo>
                        <a:pt x="368" y="182"/>
                      </a:lnTo>
                      <a:lnTo>
                        <a:pt x="381" y="211"/>
                      </a:lnTo>
                      <a:lnTo>
                        <a:pt x="395" y="243"/>
                      </a:lnTo>
                      <a:lnTo>
                        <a:pt x="408" y="275"/>
                      </a:lnTo>
                      <a:lnTo>
                        <a:pt x="421" y="310"/>
                      </a:lnTo>
                      <a:lnTo>
                        <a:pt x="434" y="347"/>
                      </a:lnTo>
                      <a:lnTo>
                        <a:pt x="447" y="385"/>
                      </a:lnTo>
                      <a:lnTo>
                        <a:pt x="460" y="426"/>
                      </a:lnTo>
                      <a:lnTo>
                        <a:pt x="472" y="469"/>
                      </a:lnTo>
                      <a:lnTo>
                        <a:pt x="497" y="559"/>
                      </a:lnTo>
                      <a:lnTo>
                        <a:pt x="520" y="656"/>
                      </a:lnTo>
                      <a:lnTo>
                        <a:pt x="543" y="760"/>
                      </a:lnTo>
                      <a:lnTo>
                        <a:pt x="565" y="871"/>
                      </a:lnTo>
                      <a:lnTo>
                        <a:pt x="586" y="987"/>
                      </a:lnTo>
                      <a:lnTo>
                        <a:pt x="607" y="1110"/>
                      </a:lnTo>
                      <a:lnTo>
                        <a:pt x="626" y="1237"/>
                      </a:lnTo>
                      <a:lnTo>
                        <a:pt x="644" y="1372"/>
                      </a:lnTo>
                      <a:lnTo>
                        <a:pt x="660" y="1511"/>
                      </a:lnTo>
                      <a:lnTo>
                        <a:pt x="677" y="1655"/>
                      </a:lnTo>
                      <a:lnTo>
                        <a:pt x="692" y="1804"/>
                      </a:lnTo>
                      <a:lnTo>
                        <a:pt x="706" y="1958"/>
                      </a:lnTo>
                      <a:lnTo>
                        <a:pt x="718" y="2116"/>
                      </a:lnTo>
                      <a:lnTo>
                        <a:pt x="730" y="2279"/>
                      </a:lnTo>
                      <a:lnTo>
                        <a:pt x="739" y="2445"/>
                      </a:lnTo>
                      <a:lnTo>
                        <a:pt x="749" y="2616"/>
                      </a:lnTo>
                      <a:lnTo>
                        <a:pt x="756" y="2789"/>
                      </a:lnTo>
                      <a:lnTo>
                        <a:pt x="763" y="2965"/>
                      </a:lnTo>
                      <a:lnTo>
                        <a:pt x="767" y="3145"/>
                      </a:lnTo>
                      <a:lnTo>
                        <a:pt x="770" y="3327"/>
                      </a:lnTo>
                      <a:lnTo>
                        <a:pt x="772" y="3512"/>
                      </a:lnTo>
                      <a:lnTo>
                        <a:pt x="772" y="3699"/>
                      </a:lnTo>
                      <a:lnTo>
                        <a:pt x="772" y="3699"/>
                      </a:lnTo>
                      <a:lnTo>
                        <a:pt x="771" y="3885"/>
                      </a:lnTo>
                      <a:lnTo>
                        <a:pt x="768" y="4067"/>
                      </a:lnTo>
                      <a:lnTo>
                        <a:pt x="764" y="4246"/>
                      </a:lnTo>
                      <a:lnTo>
                        <a:pt x="758" y="4423"/>
                      </a:lnTo>
                      <a:lnTo>
                        <a:pt x="751" y="4596"/>
                      </a:lnTo>
                      <a:lnTo>
                        <a:pt x="743" y="4767"/>
                      </a:lnTo>
                      <a:lnTo>
                        <a:pt x="734" y="4933"/>
                      </a:lnTo>
                      <a:lnTo>
                        <a:pt x="723" y="5095"/>
                      </a:lnTo>
                      <a:lnTo>
                        <a:pt x="710" y="5253"/>
                      </a:lnTo>
                      <a:lnTo>
                        <a:pt x="698" y="5408"/>
                      </a:lnTo>
                      <a:lnTo>
                        <a:pt x="684" y="5557"/>
                      </a:lnTo>
                      <a:lnTo>
                        <a:pt x="667" y="5703"/>
                      </a:lnTo>
                      <a:lnTo>
                        <a:pt x="651" y="5842"/>
                      </a:lnTo>
                      <a:lnTo>
                        <a:pt x="634" y="5977"/>
                      </a:lnTo>
                      <a:lnTo>
                        <a:pt x="615" y="6107"/>
                      </a:lnTo>
                      <a:lnTo>
                        <a:pt x="595" y="6231"/>
                      </a:lnTo>
                      <a:lnTo>
                        <a:pt x="574" y="6348"/>
                      </a:lnTo>
                      <a:lnTo>
                        <a:pt x="554" y="6461"/>
                      </a:lnTo>
                      <a:lnTo>
                        <a:pt x="532" y="6566"/>
                      </a:lnTo>
                      <a:lnTo>
                        <a:pt x="508" y="6665"/>
                      </a:lnTo>
                      <a:lnTo>
                        <a:pt x="485" y="6758"/>
                      </a:lnTo>
                      <a:lnTo>
                        <a:pt x="461" y="6844"/>
                      </a:lnTo>
                      <a:lnTo>
                        <a:pt x="448" y="6883"/>
                      </a:lnTo>
                      <a:lnTo>
                        <a:pt x="435" y="6922"/>
                      </a:lnTo>
                      <a:lnTo>
                        <a:pt x="422" y="6959"/>
                      </a:lnTo>
                      <a:lnTo>
                        <a:pt x="410" y="6992"/>
                      </a:lnTo>
                      <a:lnTo>
                        <a:pt x="396" y="7026"/>
                      </a:lnTo>
                      <a:lnTo>
                        <a:pt x="383" y="7056"/>
                      </a:lnTo>
                      <a:lnTo>
                        <a:pt x="369" y="7085"/>
                      </a:lnTo>
                      <a:lnTo>
                        <a:pt x="355" y="7112"/>
                      </a:lnTo>
                      <a:lnTo>
                        <a:pt x="342" y="7138"/>
                      </a:lnTo>
                      <a:lnTo>
                        <a:pt x="328" y="7160"/>
                      </a:lnTo>
                      <a:lnTo>
                        <a:pt x="314" y="7181"/>
                      </a:lnTo>
                      <a:lnTo>
                        <a:pt x="299" y="7200"/>
                      </a:lnTo>
                      <a:lnTo>
                        <a:pt x="285" y="7217"/>
                      </a:lnTo>
                      <a:lnTo>
                        <a:pt x="271" y="7230"/>
                      </a:lnTo>
                      <a:lnTo>
                        <a:pt x="256" y="7243"/>
                      </a:lnTo>
                      <a:lnTo>
                        <a:pt x="242" y="7254"/>
                      </a:lnTo>
                      <a:lnTo>
                        <a:pt x="227" y="7262"/>
                      </a:lnTo>
                      <a:lnTo>
                        <a:pt x="212" y="7268"/>
                      </a:lnTo>
                      <a:lnTo>
                        <a:pt x="197" y="7271"/>
                      </a:lnTo>
                      <a:lnTo>
                        <a:pt x="182" y="7272"/>
                      </a:lnTo>
                      <a:lnTo>
                        <a:pt x="182" y="7272"/>
                      </a:lnTo>
                      <a:close/>
                    </a:path>
                  </a:pathLst>
                </a:custGeom>
                <a:gradFill flip="none" rotWithShape="1">
                  <a:gsLst>
                    <a:gs pos="0">
                      <a:schemeClr val="accent6">
                        <a:lumMod val="75000"/>
                      </a:schemeClr>
                    </a:gs>
                    <a:gs pos="100000">
                      <a:schemeClr val="accent6">
                        <a:lumMod val="50000"/>
                      </a:schemeClr>
                    </a:gs>
                    <a:gs pos="55000">
                      <a:schemeClr val="accent6">
                        <a:lumMod val="50000"/>
                      </a:schemeClr>
                    </a:gs>
                    <a:gs pos="78000">
                      <a:schemeClr val="accent6">
                        <a:lumMod val="60000"/>
                        <a:lumOff val="40000"/>
                      </a:schemeClr>
                    </a:gs>
                  </a:gsLst>
                  <a:lin ang="162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1" name="Forma libre 14">
                  <a:extLst>
                    <a:ext uri="{FF2B5EF4-FFF2-40B4-BE49-F238E27FC236}">
                      <a16:creationId xmlns:a16="http://schemas.microsoft.com/office/drawing/2014/main" id="{4BBB1A35-4B6A-6544-A44A-4F176CA69903}"/>
                    </a:ext>
                  </a:extLst>
                </p:cNvPr>
                <p:cNvSpPr>
                  <a:spLocks/>
                </p:cNvSpPr>
                <p:nvPr/>
              </p:nvSpPr>
              <p:spPr bwMode="auto">
                <a:xfrm>
                  <a:off x="8637892" y="0"/>
                  <a:ext cx="658813" cy="5918200"/>
                </a:xfrm>
                <a:custGeom>
                  <a:avLst/>
                  <a:gdLst/>
                  <a:ahLst/>
                  <a:cxnLst>
                    <a:cxn ang="0">
                      <a:pos x="829" y="0"/>
                    </a:cxn>
                    <a:cxn ang="0">
                      <a:pos x="783" y="10"/>
                    </a:cxn>
                    <a:cxn ang="0">
                      <a:pos x="738" y="42"/>
                    </a:cxn>
                    <a:cxn ang="0">
                      <a:pos x="694" y="93"/>
                    </a:cxn>
                    <a:cxn ang="0">
                      <a:pos x="651" y="164"/>
                    </a:cxn>
                    <a:cxn ang="0">
                      <a:pos x="610" y="252"/>
                    </a:cxn>
                    <a:cxn ang="0">
                      <a:pos x="570" y="359"/>
                    </a:cxn>
                    <a:cxn ang="0">
                      <a:pos x="519" y="527"/>
                    </a:cxn>
                    <a:cxn ang="0">
                      <a:pos x="448" y="832"/>
                    </a:cxn>
                    <a:cxn ang="0">
                      <a:pos x="385" y="1195"/>
                    </a:cxn>
                    <a:cxn ang="0">
                      <a:pos x="331" y="1609"/>
                    </a:cxn>
                    <a:cxn ang="0">
                      <a:pos x="288" y="2069"/>
                    </a:cxn>
                    <a:cxn ang="0">
                      <a:pos x="254" y="2569"/>
                    </a:cxn>
                    <a:cxn ang="0">
                      <a:pos x="233" y="3102"/>
                    </a:cxn>
                    <a:cxn ang="0">
                      <a:pos x="224" y="3664"/>
                    </a:cxn>
                    <a:cxn ang="0">
                      <a:pos x="226" y="4045"/>
                    </a:cxn>
                    <a:cxn ang="0">
                      <a:pos x="240" y="4597"/>
                    </a:cxn>
                    <a:cxn ang="0">
                      <a:pos x="268" y="5120"/>
                    </a:cxn>
                    <a:cxn ang="0">
                      <a:pos x="306" y="5606"/>
                    </a:cxn>
                    <a:cxn ang="0">
                      <a:pos x="355" y="6050"/>
                    </a:cxn>
                    <a:cxn ang="0">
                      <a:pos x="414" y="6445"/>
                    </a:cxn>
                    <a:cxn ang="0">
                      <a:pos x="482" y="6784"/>
                    </a:cxn>
                    <a:cxn ang="0">
                      <a:pos x="545" y="7019"/>
                    </a:cxn>
                    <a:cxn ang="0">
                      <a:pos x="584" y="7139"/>
                    </a:cxn>
                    <a:cxn ang="0">
                      <a:pos x="625" y="7240"/>
                    </a:cxn>
                    <a:cxn ang="0">
                      <a:pos x="668" y="7323"/>
                    </a:cxn>
                    <a:cxn ang="0">
                      <a:pos x="712" y="7387"/>
                    </a:cxn>
                    <a:cxn ang="0">
                      <a:pos x="757" y="7431"/>
                    </a:cxn>
                    <a:cxn ang="0">
                      <a:pos x="803" y="7453"/>
                    </a:cxn>
                    <a:cxn ang="0">
                      <a:pos x="829" y="7457"/>
                    </a:cxn>
                    <a:cxn ang="0">
                      <a:pos x="633" y="7362"/>
                    </a:cxn>
                    <a:cxn ang="0">
                      <a:pos x="579" y="7335"/>
                    </a:cxn>
                    <a:cxn ang="0">
                      <a:pos x="534" y="7298"/>
                    </a:cxn>
                    <a:cxn ang="0">
                      <a:pos x="490" y="7245"/>
                    </a:cxn>
                    <a:cxn ang="0">
                      <a:pos x="446" y="7175"/>
                    </a:cxn>
                    <a:cxn ang="0">
                      <a:pos x="404" y="7089"/>
                    </a:cxn>
                    <a:cxn ang="0">
                      <a:pos x="363" y="6989"/>
                    </a:cxn>
                    <a:cxn ang="0">
                      <a:pos x="286" y="6744"/>
                    </a:cxn>
                    <a:cxn ang="0">
                      <a:pos x="215" y="6443"/>
                    </a:cxn>
                    <a:cxn ang="0">
                      <a:pos x="153" y="6090"/>
                    </a:cxn>
                    <a:cxn ang="0">
                      <a:pos x="100" y="5689"/>
                    </a:cxn>
                    <a:cxn ang="0">
                      <a:pos x="57" y="5243"/>
                    </a:cxn>
                    <a:cxn ang="0">
                      <a:pos x="25" y="4753"/>
                    </a:cxn>
                    <a:cxn ang="0">
                      <a:pos x="6" y="4226"/>
                    </a:cxn>
                    <a:cxn ang="0">
                      <a:pos x="0" y="3664"/>
                    </a:cxn>
                    <a:cxn ang="0">
                      <a:pos x="5" y="3289"/>
                    </a:cxn>
                    <a:cxn ang="0">
                      <a:pos x="22" y="2760"/>
                    </a:cxn>
                    <a:cxn ang="0">
                      <a:pos x="51" y="2271"/>
                    </a:cxn>
                    <a:cxn ang="0">
                      <a:pos x="92" y="1824"/>
                    </a:cxn>
                    <a:cxn ang="0">
                      <a:pos x="143" y="1422"/>
                    </a:cxn>
                    <a:cxn ang="0">
                      <a:pos x="203" y="1068"/>
                    </a:cxn>
                    <a:cxn ang="0">
                      <a:pos x="270" y="765"/>
                    </a:cxn>
                    <a:cxn ang="0">
                      <a:pos x="346" y="515"/>
                    </a:cxn>
                    <a:cxn ang="0">
                      <a:pos x="387" y="411"/>
                    </a:cxn>
                    <a:cxn ang="0">
                      <a:pos x="427" y="322"/>
                    </a:cxn>
                    <a:cxn ang="0">
                      <a:pos x="470" y="246"/>
                    </a:cxn>
                    <a:cxn ang="0">
                      <a:pos x="514" y="187"/>
                    </a:cxn>
                    <a:cxn ang="0">
                      <a:pos x="560" y="142"/>
                    </a:cxn>
                    <a:cxn ang="0">
                      <a:pos x="605" y="113"/>
                    </a:cxn>
                  </a:cxnLst>
                  <a:rect l="0" t="0" r="r" b="b"/>
                  <a:pathLst>
                    <a:path w="829" h="7457">
                      <a:moveTo>
                        <a:pt x="605" y="113"/>
                      </a:moveTo>
                      <a:lnTo>
                        <a:pt x="829" y="0"/>
                      </a:lnTo>
                      <a:lnTo>
                        <a:pt x="829" y="0"/>
                      </a:lnTo>
                      <a:lnTo>
                        <a:pt x="814" y="1"/>
                      </a:lnTo>
                      <a:lnTo>
                        <a:pt x="799" y="5"/>
                      </a:lnTo>
                      <a:lnTo>
                        <a:pt x="783" y="10"/>
                      </a:lnTo>
                      <a:lnTo>
                        <a:pt x="767" y="19"/>
                      </a:lnTo>
                      <a:lnTo>
                        <a:pt x="754" y="29"/>
                      </a:lnTo>
                      <a:lnTo>
                        <a:pt x="738" y="42"/>
                      </a:lnTo>
                      <a:lnTo>
                        <a:pt x="723" y="57"/>
                      </a:lnTo>
                      <a:lnTo>
                        <a:pt x="708" y="74"/>
                      </a:lnTo>
                      <a:lnTo>
                        <a:pt x="694" y="93"/>
                      </a:lnTo>
                      <a:lnTo>
                        <a:pt x="680" y="114"/>
                      </a:lnTo>
                      <a:lnTo>
                        <a:pt x="665" y="138"/>
                      </a:lnTo>
                      <a:lnTo>
                        <a:pt x="651" y="164"/>
                      </a:lnTo>
                      <a:lnTo>
                        <a:pt x="637" y="192"/>
                      </a:lnTo>
                      <a:lnTo>
                        <a:pt x="623" y="221"/>
                      </a:lnTo>
                      <a:lnTo>
                        <a:pt x="610" y="252"/>
                      </a:lnTo>
                      <a:lnTo>
                        <a:pt x="597" y="286"/>
                      </a:lnTo>
                      <a:lnTo>
                        <a:pt x="583" y="322"/>
                      </a:lnTo>
                      <a:lnTo>
                        <a:pt x="570" y="359"/>
                      </a:lnTo>
                      <a:lnTo>
                        <a:pt x="557" y="398"/>
                      </a:lnTo>
                      <a:lnTo>
                        <a:pt x="545" y="439"/>
                      </a:lnTo>
                      <a:lnTo>
                        <a:pt x="519" y="527"/>
                      </a:lnTo>
                      <a:lnTo>
                        <a:pt x="495" y="622"/>
                      </a:lnTo>
                      <a:lnTo>
                        <a:pt x="471" y="723"/>
                      </a:lnTo>
                      <a:lnTo>
                        <a:pt x="448" y="832"/>
                      </a:lnTo>
                      <a:lnTo>
                        <a:pt x="426" y="947"/>
                      </a:lnTo>
                      <a:lnTo>
                        <a:pt x="405" y="1068"/>
                      </a:lnTo>
                      <a:lnTo>
                        <a:pt x="385" y="1195"/>
                      </a:lnTo>
                      <a:lnTo>
                        <a:pt x="367" y="1327"/>
                      </a:lnTo>
                      <a:lnTo>
                        <a:pt x="348" y="1465"/>
                      </a:lnTo>
                      <a:lnTo>
                        <a:pt x="331" y="1609"/>
                      </a:lnTo>
                      <a:lnTo>
                        <a:pt x="316" y="1758"/>
                      </a:lnTo>
                      <a:lnTo>
                        <a:pt x="301" y="1911"/>
                      </a:lnTo>
                      <a:lnTo>
                        <a:pt x="288" y="2069"/>
                      </a:lnTo>
                      <a:lnTo>
                        <a:pt x="275" y="2231"/>
                      </a:lnTo>
                      <a:lnTo>
                        <a:pt x="263" y="2399"/>
                      </a:lnTo>
                      <a:lnTo>
                        <a:pt x="254" y="2569"/>
                      </a:lnTo>
                      <a:lnTo>
                        <a:pt x="246" y="2743"/>
                      </a:lnTo>
                      <a:lnTo>
                        <a:pt x="238" y="2921"/>
                      </a:lnTo>
                      <a:lnTo>
                        <a:pt x="233" y="3102"/>
                      </a:lnTo>
                      <a:lnTo>
                        <a:pt x="229" y="3287"/>
                      </a:lnTo>
                      <a:lnTo>
                        <a:pt x="225" y="3474"/>
                      </a:lnTo>
                      <a:lnTo>
                        <a:pt x="224" y="3664"/>
                      </a:lnTo>
                      <a:lnTo>
                        <a:pt x="224" y="3664"/>
                      </a:lnTo>
                      <a:lnTo>
                        <a:pt x="225" y="3856"/>
                      </a:lnTo>
                      <a:lnTo>
                        <a:pt x="226" y="4045"/>
                      </a:lnTo>
                      <a:lnTo>
                        <a:pt x="230" y="4232"/>
                      </a:lnTo>
                      <a:lnTo>
                        <a:pt x="234" y="4416"/>
                      </a:lnTo>
                      <a:lnTo>
                        <a:pt x="240" y="4597"/>
                      </a:lnTo>
                      <a:lnTo>
                        <a:pt x="248" y="4775"/>
                      </a:lnTo>
                      <a:lnTo>
                        <a:pt x="258" y="4949"/>
                      </a:lnTo>
                      <a:lnTo>
                        <a:pt x="268" y="5120"/>
                      </a:lnTo>
                      <a:lnTo>
                        <a:pt x="280" y="5286"/>
                      </a:lnTo>
                      <a:lnTo>
                        <a:pt x="293" y="5448"/>
                      </a:lnTo>
                      <a:lnTo>
                        <a:pt x="306" y="5606"/>
                      </a:lnTo>
                      <a:lnTo>
                        <a:pt x="322" y="5760"/>
                      </a:lnTo>
                      <a:lnTo>
                        <a:pt x="338" y="5907"/>
                      </a:lnTo>
                      <a:lnTo>
                        <a:pt x="355" y="6050"/>
                      </a:lnTo>
                      <a:lnTo>
                        <a:pt x="375" y="6187"/>
                      </a:lnTo>
                      <a:lnTo>
                        <a:pt x="394" y="6319"/>
                      </a:lnTo>
                      <a:lnTo>
                        <a:pt x="414" y="6445"/>
                      </a:lnTo>
                      <a:lnTo>
                        <a:pt x="437" y="6564"/>
                      </a:lnTo>
                      <a:lnTo>
                        <a:pt x="459" y="6677"/>
                      </a:lnTo>
                      <a:lnTo>
                        <a:pt x="482" y="6784"/>
                      </a:lnTo>
                      <a:lnTo>
                        <a:pt x="506" y="6883"/>
                      </a:lnTo>
                      <a:lnTo>
                        <a:pt x="532" y="6975"/>
                      </a:lnTo>
                      <a:lnTo>
                        <a:pt x="545" y="7019"/>
                      </a:lnTo>
                      <a:lnTo>
                        <a:pt x="557" y="7061"/>
                      </a:lnTo>
                      <a:lnTo>
                        <a:pt x="571" y="7101"/>
                      </a:lnTo>
                      <a:lnTo>
                        <a:pt x="584" y="7139"/>
                      </a:lnTo>
                      <a:lnTo>
                        <a:pt x="598" y="7175"/>
                      </a:lnTo>
                      <a:lnTo>
                        <a:pt x="612" y="7209"/>
                      </a:lnTo>
                      <a:lnTo>
                        <a:pt x="625" y="7240"/>
                      </a:lnTo>
                      <a:lnTo>
                        <a:pt x="640" y="7270"/>
                      </a:lnTo>
                      <a:lnTo>
                        <a:pt x="654" y="7298"/>
                      </a:lnTo>
                      <a:lnTo>
                        <a:pt x="668" y="7323"/>
                      </a:lnTo>
                      <a:lnTo>
                        <a:pt x="683" y="7347"/>
                      </a:lnTo>
                      <a:lnTo>
                        <a:pt x="697" y="7368"/>
                      </a:lnTo>
                      <a:lnTo>
                        <a:pt x="712" y="7387"/>
                      </a:lnTo>
                      <a:lnTo>
                        <a:pt x="727" y="7404"/>
                      </a:lnTo>
                      <a:lnTo>
                        <a:pt x="742" y="7419"/>
                      </a:lnTo>
                      <a:lnTo>
                        <a:pt x="757" y="7431"/>
                      </a:lnTo>
                      <a:lnTo>
                        <a:pt x="772" y="7441"/>
                      </a:lnTo>
                      <a:lnTo>
                        <a:pt x="787" y="7449"/>
                      </a:lnTo>
                      <a:lnTo>
                        <a:pt x="803" y="7453"/>
                      </a:lnTo>
                      <a:lnTo>
                        <a:pt x="819" y="7457"/>
                      </a:lnTo>
                      <a:lnTo>
                        <a:pt x="819" y="7457"/>
                      </a:lnTo>
                      <a:lnTo>
                        <a:pt x="829" y="7457"/>
                      </a:lnTo>
                      <a:lnTo>
                        <a:pt x="829" y="7457"/>
                      </a:lnTo>
                      <a:lnTo>
                        <a:pt x="713" y="7401"/>
                      </a:lnTo>
                      <a:lnTo>
                        <a:pt x="633" y="7362"/>
                      </a:lnTo>
                      <a:lnTo>
                        <a:pt x="594" y="7344"/>
                      </a:lnTo>
                      <a:lnTo>
                        <a:pt x="594" y="7344"/>
                      </a:lnTo>
                      <a:lnTo>
                        <a:pt x="579" y="7335"/>
                      </a:lnTo>
                      <a:lnTo>
                        <a:pt x="564" y="7325"/>
                      </a:lnTo>
                      <a:lnTo>
                        <a:pt x="549" y="7313"/>
                      </a:lnTo>
                      <a:lnTo>
                        <a:pt x="534" y="7298"/>
                      </a:lnTo>
                      <a:lnTo>
                        <a:pt x="519" y="7282"/>
                      </a:lnTo>
                      <a:lnTo>
                        <a:pt x="504" y="7264"/>
                      </a:lnTo>
                      <a:lnTo>
                        <a:pt x="490" y="7245"/>
                      </a:lnTo>
                      <a:lnTo>
                        <a:pt x="475" y="7224"/>
                      </a:lnTo>
                      <a:lnTo>
                        <a:pt x="461" y="7199"/>
                      </a:lnTo>
                      <a:lnTo>
                        <a:pt x="446" y="7175"/>
                      </a:lnTo>
                      <a:lnTo>
                        <a:pt x="432" y="7148"/>
                      </a:lnTo>
                      <a:lnTo>
                        <a:pt x="418" y="7119"/>
                      </a:lnTo>
                      <a:lnTo>
                        <a:pt x="404" y="7089"/>
                      </a:lnTo>
                      <a:lnTo>
                        <a:pt x="390" y="7058"/>
                      </a:lnTo>
                      <a:lnTo>
                        <a:pt x="376" y="7024"/>
                      </a:lnTo>
                      <a:lnTo>
                        <a:pt x="363" y="6989"/>
                      </a:lnTo>
                      <a:lnTo>
                        <a:pt x="337" y="6914"/>
                      </a:lnTo>
                      <a:lnTo>
                        <a:pt x="311" y="6832"/>
                      </a:lnTo>
                      <a:lnTo>
                        <a:pt x="286" y="6744"/>
                      </a:lnTo>
                      <a:lnTo>
                        <a:pt x="261" y="6650"/>
                      </a:lnTo>
                      <a:lnTo>
                        <a:pt x="238" y="6550"/>
                      </a:lnTo>
                      <a:lnTo>
                        <a:pt x="215" y="6443"/>
                      </a:lnTo>
                      <a:lnTo>
                        <a:pt x="194" y="6332"/>
                      </a:lnTo>
                      <a:lnTo>
                        <a:pt x="173" y="6214"/>
                      </a:lnTo>
                      <a:lnTo>
                        <a:pt x="153" y="6090"/>
                      </a:lnTo>
                      <a:lnTo>
                        <a:pt x="133" y="5963"/>
                      </a:lnTo>
                      <a:lnTo>
                        <a:pt x="116" y="5828"/>
                      </a:lnTo>
                      <a:lnTo>
                        <a:pt x="100" y="5689"/>
                      </a:lnTo>
                      <a:lnTo>
                        <a:pt x="84" y="5545"/>
                      </a:lnTo>
                      <a:lnTo>
                        <a:pt x="70" y="5396"/>
                      </a:lnTo>
                      <a:lnTo>
                        <a:pt x="57" y="5243"/>
                      </a:lnTo>
                      <a:lnTo>
                        <a:pt x="45" y="5084"/>
                      </a:lnTo>
                      <a:lnTo>
                        <a:pt x="34" y="4921"/>
                      </a:lnTo>
                      <a:lnTo>
                        <a:pt x="25" y="4753"/>
                      </a:lnTo>
                      <a:lnTo>
                        <a:pt x="17" y="4582"/>
                      </a:lnTo>
                      <a:lnTo>
                        <a:pt x="10" y="4406"/>
                      </a:lnTo>
                      <a:lnTo>
                        <a:pt x="6" y="4226"/>
                      </a:lnTo>
                      <a:lnTo>
                        <a:pt x="2" y="4043"/>
                      </a:lnTo>
                      <a:lnTo>
                        <a:pt x="1" y="3854"/>
                      </a:lnTo>
                      <a:lnTo>
                        <a:pt x="0" y="3664"/>
                      </a:lnTo>
                      <a:lnTo>
                        <a:pt x="0" y="3664"/>
                      </a:lnTo>
                      <a:lnTo>
                        <a:pt x="1" y="3475"/>
                      </a:lnTo>
                      <a:lnTo>
                        <a:pt x="5" y="3289"/>
                      </a:lnTo>
                      <a:lnTo>
                        <a:pt x="9" y="3109"/>
                      </a:lnTo>
                      <a:lnTo>
                        <a:pt x="15" y="2933"/>
                      </a:lnTo>
                      <a:lnTo>
                        <a:pt x="22" y="2760"/>
                      </a:lnTo>
                      <a:lnTo>
                        <a:pt x="30" y="2592"/>
                      </a:lnTo>
                      <a:lnTo>
                        <a:pt x="39" y="2429"/>
                      </a:lnTo>
                      <a:lnTo>
                        <a:pt x="51" y="2271"/>
                      </a:lnTo>
                      <a:lnTo>
                        <a:pt x="64" y="2116"/>
                      </a:lnTo>
                      <a:lnTo>
                        <a:pt x="77" y="1968"/>
                      </a:lnTo>
                      <a:lnTo>
                        <a:pt x="92" y="1824"/>
                      </a:lnTo>
                      <a:lnTo>
                        <a:pt x="108" y="1685"/>
                      </a:lnTo>
                      <a:lnTo>
                        <a:pt x="124" y="1551"/>
                      </a:lnTo>
                      <a:lnTo>
                        <a:pt x="143" y="1422"/>
                      </a:lnTo>
                      <a:lnTo>
                        <a:pt x="161" y="1299"/>
                      </a:lnTo>
                      <a:lnTo>
                        <a:pt x="182" y="1181"/>
                      </a:lnTo>
                      <a:lnTo>
                        <a:pt x="203" y="1068"/>
                      </a:lnTo>
                      <a:lnTo>
                        <a:pt x="225" y="961"/>
                      </a:lnTo>
                      <a:lnTo>
                        <a:pt x="247" y="860"/>
                      </a:lnTo>
                      <a:lnTo>
                        <a:pt x="270" y="765"/>
                      </a:lnTo>
                      <a:lnTo>
                        <a:pt x="295" y="676"/>
                      </a:lnTo>
                      <a:lnTo>
                        <a:pt x="320" y="593"/>
                      </a:lnTo>
                      <a:lnTo>
                        <a:pt x="346" y="515"/>
                      </a:lnTo>
                      <a:lnTo>
                        <a:pt x="360" y="479"/>
                      </a:lnTo>
                      <a:lnTo>
                        <a:pt x="373" y="445"/>
                      </a:lnTo>
                      <a:lnTo>
                        <a:pt x="387" y="411"/>
                      </a:lnTo>
                      <a:lnTo>
                        <a:pt x="401" y="380"/>
                      </a:lnTo>
                      <a:lnTo>
                        <a:pt x="413" y="351"/>
                      </a:lnTo>
                      <a:lnTo>
                        <a:pt x="427" y="322"/>
                      </a:lnTo>
                      <a:lnTo>
                        <a:pt x="442" y="295"/>
                      </a:lnTo>
                      <a:lnTo>
                        <a:pt x="456" y="271"/>
                      </a:lnTo>
                      <a:lnTo>
                        <a:pt x="470" y="246"/>
                      </a:lnTo>
                      <a:lnTo>
                        <a:pt x="485" y="225"/>
                      </a:lnTo>
                      <a:lnTo>
                        <a:pt x="499" y="204"/>
                      </a:lnTo>
                      <a:lnTo>
                        <a:pt x="514" y="187"/>
                      </a:lnTo>
                      <a:lnTo>
                        <a:pt x="529" y="170"/>
                      </a:lnTo>
                      <a:lnTo>
                        <a:pt x="545" y="154"/>
                      </a:lnTo>
                      <a:lnTo>
                        <a:pt x="560" y="142"/>
                      </a:lnTo>
                      <a:lnTo>
                        <a:pt x="575" y="130"/>
                      </a:lnTo>
                      <a:lnTo>
                        <a:pt x="590" y="121"/>
                      </a:lnTo>
                      <a:lnTo>
                        <a:pt x="605" y="113"/>
                      </a:lnTo>
                      <a:lnTo>
                        <a:pt x="605" y="113"/>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22" name="Forma libre 15">
                  <a:extLst>
                    <a:ext uri="{FF2B5EF4-FFF2-40B4-BE49-F238E27FC236}">
                      <a16:creationId xmlns:a16="http://schemas.microsoft.com/office/drawing/2014/main" id="{0CC35C61-A637-A544-98AA-F8ED2CB772C5}"/>
                    </a:ext>
                  </a:extLst>
                </p:cNvPr>
                <p:cNvSpPr>
                  <a:spLocks noEditPoints="1"/>
                </p:cNvSpPr>
                <p:nvPr/>
              </p:nvSpPr>
              <p:spPr bwMode="auto">
                <a:xfrm>
                  <a:off x="8815389" y="0"/>
                  <a:ext cx="960438" cy="5918200"/>
                </a:xfrm>
                <a:custGeom>
                  <a:avLst/>
                  <a:gdLst/>
                  <a:ahLst/>
                  <a:cxnLst>
                    <a:cxn ang="0">
                      <a:pos x="677" y="27"/>
                    </a:cxn>
                    <a:cxn ang="0">
                      <a:pos x="766" y="134"/>
                    </a:cxn>
                    <a:cxn ang="0">
                      <a:pos x="850" y="319"/>
                    </a:cxn>
                    <a:cxn ang="0">
                      <a:pos x="952" y="673"/>
                    </a:cxn>
                    <a:cxn ang="0">
                      <a:pos x="1079" y="1407"/>
                    </a:cxn>
                    <a:cxn ang="0">
                      <a:pos x="1167" y="2337"/>
                    </a:cxn>
                    <a:cxn ang="0">
                      <a:pos x="1208" y="3412"/>
                    </a:cxn>
                    <a:cxn ang="0">
                      <a:pos x="1202" y="4361"/>
                    </a:cxn>
                    <a:cxn ang="0">
                      <a:pos x="1146" y="5403"/>
                    </a:cxn>
                    <a:cxn ang="0">
                      <a:pos x="1046" y="6283"/>
                    </a:cxn>
                    <a:cxn ang="0">
                      <a:pos x="909" y="6951"/>
                    </a:cxn>
                    <a:cxn ang="0">
                      <a:pos x="830" y="7189"/>
                    </a:cxn>
                    <a:cxn ang="0">
                      <a:pos x="746" y="7356"/>
                    </a:cxn>
                    <a:cxn ang="0">
                      <a:pos x="656" y="7444"/>
                    </a:cxn>
                    <a:cxn ang="0">
                      <a:pos x="579" y="7453"/>
                    </a:cxn>
                    <a:cxn ang="0">
                      <a:pos x="488" y="7387"/>
                    </a:cxn>
                    <a:cxn ang="0">
                      <a:pos x="401" y="7240"/>
                    </a:cxn>
                    <a:cxn ang="0">
                      <a:pos x="321" y="7019"/>
                    </a:cxn>
                    <a:cxn ang="0">
                      <a:pos x="190" y="6445"/>
                    </a:cxn>
                    <a:cxn ang="0">
                      <a:pos x="82" y="5606"/>
                    </a:cxn>
                    <a:cxn ang="0">
                      <a:pos x="16" y="4597"/>
                    </a:cxn>
                    <a:cxn ang="0">
                      <a:pos x="0" y="3664"/>
                    </a:cxn>
                    <a:cxn ang="0">
                      <a:pos x="30" y="2558"/>
                    </a:cxn>
                    <a:cxn ang="0">
                      <a:pos x="109" y="1591"/>
                    </a:cxn>
                    <a:cxn ang="0">
                      <a:pos x="229" y="810"/>
                    </a:cxn>
                    <a:cxn ang="0">
                      <a:pos x="339" y="378"/>
                    </a:cxn>
                    <a:cxn ang="0">
                      <a:pos x="422" y="175"/>
                    </a:cxn>
                    <a:cxn ang="0">
                      <a:pos x="509" y="48"/>
                    </a:cxn>
                    <a:cxn ang="0">
                      <a:pos x="600" y="0"/>
                    </a:cxn>
                    <a:cxn ang="0">
                      <a:pos x="585" y="94"/>
                    </a:cxn>
                    <a:cxn ang="0">
                      <a:pos x="496" y="154"/>
                    </a:cxn>
                    <a:cxn ang="0">
                      <a:pos x="412" y="291"/>
                    </a:cxn>
                    <a:cxn ang="0">
                      <a:pos x="333" y="502"/>
                    </a:cxn>
                    <a:cxn ang="0">
                      <a:pos x="195" y="1113"/>
                    </a:cxn>
                    <a:cxn ang="0">
                      <a:pos x="92" y="1940"/>
                    </a:cxn>
                    <a:cxn ang="0">
                      <a:pos x="29" y="2934"/>
                    </a:cxn>
                    <a:cxn ang="0">
                      <a:pos x="15" y="3852"/>
                    </a:cxn>
                    <a:cxn ang="0">
                      <a:pos x="48" y="4919"/>
                    </a:cxn>
                    <a:cxn ang="0">
                      <a:pos x="127" y="5852"/>
                    </a:cxn>
                    <a:cxn ang="0">
                      <a:pos x="244" y="6604"/>
                    </a:cxn>
                    <a:cxn ang="0">
                      <a:pos x="353" y="7017"/>
                    </a:cxn>
                    <a:cxn ang="0">
                      <a:pos x="434" y="7209"/>
                    </a:cxn>
                    <a:cxn ang="0">
                      <a:pos x="520" y="7327"/>
                    </a:cxn>
                    <a:cxn ang="0">
                      <a:pos x="595" y="7364"/>
                    </a:cxn>
                    <a:cxn ang="0">
                      <a:pos x="685" y="7332"/>
                    </a:cxn>
                    <a:cxn ang="0">
                      <a:pos x="771" y="7220"/>
                    </a:cxn>
                    <a:cxn ang="0">
                      <a:pos x="851" y="7033"/>
                    </a:cxn>
                    <a:cxn ang="0">
                      <a:pos x="972" y="6575"/>
                    </a:cxn>
                    <a:cxn ang="0">
                      <a:pos x="1088" y="5814"/>
                    </a:cxn>
                    <a:cxn ang="0">
                      <a:pos x="1166" y="4870"/>
                    </a:cxn>
                    <a:cxn ang="0">
                      <a:pos x="1195" y="3792"/>
                    </a:cxn>
                    <a:cxn ang="0">
                      <a:pos x="1179" y="2882"/>
                    </a:cxn>
                    <a:cxn ang="0">
                      <a:pos x="1115" y="1897"/>
                    </a:cxn>
                    <a:cxn ang="0">
                      <a:pos x="1009" y="1080"/>
                    </a:cxn>
                    <a:cxn ang="0">
                      <a:pos x="883" y="519"/>
                    </a:cxn>
                    <a:cxn ang="0">
                      <a:pos x="804" y="304"/>
                    </a:cxn>
                    <a:cxn ang="0">
                      <a:pos x="720" y="161"/>
                    </a:cxn>
                    <a:cxn ang="0">
                      <a:pos x="631" y="95"/>
                    </a:cxn>
                  </a:cxnLst>
                  <a:rect l="0" t="0" r="r" b="b"/>
                  <a:pathLst>
                    <a:path w="1210" h="7457">
                      <a:moveTo>
                        <a:pt x="615" y="0"/>
                      </a:moveTo>
                      <a:lnTo>
                        <a:pt x="615" y="0"/>
                      </a:lnTo>
                      <a:lnTo>
                        <a:pt x="632" y="3"/>
                      </a:lnTo>
                      <a:lnTo>
                        <a:pt x="647" y="8"/>
                      </a:lnTo>
                      <a:lnTo>
                        <a:pt x="662" y="16"/>
                      </a:lnTo>
                      <a:lnTo>
                        <a:pt x="677" y="27"/>
                      </a:lnTo>
                      <a:lnTo>
                        <a:pt x="693" y="38"/>
                      </a:lnTo>
                      <a:lnTo>
                        <a:pt x="707" y="53"/>
                      </a:lnTo>
                      <a:lnTo>
                        <a:pt x="722" y="70"/>
                      </a:lnTo>
                      <a:lnTo>
                        <a:pt x="737" y="89"/>
                      </a:lnTo>
                      <a:lnTo>
                        <a:pt x="752" y="110"/>
                      </a:lnTo>
                      <a:lnTo>
                        <a:pt x="766" y="134"/>
                      </a:lnTo>
                      <a:lnTo>
                        <a:pt x="782" y="160"/>
                      </a:lnTo>
                      <a:lnTo>
                        <a:pt x="795" y="187"/>
                      </a:lnTo>
                      <a:lnTo>
                        <a:pt x="809" y="217"/>
                      </a:lnTo>
                      <a:lnTo>
                        <a:pt x="823" y="248"/>
                      </a:lnTo>
                      <a:lnTo>
                        <a:pt x="837" y="283"/>
                      </a:lnTo>
                      <a:lnTo>
                        <a:pt x="850" y="319"/>
                      </a:lnTo>
                      <a:lnTo>
                        <a:pt x="864" y="356"/>
                      </a:lnTo>
                      <a:lnTo>
                        <a:pt x="877" y="396"/>
                      </a:lnTo>
                      <a:lnTo>
                        <a:pt x="890" y="438"/>
                      </a:lnTo>
                      <a:lnTo>
                        <a:pt x="902" y="482"/>
                      </a:lnTo>
                      <a:lnTo>
                        <a:pt x="928" y="574"/>
                      </a:lnTo>
                      <a:lnTo>
                        <a:pt x="952" y="673"/>
                      </a:lnTo>
                      <a:lnTo>
                        <a:pt x="975" y="780"/>
                      </a:lnTo>
                      <a:lnTo>
                        <a:pt x="997" y="893"/>
                      </a:lnTo>
                      <a:lnTo>
                        <a:pt x="1020" y="1012"/>
                      </a:lnTo>
                      <a:lnTo>
                        <a:pt x="1040" y="1139"/>
                      </a:lnTo>
                      <a:lnTo>
                        <a:pt x="1060" y="1270"/>
                      </a:lnTo>
                      <a:lnTo>
                        <a:pt x="1079" y="1407"/>
                      </a:lnTo>
                      <a:lnTo>
                        <a:pt x="1096" y="1550"/>
                      </a:lnTo>
                      <a:lnTo>
                        <a:pt x="1112" y="1699"/>
                      </a:lnTo>
                      <a:lnTo>
                        <a:pt x="1128" y="1851"/>
                      </a:lnTo>
                      <a:lnTo>
                        <a:pt x="1141" y="2008"/>
                      </a:lnTo>
                      <a:lnTo>
                        <a:pt x="1155" y="2171"/>
                      </a:lnTo>
                      <a:lnTo>
                        <a:pt x="1167" y="2337"/>
                      </a:lnTo>
                      <a:lnTo>
                        <a:pt x="1177" y="2508"/>
                      </a:lnTo>
                      <a:lnTo>
                        <a:pt x="1186" y="2682"/>
                      </a:lnTo>
                      <a:lnTo>
                        <a:pt x="1194" y="2859"/>
                      </a:lnTo>
                      <a:lnTo>
                        <a:pt x="1200" y="3041"/>
                      </a:lnTo>
                      <a:lnTo>
                        <a:pt x="1204" y="3225"/>
                      </a:lnTo>
                      <a:lnTo>
                        <a:pt x="1208" y="3412"/>
                      </a:lnTo>
                      <a:lnTo>
                        <a:pt x="1210" y="3601"/>
                      </a:lnTo>
                      <a:lnTo>
                        <a:pt x="1210" y="3794"/>
                      </a:lnTo>
                      <a:lnTo>
                        <a:pt x="1210" y="3794"/>
                      </a:lnTo>
                      <a:lnTo>
                        <a:pt x="1209" y="3986"/>
                      </a:lnTo>
                      <a:lnTo>
                        <a:pt x="1205" y="4175"/>
                      </a:lnTo>
                      <a:lnTo>
                        <a:pt x="1202" y="4361"/>
                      </a:lnTo>
                      <a:lnTo>
                        <a:pt x="1196" y="4544"/>
                      </a:lnTo>
                      <a:lnTo>
                        <a:pt x="1188" y="4723"/>
                      </a:lnTo>
                      <a:lnTo>
                        <a:pt x="1180" y="4899"/>
                      </a:lnTo>
                      <a:lnTo>
                        <a:pt x="1169" y="5071"/>
                      </a:lnTo>
                      <a:lnTo>
                        <a:pt x="1159" y="5239"/>
                      </a:lnTo>
                      <a:lnTo>
                        <a:pt x="1146" y="5403"/>
                      </a:lnTo>
                      <a:lnTo>
                        <a:pt x="1132" y="5563"/>
                      </a:lnTo>
                      <a:lnTo>
                        <a:pt x="1117" y="5718"/>
                      </a:lnTo>
                      <a:lnTo>
                        <a:pt x="1101" y="5866"/>
                      </a:lnTo>
                      <a:lnTo>
                        <a:pt x="1083" y="6012"/>
                      </a:lnTo>
                      <a:lnTo>
                        <a:pt x="1065" y="6150"/>
                      </a:lnTo>
                      <a:lnTo>
                        <a:pt x="1046" y="6283"/>
                      </a:lnTo>
                      <a:lnTo>
                        <a:pt x="1025" y="6411"/>
                      </a:lnTo>
                      <a:lnTo>
                        <a:pt x="1004" y="6532"/>
                      </a:lnTo>
                      <a:lnTo>
                        <a:pt x="981" y="6647"/>
                      </a:lnTo>
                      <a:lnTo>
                        <a:pt x="958" y="6755"/>
                      </a:lnTo>
                      <a:lnTo>
                        <a:pt x="935" y="6857"/>
                      </a:lnTo>
                      <a:lnTo>
                        <a:pt x="909" y="6951"/>
                      </a:lnTo>
                      <a:lnTo>
                        <a:pt x="898" y="6995"/>
                      </a:lnTo>
                      <a:lnTo>
                        <a:pt x="884" y="7038"/>
                      </a:lnTo>
                      <a:lnTo>
                        <a:pt x="871" y="7078"/>
                      </a:lnTo>
                      <a:lnTo>
                        <a:pt x="858" y="7117"/>
                      </a:lnTo>
                      <a:lnTo>
                        <a:pt x="844" y="7154"/>
                      </a:lnTo>
                      <a:lnTo>
                        <a:pt x="830" y="7189"/>
                      </a:lnTo>
                      <a:lnTo>
                        <a:pt x="818" y="7222"/>
                      </a:lnTo>
                      <a:lnTo>
                        <a:pt x="804" y="7253"/>
                      </a:lnTo>
                      <a:lnTo>
                        <a:pt x="790" y="7282"/>
                      </a:lnTo>
                      <a:lnTo>
                        <a:pt x="775" y="7308"/>
                      </a:lnTo>
                      <a:lnTo>
                        <a:pt x="761" y="7333"/>
                      </a:lnTo>
                      <a:lnTo>
                        <a:pt x="746" y="7356"/>
                      </a:lnTo>
                      <a:lnTo>
                        <a:pt x="732" y="7376"/>
                      </a:lnTo>
                      <a:lnTo>
                        <a:pt x="716" y="7394"/>
                      </a:lnTo>
                      <a:lnTo>
                        <a:pt x="701" y="7411"/>
                      </a:lnTo>
                      <a:lnTo>
                        <a:pt x="686" y="7423"/>
                      </a:lnTo>
                      <a:lnTo>
                        <a:pt x="671" y="7435"/>
                      </a:lnTo>
                      <a:lnTo>
                        <a:pt x="656" y="7444"/>
                      </a:lnTo>
                      <a:lnTo>
                        <a:pt x="641" y="7451"/>
                      </a:lnTo>
                      <a:lnTo>
                        <a:pt x="626" y="7456"/>
                      </a:lnTo>
                      <a:lnTo>
                        <a:pt x="610" y="7457"/>
                      </a:lnTo>
                      <a:lnTo>
                        <a:pt x="595" y="7457"/>
                      </a:lnTo>
                      <a:lnTo>
                        <a:pt x="595" y="7457"/>
                      </a:lnTo>
                      <a:lnTo>
                        <a:pt x="579" y="7453"/>
                      </a:lnTo>
                      <a:lnTo>
                        <a:pt x="563" y="7449"/>
                      </a:lnTo>
                      <a:lnTo>
                        <a:pt x="548" y="7441"/>
                      </a:lnTo>
                      <a:lnTo>
                        <a:pt x="533" y="7431"/>
                      </a:lnTo>
                      <a:lnTo>
                        <a:pt x="518" y="7419"/>
                      </a:lnTo>
                      <a:lnTo>
                        <a:pt x="503" y="7404"/>
                      </a:lnTo>
                      <a:lnTo>
                        <a:pt x="488" y="7387"/>
                      </a:lnTo>
                      <a:lnTo>
                        <a:pt x="473" y="7368"/>
                      </a:lnTo>
                      <a:lnTo>
                        <a:pt x="459" y="7347"/>
                      </a:lnTo>
                      <a:lnTo>
                        <a:pt x="444" y="7323"/>
                      </a:lnTo>
                      <a:lnTo>
                        <a:pt x="430" y="7298"/>
                      </a:lnTo>
                      <a:lnTo>
                        <a:pt x="416" y="7270"/>
                      </a:lnTo>
                      <a:lnTo>
                        <a:pt x="401" y="7240"/>
                      </a:lnTo>
                      <a:lnTo>
                        <a:pt x="388" y="7209"/>
                      </a:lnTo>
                      <a:lnTo>
                        <a:pt x="374" y="7175"/>
                      </a:lnTo>
                      <a:lnTo>
                        <a:pt x="360" y="7139"/>
                      </a:lnTo>
                      <a:lnTo>
                        <a:pt x="347" y="7101"/>
                      </a:lnTo>
                      <a:lnTo>
                        <a:pt x="333" y="7061"/>
                      </a:lnTo>
                      <a:lnTo>
                        <a:pt x="321" y="7019"/>
                      </a:lnTo>
                      <a:lnTo>
                        <a:pt x="308" y="6975"/>
                      </a:lnTo>
                      <a:lnTo>
                        <a:pt x="282" y="6883"/>
                      </a:lnTo>
                      <a:lnTo>
                        <a:pt x="258" y="6784"/>
                      </a:lnTo>
                      <a:lnTo>
                        <a:pt x="235" y="6677"/>
                      </a:lnTo>
                      <a:lnTo>
                        <a:pt x="213" y="6564"/>
                      </a:lnTo>
                      <a:lnTo>
                        <a:pt x="190" y="6445"/>
                      </a:lnTo>
                      <a:lnTo>
                        <a:pt x="170" y="6319"/>
                      </a:lnTo>
                      <a:lnTo>
                        <a:pt x="151" y="6187"/>
                      </a:lnTo>
                      <a:lnTo>
                        <a:pt x="131" y="6050"/>
                      </a:lnTo>
                      <a:lnTo>
                        <a:pt x="114" y="5907"/>
                      </a:lnTo>
                      <a:lnTo>
                        <a:pt x="98" y="5760"/>
                      </a:lnTo>
                      <a:lnTo>
                        <a:pt x="82" y="5606"/>
                      </a:lnTo>
                      <a:lnTo>
                        <a:pt x="69" y="5448"/>
                      </a:lnTo>
                      <a:lnTo>
                        <a:pt x="56" y="5286"/>
                      </a:lnTo>
                      <a:lnTo>
                        <a:pt x="44" y="5120"/>
                      </a:lnTo>
                      <a:lnTo>
                        <a:pt x="34" y="4949"/>
                      </a:lnTo>
                      <a:lnTo>
                        <a:pt x="24" y="4775"/>
                      </a:lnTo>
                      <a:lnTo>
                        <a:pt x="16" y="4597"/>
                      </a:lnTo>
                      <a:lnTo>
                        <a:pt x="10" y="4416"/>
                      </a:lnTo>
                      <a:lnTo>
                        <a:pt x="6" y="4232"/>
                      </a:lnTo>
                      <a:lnTo>
                        <a:pt x="2" y="4045"/>
                      </a:lnTo>
                      <a:lnTo>
                        <a:pt x="1" y="3856"/>
                      </a:lnTo>
                      <a:lnTo>
                        <a:pt x="0" y="3664"/>
                      </a:lnTo>
                      <a:lnTo>
                        <a:pt x="0" y="3664"/>
                      </a:lnTo>
                      <a:lnTo>
                        <a:pt x="1" y="3471"/>
                      </a:lnTo>
                      <a:lnTo>
                        <a:pt x="5" y="3282"/>
                      </a:lnTo>
                      <a:lnTo>
                        <a:pt x="9" y="3096"/>
                      </a:lnTo>
                      <a:lnTo>
                        <a:pt x="15" y="2913"/>
                      </a:lnTo>
                      <a:lnTo>
                        <a:pt x="22" y="2734"/>
                      </a:lnTo>
                      <a:lnTo>
                        <a:pt x="30" y="2558"/>
                      </a:lnTo>
                      <a:lnTo>
                        <a:pt x="41" y="2386"/>
                      </a:lnTo>
                      <a:lnTo>
                        <a:pt x="52" y="2217"/>
                      </a:lnTo>
                      <a:lnTo>
                        <a:pt x="65" y="2054"/>
                      </a:lnTo>
                      <a:lnTo>
                        <a:pt x="79" y="1895"/>
                      </a:lnTo>
                      <a:lnTo>
                        <a:pt x="93" y="1740"/>
                      </a:lnTo>
                      <a:lnTo>
                        <a:pt x="109" y="1591"/>
                      </a:lnTo>
                      <a:lnTo>
                        <a:pt x="127" y="1445"/>
                      </a:lnTo>
                      <a:lnTo>
                        <a:pt x="145" y="1307"/>
                      </a:lnTo>
                      <a:lnTo>
                        <a:pt x="165" y="1174"/>
                      </a:lnTo>
                      <a:lnTo>
                        <a:pt x="185" y="1046"/>
                      </a:lnTo>
                      <a:lnTo>
                        <a:pt x="207" y="925"/>
                      </a:lnTo>
                      <a:lnTo>
                        <a:pt x="229" y="810"/>
                      </a:lnTo>
                      <a:lnTo>
                        <a:pt x="252" y="702"/>
                      </a:lnTo>
                      <a:lnTo>
                        <a:pt x="275" y="600"/>
                      </a:lnTo>
                      <a:lnTo>
                        <a:pt x="301" y="506"/>
                      </a:lnTo>
                      <a:lnTo>
                        <a:pt x="314" y="462"/>
                      </a:lnTo>
                      <a:lnTo>
                        <a:pt x="326" y="419"/>
                      </a:lnTo>
                      <a:lnTo>
                        <a:pt x="339" y="378"/>
                      </a:lnTo>
                      <a:lnTo>
                        <a:pt x="353" y="340"/>
                      </a:lnTo>
                      <a:lnTo>
                        <a:pt x="366" y="303"/>
                      </a:lnTo>
                      <a:lnTo>
                        <a:pt x="380" y="268"/>
                      </a:lnTo>
                      <a:lnTo>
                        <a:pt x="394" y="236"/>
                      </a:lnTo>
                      <a:lnTo>
                        <a:pt x="408" y="204"/>
                      </a:lnTo>
                      <a:lnTo>
                        <a:pt x="422" y="175"/>
                      </a:lnTo>
                      <a:lnTo>
                        <a:pt x="435" y="149"/>
                      </a:lnTo>
                      <a:lnTo>
                        <a:pt x="449" y="124"/>
                      </a:lnTo>
                      <a:lnTo>
                        <a:pt x="465" y="101"/>
                      </a:lnTo>
                      <a:lnTo>
                        <a:pt x="478" y="81"/>
                      </a:lnTo>
                      <a:lnTo>
                        <a:pt x="494" y="63"/>
                      </a:lnTo>
                      <a:lnTo>
                        <a:pt x="509" y="48"/>
                      </a:lnTo>
                      <a:lnTo>
                        <a:pt x="524" y="34"/>
                      </a:lnTo>
                      <a:lnTo>
                        <a:pt x="539" y="22"/>
                      </a:lnTo>
                      <a:lnTo>
                        <a:pt x="554" y="13"/>
                      </a:lnTo>
                      <a:lnTo>
                        <a:pt x="569" y="6"/>
                      </a:lnTo>
                      <a:lnTo>
                        <a:pt x="584" y="2"/>
                      </a:lnTo>
                      <a:lnTo>
                        <a:pt x="600" y="0"/>
                      </a:lnTo>
                      <a:lnTo>
                        <a:pt x="615" y="0"/>
                      </a:lnTo>
                      <a:lnTo>
                        <a:pt x="615" y="0"/>
                      </a:lnTo>
                      <a:close/>
                      <a:moveTo>
                        <a:pt x="615" y="93"/>
                      </a:moveTo>
                      <a:lnTo>
                        <a:pt x="615" y="93"/>
                      </a:lnTo>
                      <a:lnTo>
                        <a:pt x="600" y="93"/>
                      </a:lnTo>
                      <a:lnTo>
                        <a:pt x="585" y="94"/>
                      </a:lnTo>
                      <a:lnTo>
                        <a:pt x="570" y="99"/>
                      </a:lnTo>
                      <a:lnTo>
                        <a:pt x="555" y="106"/>
                      </a:lnTo>
                      <a:lnTo>
                        <a:pt x="540" y="114"/>
                      </a:lnTo>
                      <a:lnTo>
                        <a:pt x="526" y="125"/>
                      </a:lnTo>
                      <a:lnTo>
                        <a:pt x="511" y="138"/>
                      </a:lnTo>
                      <a:lnTo>
                        <a:pt x="496" y="154"/>
                      </a:lnTo>
                      <a:lnTo>
                        <a:pt x="482" y="172"/>
                      </a:lnTo>
                      <a:lnTo>
                        <a:pt x="468" y="192"/>
                      </a:lnTo>
                      <a:lnTo>
                        <a:pt x="454" y="214"/>
                      </a:lnTo>
                      <a:lnTo>
                        <a:pt x="440" y="238"/>
                      </a:lnTo>
                      <a:lnTo>
                        <a:pt x="426" y="264"/>
                      </a:lnTo>
                      <a:lnTo>
                        <a:pt x="412" y="291"/>
                      </a:lnTo>
                      <a:lnTo>
                        <a:pt x="398" y="322"/>
                      </a:lnTo>
                      <a:lnTo>
                        <a:pt x="386" y="354"/>
                      </a:lnTo>
                      <a:lnTo>
                        <a:pt x="372" y="388"/>
                      </a:lnTo>
                      <a:lnTo>
                        <a:pt x="359" y="424"/>
                      </a:lnTo>
                      <a:lnTo>
                        <a:pt x="346" y="462"/>
                      </a:lnTo>
                      <a:lnTo>
                        <a:pt x="333" y="502"/>
                      </a:lnTo>
                      <a:lnTo>
                        <a:pt x="308" y="586"/>
                      </a:lnTo>
                      <a:lnTo>
                        <a:pt x="285" y="678"/>
                      </a:lnTo>
                      <a:lnTo>
                        <a:pt x="260" y="777"/>
                      </a:lnTo>
                      <a:lnTo>
                        <a:pt x="238" y="882"/>
                      </a:lnTo>
                      <a:lnTo>
                        <a:pt x="216" y="995"/>
                      </a:lnTo>
                      <a:lnTo>
                        <a:pt x="195" y="1113"/>
                      </a:lnTo>
                      <a:lnTo>
                        <a:pt x="175" y="1236"/>
                      </a:lnTo>
                      <a:lnTo>
                        <a:pt x="157" y="1366"/>
                      </a:lnTo>
                      <a:lnTo>
                        <a:pt x="138" y="1502"/>
                      </a:lnTo>
                      <a:lnTo>
                        <a:pt x="122" y="1643"/>
                      </a:lnTo>
                      <a:lnTo>
                        <a:pt x="106" y="1789"/>
                      </a:lnTo>
                      <a:lnTo>
                        <a:pt x="92" y="1940"/>
                      </a:lnTo>
                      <a:lnTo>
                        <a:pt x="78" y="2096"/>
                      </a:lnTo>
                      <a:lnTo>
                        <a:pt x="66" y="2255"/>
                      </a:lnTo>
                      <a:lnTo>
                        <a:pt x="55" y="2418"/>
                      </a:lnTo>
                      <a:lnTo>
                        <a:pt x="45" y="2587"/>
                      </a:lnTo>
                      <a:lnTo>
                        <a:pt x="36" y="2758"/>
                      </a:lnTo>
                      <a:lnTo>
                        <a:pt x="29" y="2934"/>
                      </a:lnTo>
                      <a:lnTo>
                        <a:pt x="23" y="3113"/>
                      </a:lnTo>
                      <a:lnTo>
                        <a:pt x="20" y="3294"/>
                      </a:lnTo>
                      <a:lnTo>
                        <a:pt x="16" y="3478"/>
                      </a:lnTo>
                      <a:lnTo>
                        <a:pt x="15" y="3665"/>
                      </a:lnTo>
                      <a:lnTo>
                        <a:pt x="15" y="3665"/>
                      </a:lnTo>
                      <a:lnTo>
                        <a:pt x="15" y="3852"/>
                      </a:lnTo>
                      <a:lnTo>
                        <a:pt x="17" y="4037"/>
                      </a:lnTo>
                      <a:lnTo>
                        <a:pt x="21" y="4219"/>
                      </a:lnTo>
                      <a:lnTo>
                        <a:pt x="26" y="4399"/>
                      </a:lnTo>
                      <a:lnTo>
                        <a:pt x="31" y="4575"/>
                      </a:lnTo>
                      <a:lnTo>
                        <a:pt x="38" y="4750"/>
                      </a:lnTo>
                      <a:lnTo>
                        <a:pt x="48" y="4919"/>
                      </a:lnTo>
                      <a:lnTo>
                        <a:pt x="58" y="5085"/>
                      </a:lnTo>
                      <a:lnTo>
                        <a:pt x="69" y="5248"/>
                      </a:lnTo>
                      <a:lnTo>
                        <a:pt x="81" y="5406"/>
                      </a:lnTo>
                      <a:lnTo>
                        <a:pt x="95" y="5560"/>
                      </a:lnTo>
                      <a:lnTo>
                        <a:pt x="110" y="5709"/>
                      </a:lnTo>
                      <a:lnTo>
                        <a:pt x="127" y="5852"/>
                      </a:lnTo>
                      <a:lnTo>
                        <a:pt x="144" y="5992"/>
                      </a:lnTo>
                      <a:lnTo>
                        <a:pt x="161" y="6126"/>
                      </a:lnTo>
                      <a:lnTo>
                        <a:pt x="181" y="6254"/>
                      </a:lnTo>
                      <a:lnTo>
                        <a:pt x="201" y="6377"/>
                      </a:lnTo>
                      <a:lnTo>
                        <a:pt x="222" y="6493"/>
                      </a:lnTo>
                      <a:lnTo>
                        <a:pt x="244" y="6604"/>
                      </a:lnTo>
                      <a:lnTo>
                        <a:pt x="267" y="6708"/>
                      </a:lnTo>
                      <a:lnTo>
                        <a:pt x="290" y="6804"/>
                      </a:lnTo>
                      <a:lnTo>
                        <a:pt x="315" y="6895"/>
                      </a:lnTo>
                      <a:lnTo>
                        <a:pt x="327" y="6938"/>
                      </a:lnTo>
                      <a:lnTo>
                        <a:pt x="340" y="6979"/>
                      </a:lnTo>
                      <a:lnTo>
                        <a:pt x="353" y="7017"/>
                      </a:lnTo>
                      <a:lnTo>
                        <a:pt x="366" y="7054"/>
                      </a:lnTo>
                      <a:lnTo>
                        <a:pt x="380" y="7089"/>
                      </a:lnTo>
                      <a:lnTo>
                        <a:pt x="393" y="7121"/>
                      </a:lnTo>
                      <a:lnTo>
                        <a:pt x="406" y="7153"/>
                      </a:lnTo>
                      <a:lnTo>
                        <a:pt x="420" y="7182"/>
                      </a:lnTo>
                      <a:lnTo>
                        <a:pt x="434" y="7209"/>
                      </a:lnTo>
                      <a:lnTo>
                        <a:pt x="448" y="7234"/>
                      </a:lnTo>
                      <a:lnTo>
                        <a:pt x="462" y="7257"/>
                      </a:lnTo>
                      <a:lnTo>
                        <a:pt x="476" y="7278"/>
                      </a:lnTo>
                      <a:lnTo>
                        <a:pt x="491" y="7297"/>
                      </a:lnTo>
                      <a:lnTo>
                        <a:pt x="505" y="7313"/>
                      </a:lnTo>
                      <a:lnTo>
                        <a:pt x="520" y="7327"/>
                      </a:lnTo>
                      <a:lnTo>
                        <a:pt x="534" y="7339"/>
                      </a:lnTo>
                      <a:lnTo>
                        <a:pt x="549" y="7349"/>
                      </a:lnTo>
                      <a:lnTo>
                        <a:pt x="564" y="7356"/>
                      </a:lnTo>
                      <a:lnTo>
                        <a:pt x="579" y="7362"/>
                      </a:lnTo>
                      <a:lnTo>
                        <a:pt x="595" y="7364"/>
                      </a:lnTo>
                      <a:lnTo>
                        <a:pt x="595" y="7364"/>
                      </a:lnTo>
                      <a:lnTo>
                        <a:pt x="610" y="7365"/>
                      </a:lnTo>
                      <a:lnTo>
                        <a:pt x="625" y="7363"/>
                      </a:lnTo>
                      <a:lnTo>
                        <a:pt x="640" y="7358"/>
                      </a:lnTo>
                      <a:lnTo>
                        <a:pt x="655" y="7352"/>
                      </a:lnTo>
                      <a:lnTo>
                        <a:pt x="670" y="7343"/>
                      </a:lnTo>
                      <a:lnTo>
                        <a:pt x="685" y="7332"/>
                      </a:lnTo>
                      <a:lnTo>
                        <a:pt x="699" y="7319"/>
                      </a:lnTo>
                      <a:lnTo>
                        <a:pt x="714" y="7304"/>
                      </a:lnTo>
                      <a:lnTo>
                        <a:pt x="728" y="7285"/>
                      </a:lnTo>
                      <a:lnTo>
                        <a:pt x="743" y="7265"/>
                      </a:lnTo>
                      <a:lnTo>
                        <a:pt x="757" y="7243"/>
                      </a:lnTo>
                      <a:lnTo>
                        <a:pt x="771" y="7220"/>
                      </a:lnTo>
                      <a:lnTo>
                        <a:pt x="785" y="7193"/>
                      </a:lnTo>
                      <a:lnTo>
                        <a:pt x="798" y="7166"/>
                      </a:lnTo>
                      <a:lnTo>
                        <a:pt x="812" y="7135"/>
                      </a:lnTo>
                      <a:lnTo>
                        <a:pt x="826" y="7103"/>
                      </a:lnTo>
                      <a:lnTo>
                        <a:pt x="838" y="7069"/>
                      </a:lnTo>
                      <a:lnTo>
                        <a:pt x="851" y="7033"/>
                      </a:lnTo>
                      <a:lnTo>
                        <a:pt x="864" y="6995"/>
                      </a:lnTo>
                      <a:lnTo>
                        <a:pt x="877" y="6955"/>
                      </a:lnTo>
                      <a:lnTo>
                        <a:pt x="902" y="6871"/>
                      </a:lnTo>
                      <a:lnTo>
                        <a:pt x="927" y="6779"/>
                      </a:lnTo>
                      <a:lnTo>
                        <a:pt x="950" y="6680"/>
                      </a:lnTo>
                      <a:lnTo>
                        <a:pt x="972" y="6575"/>
                      </a:lnTo>
                      <a:lnTo>
                        <a:pt x="994" y="6462"/>
                      </a:lnTo>
                      <a:lnTo>
                        <a:pt x="1015" y="6345"/>
                      </a:lnTo>
                      <a:lnTo>
                        <a:pt x="1035" y="6221"/>
                      </a:lnTo>
                      <a:lnTo>
                        <a:pt x="1053" y="6090"/>
                      </a:lnTo>
                      <a:lnTo>
                        <a:pt x="1072" y="5955"/>
                      </a:lnTo>
                      <a:lnTo>
                        <a:pt x="1088" y="5814"/>
                      </a:lnTo>
                      <a:lnTo>
                        <a:pt x="1104" y="5668"/>
                      </a:lnTo>
                      <a:lnTo>
                        <a:pt x="1119" y="5517"/>
                      </a:lnTo>
                      <a:lnTo>
                        <a:pt x="1132" y="5363"/>
                      </a:lnTo>
                      <a:lnTo>
                        <a:pt x="1145" y="5202"/>
                      </a:lnTo>
                      <a:lnTo>
                        <a:pt x="1155" y="5039"/>
                      </a:lnTo>
                      <a:lnTo>
                        <a:pt x="1166" y="4870"/>
                      </a:lnTo>
                      <a:lnTo>
                        <a:pt x="1174" y="4698"/>
                      </a:lnTo>
                      <a:lnTo>
                        <a:pt x="1181" y="4523"/>
                      </a:lnTo>
                      <a:lnTo>
                        <a:pt x="1187" y="4346"/>
                      </a:lnTo>
                      <a:lnTo>
                        <a:pt x="1191" y="4163"/>
                      </a:lnTo>
                      <a:lnTo>
                        <a:pt x="1194" y="3979"/>
                      </a:lnTo>
                      <a:lnTo>
                        <a:pt x="1195" y="3792"/>
                      </a:lnTo>
                      <a:lnTo>
                        <a:pt x="1195" y="3792"/>
                      </a:lnTo>
                      <a:lnTo>
                        <a:pt x="1195" y="3605"/>
                      </a:lnTo>
                      <a:lnTo>
                        <a:pt x="1193" y="3420"/>
                      </a:lnTo>
                      <a:lnTo>
                        <a:pt x="1190" y="3238"/>
                      </a:lnTo>
                      <a:lnTo>
                        <a:pt x="1186" y="3058"/>
                      </a:lnTo>
                      <a:lnTo>
                        <a:pt x="1179" y="2882"/>
                      </a:lnTo>
                      <a:lnTo>
                        <a:pt x="1172" y="2709"/>
                      </a:lnTo>
                      <a:lnTo>
                        <a:pt x="1162" y="2538"/>
                      </a:lnTo>
                      <a:lnTo>
                        <a:pt x="1153" y="2372"/>
                      </a:lnTo>
                      <a:lnTo>
                        <a:pt x="1141" y="2209"/>
                      </a:lnTo>
                      <a:lnTo>
                        <a:pt x="1129" y="2051"/>
                      </a:lnTo>
                      <a:lnTo>
                        <a:pt x="1115" y="1897"/>
                      </a:lnTo>
                      <a:lnTo>
                        <a:pt x="1100" y="1748"/>
                      </a:lnTo>
                      <a:lnTo>
                        <a:pt x="1083" y="1604"/>
                      </a:lnTo>
                      <a:lnTo>
                        <a:pt x="1067" y="1465"/>
                      </a:lnTo>
                      <a:lnTo>
                        <a:pt x="1049" y="1330"/>
                      </a:lnTo>
                      <a:lnTo>
                        <a:pt x="1030" y="1203"/>
                      </a:lnTo>
                      <a:lnTo>
                        <a:pt x="1009" y="1080"/>
                      </a:lnTo>
                      <a:lnTo>
                        <a:pt x="988" y="964"/>
                      </a:lnTo>
                      <a:lnTo>
                        <a:pt x="966" y="853"/>
                      </a:lnTo>
                      <a:lnTo>
                        <a:pt x="943" y="749"/>
                      </a:lnTo>
                      <a:lnTo>
                        <a:pt x="920" y="652"/>
                      </a:lnTo>
                      <a:lnTo>
                        <a:pt x="895" y="562"/>
                      </a:lnTo>
                      <a:lnTo>
                        <a:pt x="883" y="519"/>
                      </a:lnTo>
                      <a:lnTo>
                        <a:pt x="870" y="478"/>
                      </a:lnTo>
                      <a:lnTo>
                        <a:pt x="857" y="440"/>
                      </a:lnTo>
                      <a:lnTo>
                        <a:pt x="844" y="403"/>
                      </a:lnTo>
                      <a:lnTo>
                        <a:pt x="831" y="368"/>
                      </a:lnTo>
                      <a:lnTo>
                        <a:pt x="818" y="336"/>
                      </a:lnTo>
                      <a:lnTo>
                        <a:pt x="804" y="304"/>
                      </a:lnTo>
                      <a:lnTo>
                        <a:pt x="791" y="275"/>
                      </a:lnTo>
                      <a:lnTo>
                        <a:pt x="777" y="248"/>
                      </a:lnTo>
                      <a:lnTo>
                        <a:pt x="763" y="223"/>
                      </a:lnTo>
                      <a:lnTo>
                        <a:pt x="748" y="201"/>
                      </a:lnTo>
                      <a:lnTo>
                        <a:pt x="734" y="180"/>
                      </a:lnTo>
                      <a:lnTo>
                        <a:pt x="720" y="161"/>
                      </a:lnTo>
                      <a:lnTo>
                        <a:pt x="705" y="144"/>
                      </a:lnTo>
                      <a:lnTo>
                        <a:pt x="691" y="130"/>
                      </a:lnTo>
                      <a:lnTo>
                        <a:pt x="676" y="118"/>
                      </a:lnTo>
                      <a:lnTo>
                        <a:pt x="661" y="108"/>
                      </a:lnTo>
                      <a:lnTo>
                        <a:pt x="646" y="101"/>
                      </a:lnTo>
                      <a:lnTo>
                        <a:pt x="631" y="95"/>
                      </a:lnTo>
                      <a:lnTo>
                        <a:pt x="615" y="93"/>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nvGrpSpPr>
              <p:cNvPr id="17" name="Grupo 28">
                <a:extLst>
                  <a:ext uri="{FF2B5EF4-FFF2-40B4-BE49-F238E27FC236}">
                    <a16:creationId xmlns:a16="http://schemas.microsoft.com/office/drawing/2014/main" id="{E7A46FF9-4185-D944-A671-968F7953B843}"/>
                  </a:ext>
                </a:extLst>
              </p:cNvPr>
              <p:cNvGrpSpPr/>
              <p:nvPr/>
            </p:nvGrpSpPr>
            <p:grpSpPr>
              <a:xfrm>
                <a:off x="3113724" y="2080261"/>
                <a:ext cx="1475286" cy="1950720"/>
                <a:chOff x="2909888" y="1743075"/>
                <a:chExt cx="1844106" cy="2438400"/>
              </a:xfrm>
            </p:grpSpPr>
            <p:sp>
              <p:nvSpPr>
                <p:cNvPr id="18" name="Forma libre 19">
                  <a:extLst>
                    <a:ext uri="{FF2B5EF4-FFF2-40B4-BE49-F238E27FC236}">
                      <a16:creationId xmlns:a16="http://schemas.microsoft.com/office/drawing/2014/main" id="{64BF7825-A461-5045-A691-97AE270BEBD4}"/>
                    </a:ext>
                  </a:extLst>
                </p:cNvPr>
                <p:cNvSpPr>
                  <a:spLocks/>
                </p:cNvSpPr>
                <p:nvPr/>
              </p:nvSpPr>
              <p:spPr bwMode="auto">
                <a:xfrm>
                  <a:off x="2909888" y="1743075"/>
                  <a:ext cx="1803400" cy="2438400"/>
                </a:xfrm>
                <a:custGeom>
                  <a:avLst/>
                  <a:gdLst/>
                  <a:ahLst/>
                  <a:cxnLst>
                    <a:cxn ang="0">
                      <a:pos x="2271" y="3072"/>
                    </a:cxn>
                    <a:cxn ang="0">
                      <a:pos x="2252" y="3069"/>
                    </a:cxn>
                    <a:cxn ang="0">
                      <a:pos x="2233" y="3056"/>
                    </a:cxn>
                    <a:cxn ang="0">
                      <a:pos x="2196" y="3005"/>
                    </a:cxn>
                    <a:cxn ang="0">
                      <a:pos x="2161" y="2925"/>
                    </a:cxn>
                    <a:cxn ang="0">
                      <a:pos x="2130" y="2817"/>
                    </a:cxn>
                    <a:cxn ang="0">
                      <a:pos x="2101" y="2682"/>
                    </a:cxn>
                    <a:cxn ang="0">
                      <a:pos x="2076" y="2526"/>
                    </a:cxn>
                    <a:cxn ang="0">
                      <a:pos x="2048" y="2285"/>
                    </a:cxn>
                    <a:cxn ang="0">
                      <a:pos x="2022" y="1870"/>
                    </a:cxn>
                    <a:cxn ang="0">
                      <a:pos x="2016" y="1563"/>
                    </a:cxn>
                    <a:cxn ang="0">
                      <a:pos x="2026" y="1106"/>
                    </a:cxn>
                    <a:cxn ang="0">
                      <a:pos x="2057" y="699"/>
                    </a:cxn>
                    <a:cxn ang="0">
                      <a:pos x="2079" y="523"/>
                    </a:cxn>
                    <a:cxn ang="0">
                      <a:pos x="2105" y="368"/>
                    </a:cxn>
                    <a:cxn ang="0">
                      <a:pos x="2134" y="236"/>
                    </a:cxn>
                    <a:cxn ang="0">
                      <a:pos x="2168" y="132"/>
                    </a:cxn>
                    <a:cxn ang="0">
                      <a:pos x="2203" y="55"/>
                    </a:cxn>
                    <a:cxn ang="0">
                      <a:pos x="2234" y="16"/>
                    </a:cxn>
                    <a:cxn ang="0">
                      <a:pos x="2254" y="4"/>
                    </a:cxn>
                    <a:cxn ang="0">
                      <a:pos x="2267" y="0"/>
                    </a:cxn>
                    <a:cxn ang="0">
                      <a:pos x="1955" y="0"/>
                    </a:cxn>
                    <a:cxn ang="0">
                      <a:pos x="244" y="2"/>
                    </a:cxn>
                    <a:cxn ang="0">
                      <a:pos x="224" y="11"/>
                    </a:cxn>
                    <a:cxn ang="0">
                      <a:pos x="199" y="36"/>
                    </a:cxn>
                    <a:cxn ang="0">
                      <a:pos x="163" y="103"/>
                    </a:cxn>
                    <a:cxn ang="0">
                      <a:pos x="129" y="199"/>
                    </a:cxn>
                    <a:cxn ang="0">
                      <a:pos x="99" y="322"/>
                    </a:cxn>
                    <a:cxn ang="0">
                      <a:pos x="71" y="469"/>
                    </a:cxn>
                    <a:cxn ang="0">
                      <a:pos x="48" y="639"/>
                    </a:cxn>
                    <a:cxn ang="0">
                      <a:pos x="19" y="963"/>
                    </a:cxn>
                    <a:cxn ang="0">
                      <a:pos x="1" y="1406"/>
                    </a:cxn>
                    <a:cxn ang="0">
                      <a:pos x="1" y="1719"/>
                    </a:cxn>
                    <a:cxn ang="0">
                      <a:pos x="21" y="2153"/>
                    </a:cxn>
                    <a:cxn ang="0">
                      <a:pos x="52" y="2469"/>
                    </a:cxn>
                    <a:cxn ang="0">
                      <a:pos x="77" y="2632"/>
                    </a:cxn>
                    <a:cxn ang="0">
                      <a:pos x="103" y="2775"/>
                    </a:cxn>
                    <a:cxn ang="0">
                      <a:pos x="135" y="2891"/>
                    </a:cxn>
                    <a:cxn ang="0">
                      <a:pos x="168" y="2982"/>
                    </a:cxn>
                    <a:cxn ang="0">
                      <a:pos x="204" y="3042"/>
                    </a:cxn>
                    <a:cxn ang="0">
                      <a:pos x="229" y="3065"/>
                    </a:cxn>
                    <a:cxn ang="0">
                      <a:pos x="249" y="3072"/>
                    </a:cxn>
                  </a:cxnLst>
                  <a:rect l="0" t="0" r="r" b="b"/>
                  <a:pathLst>
                    <a:path w="2271" h="3072">
                      <a:moveTo>
                        <a:pt x="254" y="3072"/>
                      </a:moveTo>
                      <a:lnTo>
                        <a:pt x="2271" y="3072"/>
                      </a:lnTo>
                      <a:lnTo>
                        <a:pt x="2271" y="3072"/>
                      </a:lnTo>
                      <a:lnTo>
                        <a:pt x="2264" y="3072"/>
                      </a:lnTo>
                      <a:lnTo>
                        <a:pt x="2257" y="3071"/>
                      </a:lnTo>
                      <a:lnTo>
                        <a:pt x="2252" y="3069"/>
                      </a:lnTo>
                      <a:lnTo>
                        <a:pt x="2245" y="3065"/>
                      </a:lnTo>
                      <a:lnTo>
                        <a:pt x="2239" y="3061"/>
                      </a:lnTo>
                      <a:lnTo>
                        <a:pt x="2233" y="3056"/>
                      </a:lnTo>
                      <a:lnTo>
                        <a:pt x="2220" y="3042"/>
                      </a:lnTo>
                      <a:lnTo>
                        <a:pt x="2207" y="3026"/>
                      </a:lnTo>
                      <a:lnTo>
                        <a:pt x="2196" y="3005"/>
                      </a:lnTo>
                      <a:lnTo>
                        <a:pt x="2184" y="2982"/>
                      </a:lnTo>
                      <a:lnTo>
                        <a:pt x="2173" y="2955"/>
                      </a:lnTo>
                      <a:lnTo>
                        <a:pt x="2161" y="2925"/>
                      </a:lnTo>
                      <a:lnTo>
                        <a:pt x="2151" y="2891"/>
                      </a:lnTo>
                      <a:lnTo>
                        <a:pt x="2140" y="2855"/>
                      </a:lnTo>
                      <a:lnTo>
                        <a:pt x="2130" y="2817"/>
                      </a:lnTo>
                      <a:lnTo>
                        <a:pt x="2120" y="2775"/>
                      </a:lnTo>
                      <a:lnTo>
                        <a:pt x="2110" y="2730"/>
                      </a:lnTo>
                      <a:lnTo>
                        <a:pt x="2101" y="2682"/>
                      </a:lnTo>
                      <a:lnTo>
                        <a:pt x="2093" y="2632"/>
                      </a:lnTo>
                      <a:lnTo>
                        <a:pt x="2083" y="2580"/>
                      </a:lnTo>
                      <a:lnTo>
                        <a:pt x="2076" y="2526"/>
                      </a:lnTo>
                      <a:lnTo>
                        <a:pt x="2068" y="2469"/>
                      </a:lnTo>
                      <a:lnTo>
                        <a:pt x="2061" y="2409"/>
                      </a:lnTo>
                      <a:lnTo>
                        <a:pt x="2048" y="2285"/>
                      </a:lnTo>
                      <a:lnTo>
                        <a:pt x="2037" y="2153"/>
                      </a:lnTo>
                      <a:lnTo>
                        <a:pt x="2029" y="2015"/>
                      </a:lnTo>
                      <a:lnTo>
                        <a:pt x="2022" y="1870"/>
                      </a:lnTo>
                      <a:lnTo>
                        <a:pt x="2017" y="1719"/>
                      </a:lnTo>
                      <a:lnTo>
                        <a:pt x="2016" y="1563"/>
                      </a:lnTo>
                      <a:lnTo>
                        <a:pt x="2016" y="1563"/>
                      </a:lnTo>
                      <a:lnTo>
                        <a:pt x="2017" y="1406"/>
                      </a:lnTo>
                      <a:lnTo>
                        <a:pt x="2021" y="1253"/>
                      </a:lnTo>
                      <a:lnTo>
                        <a:pt x="2026" y="1106"/>
                      </a:lnTo>
                      <a:lnTo>
                        <a:pt x="2034" y="963"/>
                      </a:lnTo>
                      <a:lnTo>
                        <a:pt x="2045" y="828"/>
                      </a:lnTo>
                      <a:lnTo>
                        <a:pt x="2057" y="699"/>
                      </a:lnTo>
                      <a:lnTo>
                        <a:pt x="2063" y="639"/>
                      </a:lnTo>
                      <a:lnTo>
                        <a:pt x="2072" y="580"/>
                      </a:lnTo>
                      <a:lnTo>
                        <a:pt x="2079" y="523"/>
                      </a:lnTo>
                      <a:lnTo>
                        <a:pt x="2088" y="469"/>
                      </a:lnTo>
                      <a:lnTo>
                        <a:pt x="2096" y="417"/>
                      </a:lnTo>
                      <a:lnTo>
                        <a:pt x="2105" y="368"/>
                      </a:lnTo>
                      <a:lnTo>
                        <a:pt x="2115" y="322"/>
                      </a:lnTo>
                      <a:lnTo>
                        <a:pt x="2125" y="278"/>
                      </a:lnTo>
                      <a:lnTo>
                        <a:pt x="2134" y="236"/>
                      </a:lnTo>
                      <a:lnTo>
                        <a:pt x="2146" y="199"/>
                      </a:lnTo>
                      <a:lnTo>
                        <a:pt x="2156" y="163"/>
                      </a:lnTo>
                      <a:lnTo>
                        <a:pt x="2168" y="132"/>
                      </a:lnTo>
                      <a:lnTo>
                        <a:pt x="2180" y="103"/>
                      </a:lnTo>
                      <a:lnTo>
                        <a:pt x="2191" y="77"/>
                      </a:lnTo>
                      <a:lnTo>
                        <a:pt x="2203" y="55"/>
                      </a:lnTo>
                      <a:lnTo>
                        <a:pt x="2216" y="36"/>
                      </a:lnTo>
                      <a:lnTo>
                        <a:pt x="2227" y="22"/>
                      </a:lnTo>
                      <a:lnTo>
                        <a:pt x="2234" y="16"/>
                      </a:lnTo>
                      <a:lnTo>
                        <a:pt x="2240" y="11"/>
                      </a:lnTo>
                      <a:lnTo>
                        <a:pt x="2247" y="6"/>
                      </a:lnTo>
                      <a:lnTo>
                        <a:pt x="2254" y="4"/>
                      </a:lnTo>
                      <a:lnTo>
                        <a:pt x="2260" y="2"/>
                      </a:lnTo>
                      <a:lnTo>
                        <a:pt x="2267" y="0"/>
                      </a:lnTo>
                      <a:lnTo>
                        <a:pt x="2267" y="0"/>
                      </a:lnTo>
                      <a:lnTo>
                        <a:pt x="2271" y="0"/>
                      </a:lnTo>
                      <a:lnTo>
                        <a:pt x="1955" y="0"/>
                      </a:lnTo>
                      <a:lnTo>
                        <a:pt x="1955" y="0"/>
                      </a:lnTo>
                      <a:lnTo>
                        <a:pt x="251" y="0"/>
                      </a:lnTo>
                      <a:lnTo>
                        <a:pt x="251" y="0"/>
                      </a:lnTo>
                      <a:lnTo>
                        <a:pt x="244" y="2"/>
                      </a:lnTo>
                      <a:lnTo>
                        <a:pt x="237" y="4"/>
                      </a:lnTo>
                      <a:lnTo>
                        <a:pt x="231" y="6"/>
                      </a:lnTo>
                      <a:lnTo>
                        <a:pt x="224" y="11"/>
                      </a:lnTo>
                      <a:lnTo>
                        <a:pt x="218" y="16"/>
                      </a:lnTo>
                      <a:lnTo>
                        <a:pt x="211" y="22"/>
                      </a:lnTo>
                      <a:lnTo>
                        <a:pt x="199" y="36"/>
                      </a:lnTo>
                      <a:lnTo>
                        <a:pt x="187" y="55"/>
                      </a:lnTo>
                      <a:lnTo>
                        <a:pt x="175" y="77"/>
                      </a:lnTo>
                      <a:lnTo>
                        <a:pt x="163" y="103"/>
                      </a:lnTo>
                      <a:lnTo>
                        <a:pt x="151" y="132"/>
                      </a:lnTo>
                      <a:lnTo>
                        <a:pt x="141" y="163"/>
                      </a:lnTo>
                      <a:lnTo>
                        <a:pt x="129" y="199"/>
                      </a:lnTo>
                      <a:lnTo>
                        <a:pt x="118" y="236"/>
                      </a:lnTo>
                      <a:lnTo>
                        <a:pt x="108" y="278"/>
                      </a:lnTo>
                      <a:lnTo>
                        <a:pt x="99" y="322"/>
                      </a:lnTo>
                      <a:lnTo>
                        <a:pt x="89" y="368"/>
                      </a:lnTo>
                      <a:lnTo>
                        <a:pt x="80" y="417"/>
                      </a:lnTo>
                      <a:lnTo>
                        <a:pt x="71" y="469"/>
                      </a:lnTo>
                      <a:lnTo>
                        <a:pt x="63" y="523"/>
                      </a:lnTo>
                      <a:lnTo>
                        <a:pt x="56" y="580"/>
                      </a:lnTo>
                      <a:lnTo>
                        <a:pt x="48" y="639"/>
                      </a:lnTo>
                      <a:lnTo>
                        <a:pt x="41" y="699"/>
                      </a:lnTo>
                      <a:lnTo>
                        <a:pt x="29" y="828"/>
                      </a:lnTo>
                      <a:lnTo>
                        <a:pt x="19" y="963"/>
                      </a:lnTo>
                      <a:lnTo>
                        <a:pt x="10" y="1106"/>
                      </a:lnTo>
                      <a:lnTo>
                        <a:pt x="5" y="1253"/>
                      </a:lnTo>
                      <a:lnTo>
                        <a:pt x="1" y="1406"/>
                      </a:lnTo>
                      <a:lnTo>
                        <a:pt x="0" y="1563"/>
                      </a:lnTo>
                      <a:lnTo>
                        <a:pt x="0" y="1563"/>
                      </a:lnTo>
                      <a:lnTo>
                        <a:pt x="1" y="1719"/>
                      </a:lnTo>
                      <a:lnTo>
                        <a:pt x="6" y="1870"/>
                      </a:lnTo>
                      <a:lnTo>
                        <a:pt x="13" y="2015"/>
                      </a:lnTo>
                      <a:lnTo>
                        <a:pt x="21" y="2153"/>
                      </a:lnTo>
                      <a:lnTo>
                        <a:pt x="33" y="2285"/>
                      </a:lnTo>
                      <a:lnTo>
                        <a:pt x="45" y="2409"/>
                      </a:lnTo>
                      <a:lnTo>
                        <a:pt x="52" y="2469"/>
                      </a:lnTo>
                      <a:lnTo>
                        <a:pt x="59" y="2526"/>
                      </a:lnTo>
                      <a:lnTo>
                        <a:pt x="67" y="2580"/>
                      </a:lnTo>
                      <a:lnTo>
                        <a:pt x="77" y="2632"/>
                      </a:lnTo>
                      <a:lnTo>
                        <a:pt x="85" y="2682"/>
                      </a:lnTo>
                      <a:lnTo>
                        <a:pt x="94" y="2730"/>
                      </a:lnTo>
                      <a:lnTo>
                        <a:pt x="103" y="2775"/>
                      </a:lnTo>
                      <a:lnTo>
                        <a:pt x="114" y="2817"/>
                      </a:lnTo>
                      <a:lnTo>
                        <a:pt x="124" y="2855"/>
                      </a:lnTo>
                      <a:lnTo>
                        <a:pt x="135" y="2891"/>
                      </a:lnTo>
                      <a:lnTo>
                        <a:pt x="145" y="2925"/>
                      </a:lnTo>
                      <a:lnTo>
                        <a:pt x="157" y="2955"/>
                      </a:lnTo>
                      <a:lnTo>
                        <a:pt x="168" y="2982"/>
                      </a:lnTo>
                      <a:lnTo>
                        <a:pt x="180" y="3005"/>
                      </a:lnTo>
                      <a:lnTo>
                        <a:pt x="192" y="3026"/>
                      </a:lnTo>
                      <a:lnTo>
                        <a:pt x="204" y="3042"/>
                      </a:lnTo>
                      <a:lnTo>
                        <a:pt x="216" y="3056"/>
                      </a:lnTo>
                      <a:lnTo>
                        <a:pt x="223" y="3061"/>
                      </a:lnTo>
                      <a:lnTo>
                        <a:pt x="229" y="3065"/>
                      </a:lnTo>
                      <a:lnTo>
                        <a:pt x="236" y="3069"/>
                      </a:lnTo>
                      <a:lnTo>
                        <a:pt x="242" y="3071"/>
                      </a:lnTo>
                      <a:lnTo>
                        <a:pt x="249" y="3072"/>
                      </a:lnTo>
                      <a:lnTo>
                        <a:pt x="254" y="3072"/>
                      </a:lnTo>
                      <a:lnTo>
                        <a:pt x="254" y="3072"/>
                      </a:lnTo>
                      <a:close/>
                    </a:path>
                  </a:pathLst>
                </a:custGeom>
                <a:gradFill flip="none" rotWithShape="1">
                  <a:gsLst>
                    <a:gs pos="0">
                      <a:schemeClr val="accent6">
                        <a:lumMod val="75000"/>
                      </a:schemeClr>
                    </a:gs>
                    <a:gs pos="100000">
                      <a:schemeClr val="accent6">
                        <a:lumMod val="50000"/>
                      </a:schemeClr>
                    </a:gs>
                    <a:gs pos="25000">
                      <a:schemeClr val="accent6">
                        <a:lumMod val="40000"/>
                        <a:lumOff val="60000"/>
                      </a:schemeClr>
                    </a:gs>
                    <a:gs pos="55000">
                      <a:schemeClr val="accent6">
                        <a:lumMod val="75000"/>
                      </a:schemeClr>
                    </a:gs>
                    <a:gs pos="78000">
                      <a:schemeClr val="accent6">
                        <a:lumMod val="60000"/>
                        <a:lumOff val="4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19" name="Forma libre 20">
                  <a:extLst>
                    <a:ext uri="{FF2B5EF4-FFF2-40B4-BE49-F238E27FC236}">
                      <a16:creationId xmlns:a16="http://schemas.microsoft.com/office/drawing/2014/main" id="{B923A159-D112-5842-8E1B-753C89AB9904}"/>
                    </a:ext>
                  </a:extLst>
                </p:cNvPr>
                <p:cNvSpPr>
                  <a:spLocks/>
                </p:cNvSpPr>
                <p:nvPr/>
              </p:nvSpPr>
              <p:spPr bwMode="auto">
                <a:xfrm>
                  <a:off x="4506344" y="1743075"/>
                  <a:ext cx="247650" cy="2438400"/>
                </a:xfrm>
                <a:custGeom>
                  <a:avLst/>
                  <a:gdLst/>
                  <a:ahLst/>
                  <a:cxnLst>
                    <a:cxn ang="0">
                      <a:pos x="259" y="3034"/>
                    </a:cxn>
                    <a:cxn ang="0">
                      <a:pos x="246" y="3034"/>
                    </a:cxn>
                    <a:cxn ang="0">
                      <a:pos x="227" y="3026"/>
                    </a:cxn>
                    <a:cxn ang="0">
                      <a:pos x="198" y="2993"/>
                    </a:cxn>
                    <a:cxn ang="0">
                      <a:pos x="165" y="2927"/>
                    </a:cxn>
                    <a:cxn ang="0">
                      <a:pos x="135" y="2831"/>
                    </a:cxn>
                    <a:cxn ang="0">
                      <a:pos x="107" y="2709"/>
                    </a:cxn>
                    <a:cxn ang="0">
                      <a:pos x="83" y="2563"/>
                    </a:cxn>
                    <a:cxn ang="0">
                      <a:pos x="51" y="2274"/>
                    </a:cxn>
                    <a:cxn ang="0">
                      <a:pos x="29" y="1864"/>
                    </a:cxn>
                    <a:cxn ang="0">
                      <a:pos x="23" y="1563"/>
                    </a:cxn>
                    <a:cxn ang="0">
                      <a:pos x="31" y="1116"/>
                    </a:cxn>
                    <a:cxn ang="0">
                      <a:pos x="58" y="720"/>
                    </a:cxn>
                    <a:cxn ang="0">
                      <a:pos x="85" y="496"/>
                    </a:cxn>
                    <a:cxn ang="0">
                      <a:pos x="109" y="351"/>
                    </a:cxn>
                    <a:cxn ang="0">
                      <a:pos x="137" y="231"/>
                    </a:cxn>
                    <a:cxn ang="0">
                      <a:pos x="167" y="139"/>
                    </a:cxn>
                    <a:cxn ang="0">
                      <a:pos x="201" y="74"/>
                    </a:cxn>
                    <a:cxn ang="0">
                      <a:pos x="225" y="49"/>
                    </a:cxn>
                    <a:cxn ang="0">
                      <a:pos x="244" y="40"/>
                    </a:cxn>
                    <a:cxn ang="0">
                      <a:pos x="260" y="39"/>
                    </a:cxn>
                    <a:cxn ang="0">
                      <a:pos x="304" y="29"/>
                    </a:cxn>
                    <a:cxn ang="0">
                      <a:pos x="282" y="9"/>
                    </a:cxn>
                    <a:cxn ang="0">
                      <a:pos x="259" y="0"/>
                    </a:cxn>
                    <a:cxn ang="0">
                      <a:pos x="244" y="2"/>
                    </a:cxn>
                    <a:cxn ang="0">
                      <a:pos x="224" y="11"/>
                    </a:cxn>
                    <a:cxn ang="0">
                      <a:pos x="200" y="36"/>
                    </a:cxn>
                    <a:cxn ang="0">
                      <a:pos x="164" y="103"/>
                    </a:cxn>
                    <a:cxn ang="0">
                      <a:pos x="130" y="199"/>
                    </a:cxn>
                    <a:cxn ang="0">
                      <a:pos x="99" y="322"/>
                    </a:cxn>
                    <a:cxn ang="0">
                      <a:pos x="72" y="469"/>
                    </a:cxn>
                    <a:cxn ang="0">
                      <a:pos x="47" y="639"/>
                    </a:cxn>
                    <a:cxn ang="0">
                      <a:pos x="18" y="963"/>
                    </a:cxn>
                    <a:cxn ang="0">
                      <a:pos x="1" y="1406"/>
                    </a:cxn>
                    <a:cxn ang="0">
                      <a:pos x="2" y="1720"/>
                    </a:cxn>
                    <a:cxn ang="0">
                      <a:pos x="22" y="2159"/>
                    </a:cxn>
                    <a:cxn ang="0">
                      <a:pos x="46" y="2418"/>
                    </a:cxn>
                    <a:cxn ang="0">
                      <a:pos x="70" y="2589"/>
                    </a:cxn>
                    <a:cxn ang="0">
                      <a:pos x="96" y="2739"/>
                    </a:cxn>
                    <a:cxn ang="0">
                      <a:pos x="126" y="2865"/>
                    </a:cxn>
                    <a:cxn ang="0">
                      <a:pos x="160" y="2962"/>
                    </a:cxn>
                    <a:cxn ang="0">
                      <a:pos x="195" y="3031"/>
                    </a:cxn>
                    <a:cxn ang="0">
                      <a:pos x="221" y="3058"/>
                    </a:cxn>
                    <a:cxn ang="0">
                      <a:pos x="240" y="3070"/>
                    </a:cxn>
                    <a:cxn ang="0">
                      <a:pos x="260" y="3072"/>
                    </a:cxn>
                    <a:cxn ang="0">
                      <a:pos x="273" y="3069"/>
                    </a:cxn>
                    <a:cxn ang="0">
                      <a:pos x="293" y="3056"/>
                    </a:cxn>
                    <a:cxn ang="0">
                      <a:pos x="261" y="3034"/>
                    </a:cxn>
                  </a:cxnLst>
                  <a:rect l="0" t="0" r="r" b="b"/>
                  <a:pathLst>
                    <a:path w="312" h="3072">
                      <a:moveTo>
                        <a:pt x="261" y="3034"/>
                      </a:moveTo>
                      <a:lnTo>
                        <a:pt x="261" y="3034"/>
                      </a:lnTo>
                      <a:lnTo>
                        <a:pt x="259" y="3034"/>
                      </a:lnTo>
                      <a:lnTo>
                        <a:pt x="259" y="3034"/>
                      </a:lnTo>
                      <a:lnTo>
                        <a:pt x="253" y="3035"/>
                      </a:lnTo>
                      <a:lnTo>
                        <a:pt x="246" y="3034"/>
                      </a:lnTo>
                      <a:lnTo>
                        <a:pt x="240" y="3032"/>
                      </a:lnTo>
                      <a:lnTo>
                        <a:pt x="234" y="3029"/>
                      </a:lnTo>
                      <a:lnTo>
                        <a:pt x="227" y="3026"/>
                      </a:lnTo>
                      <a:lnTo>
                        <a:pt x="222" y="3021"/>
                      </a:lnTo>
                      <a:lnTo>
                        <a:pt x="210" y="3010"/>
                      </a:lnTo>
                      <a:lnTo>
                        <a:pt x="198" y="2993"/>
                      </a:lnTo>
                      <a:lnTo>
                        <a:pt x="187" y="2975"/>
                      </a:lnTo>
                      <a:lnTo>
                        <a:pt x="175" y="2953"/>
                      </a:lnTo>
                      <a:lnTo>
                        <a:pt x="165" y="2927"/>
                      </a:lnTo>
                      <a:lnTo>
                        <a:pt x="154" y="2898"/>
                      </a:lnTo>
                      <a:lnTo>
                        <a:pt x="144" y="2866"/>
                      </a:lnTo>
                      <a:lnTo>
                        <a:pt x="135" y="2831"/>
                      </a:lnTo>
                      <a:lnTo>
                        <a:pt x="125" y="2794"/>
                      </a:lnTo>
                      <a:lnTo>
                        <a:pt x="116" y="2753"/>
                      </a:lnTo>
                      <a:lnTo>
                        <a:pt x="107" y="2709"/>
                      </a:lnTo>
                      <a:lnTo>
                        <a:pt x="99" y="2663"/>
                      </a:lnTo>
                      <a:lnTo>
                        <a:pt x="90" y="2614"/>
                      </a:lnTo>
                      <a:lnTo>
                        <a:pt x="83" y="2563"/>
                      </a:lnTo>
                      <a:lnTo>
                        <a:pt x="75" y="2509"/>
                      </a:lnTo>
                      <a:lnTo>
                        <a:pt x="63" y="2396"/>
                      </a:lnTo>
                      <a:lnTo>
                        <a:pt x="51" y="2274"/>
                      </a:lnTo>
                      <a:lnTo>
                        <a:pt x="42" y="2144"/>
                      </a:lnTo>
                      <a:lnTo>
                        <a:pt x="34" y="2007"/>
                      </a:lnTo>
                      <a:lnTo>
                        <a:pt x="29" y="1864"/>
                      </a:lnTo>
                      <a:lnTo>
                        <a:pt x="24" y="1715"/>
                      </a:lnTo>
                      <a:lnTo>
                        <a:pt x="23" y="1563"/>
                      </a:lnTo>
                      <a:lnTo>
                        <a:pt x="23" y="1563"/>
                      </a:lnTo>
                      <a:lnTo>
                        <a:pt x="24" y="1410"/>
                      </a:lnTo>
                      <a:lnTo>
                        <a:pt x="27" y="1260"/>
                      </a:lnTo>
                      <a:lnTo>
                        <a:pt x="31" y="1116"/>
                      </a:lnTo>
                      <a:lnTo>
                        <a:pt x="38" y="978"/>
                      </a:lnTo>
                      <a:lnTo>
                        <a:pt x="47" y="846"/>
                      </a:lnTo>
                      <a:lnTo>
                        <a:pt x="58" y="720"/>
                      </a:lnTo>
                      <a:lnTo>
                        <a:pt x="71" y="604"/>
                      </a:lnTo>
                      <a:lnTo>
                        <a:pt x="78" y="548"/>
                      </a:lnTo>
                      <a:lnTo>
                        <a:pt x="85" y="496"/>
                      </a:lnTo>
                      <a:lnTo>
                        <a:pt x="92" y="445"/>
                      </a:lnTo>
                      <a:lnTo>
                        <a:pt x="100" y="397"/>
                      </a:lnTo>
                      <a:lnTo>
                        <a:pt x="109" y="351"/>
                      </a:lnTo>
                      <a:lnTo>
                        <a:pt x="117" y="309"/>
                      </a:lnTo>
                      <a:lnTo>
                        <a:pt x="126" y="269"/>
                      </a:lnTo>
                      <a:lnTo>
                        <a:pt x="137" y="231"/>
                      </a:lnTo>
                      <a:lnTo>
                        <a:pt x="146" y="198"/>
                      </a:lnTo>
                      <a:lnTo>
                        <a:pt x="157" y="166"/>
                      </a:lnTo>
                      <a:lnTo>
                        <a:pt x="167" y="139"/>
                      </a:lnTo>
                      <a:lnTo>
                        <a:pt x="179" y="113"/>
                      </a:lnTo>
                      <a:lnTo>
                        <a:pt x="189" y="92"/>
                      </a:lnTo>
                      <a:lnTo>
                        <a:pt x="201" y="74"/>
                      </a:lnTo>
                      <a:lnTo>
                        <a:pt x="214" y="60"/>
                      </a:lnTo>
                      <a:lnTo>
                        <a:pt x="219" y="54"/>
                      </a:lnTo>
                      <a:lnTo>
                        <a:pt x="225" y="49"/>
                      </a:lnTo>
                      <a:lnTo>
                        <a:pt x="232" y="45"/>
                      </a:lnTo>
                      <a:lnTo>
                        <a:pt x="238" y="41"/>
                      </a:lnTo>
                      <a:lnTo>
                        <a:pt x="244" y="40"/>
                      </a:lnTo>
                      <a:lnTo>
                        <a:pt x="251" y="39"/>
                      </a:lnTo>
                      <a:lnTo>
                        <a:pt x="251" y="39"/>
                      </a:lnTo>
                      <a:lnTo>
                        <a:pt x="260" y="39"/>
                      </a:lnTo>
                      <a:lnTo>
                        <a:pt x="312" y="39"/>
                      </a:lnTo>
                      <a:lnTo>
                        <a:pt x="312" y="39"/>
                      </a:lnTo>
                      <a:lnTo>
                        <a:pt x="304" y="29"/>
                      </a:lnTo>
                      <a:lnTo>
                        <a:pt x="297" y="21"/>
                      </a:lnTo>
                      <a:lnTo>
                        <a:pt x="289" y="14"/>
                      </a:lnTo>
                      <a:lnTo>
                        <a:pt x="282" y="9"/>
                      </a:lnTo>
                      <a:lnTo>
                        <a:pt x="274" y="4"/>
                      </a:lnTo>
                      <a:lnTo>
                        <a:pt x="266" y="2"/>
                      </a:lnTo>
                      <a:lnTo>
                        <a:pt x="259" y="0"/>
                      </a:lnTo>
                      <a:lnTo>
                        <a:pt x="251" y="0"/>
                      </a:lnTo>
                      <a:lnTo>
                        <a:pt x="251" y="0"/>
                      </a:lnTo>
                      <a:lnTo>
                        <a:pt x="244" y="2"/>
                      </a:lnTo>
                      <a:lnTo>
                        <a:pt x="238" y="4"/>
                      </a:lnTo>
                      <a:lnTo>
                        <a:pt x="231" y="6"/>
                      </a:lnTo>
                      <a:lnTo>
                        <a:pt x="224" y="11"/>
                      </a:lnTo>
                      <a:lnTo>
                        <a:pt x="218" y="16"/>
                      </a:lnTo>
                      <a:lnTo>
                        <a:pt x="211" y="22"/>
                      </a:lnTo>
                      <a:lnTo>
                        <a:pt x="200" y="36"/>
                      </a:lnTo>
                      <a:lnTo>
                        <a:pt x="187" y="55"/>
                      </a:lnTo>
                      <a:lnTo>
                        <a:pt x="175" y="77"/>
                      </a:lnTo>
                      <a:lnTo>
                        <a:pt x="164" y="103"/>
                      </a:lnTo>
                      <a:lnTo>
                        <a:pt x="152" y="132"/>
                      </a:lnTo>
                      <a:lnTo>
                        <a:pt x="140" y="163"/>
                      </a:lnTo>
                      <a:lnTo>
                        <a:pt x="130" y="199"/>
                      </a:lnTo>
                      <a:lnTo>
                        <a:pt x="118" y="236"/>
                      </a:lnTo>
                      <a:lnTo>
                        <a:pt x="109" y="278"/>
                      </a:lnTo>
                      <a:lnTo>
                        <a:pt x="99" y="322"/>
                      </a:lnTo>
                      <a:lnTo>
                        <a:pt x="89" y="368"/>
                      </a:lnTo>
                      <a:lnTo>
                        <a:pt x="80" y="417"/>
                      </a:lnTo>
                      <a:lnTo>
                        <a:pt x="72" y="469"/>
                      </a:lnTo>
                      <a:lnTo>
                        <a:pt x="63" y="523"/>
                      </a:lnTo>
                      <a:lnTo>
                        <a:pt x="56" y="580"/>
                      </a:lnTo>
                      <a:lnTo>
                        <a:pt x="47" y="639"/>
                      </a:lnTo>
                      <a:lnTo>
                        <a:pt x="41" y="699"/>
                      </a:lnTo>
                      <a:lnTo>
                        <a:pt x="29" y="828"/>
                      </a:lnTo>
                      <a:lnTo>
                        <a:pt x="18" y="963"/>
                      </a:lnTo>
                      <a:lnTo>
                        <a:pt x="10" y="1106"/>
                      </a:lnTo>
                      <a:lnTo>
                        <a:pt x="5" y="1253"/>
                      </a:lnTo>
                      <a:lnTo>
                        <a:pt x="1" y="1406"/>
                      </a:lnTo>
                      <a:lnTo>
                        <a:pt x="0" y="1563"/>
                      </a:lnTo>
                      <a:lnTo>
                        <a:pt x="0" y="1563"/>
                      </a:lnTo>
                      <a:lnTo>
                        <a:pt x="2" y="1720"/>
                      </a:lnTo>
                      <a:lnTo>
                        <a:pt x="6" y="1872"/>
                      </a:lnTo>
                      <a:lnTo>
                        <a:pt x="13" y="2019"/>
                      </a:lnTo>
                      <a:lnTo>
                        <a:pt x="22" y="2159"/>
                      </a:lnTo>
                      <a:lnTo>
                        <a:pt x="32" y="2292"/>
                      </a:lnTo>
                      <a:lnTo>
                        <a:pt x="39" y="2356"/>
                      </a:lnTo>
                      <a:lnTo>
                        <a:pt x="46" y="2418"/>
                      </a:lnTo>
                      <a:lnTo>
                        <a:pt x="53" y="2477"/>
                      </a:lnTo>
                      <a:lnTo>
                        <a:pt x="61" y="2535"/>
                      </a:lnTo>
                      <a:lnTo>
                        <a:pt x="70" y="2589"/>
                      </a:lnTo>
                      <a:lnTo>
                        <a:pt x="78" y="2642"/>
                      </a:lnTo>
                      <a:lnTo>
                        <a:pt x="87" y="2692"/>
                      </a:lnTo>
                      <a:lnTo>
                        <a:pt x="96" y="2739"/>
                      </a:lnTo>
                      <a:lnTo>
                        <a:pt x="106" y="2783"/>
                      </a:lnTo>
                      <a:lnTo>
                        <a:pt x="116" y="2825"/>
                      </a:lnTo>
                      <a:lnTo>
                        <a:pt x="126" y="2865"/>
                      </a:lnTo>
                      <a:lnTo>
                        <a:pt x="137" y="2901"/>
                      </a:lnTo>
                      <a:lnTo>
                        <a:pt x="149" y="2933"/>
                      </a:lnTo>
                      <a:lnTo>
                        <a:pt x="160" y="2962"/>
                      </a:lnTo>
                      <a:lnTo>
                        <a:pt x="172" y="2989"/>
                      </a:lnTo>
                      <a:lnTo>
                        <a:pt x="183" y="3012"/>
                      </a:lnTo>
                      <a:lnTo>
                        <a:pt x="195" y="3031"/>
                      </a:lnTo>
                      <a:lnTo>
                        <a:pt x="208" y="3047"/>
                      </a:lnTo>
                      <a:lnTo>
                        <a:pt x="215" y="3054"/>
                      </a:lnTo>
                      <a:lnTo>
                        <a:pt x="221" y="3058"/>
                      </a:lnTo>
                      <a:lnTo>
                        <a:pt x="226" y="3064"/>
                      </a:lnTo>
                      <a:lnTo>
                        <a:pt x="233" y="3068"/>
                      </a:lnTo>
                      <a:lnTo>
                        <a:pt x="240" y="3070"/>
                      </a:lnTo>
                      <a:lnTo>
                        <a:pt x="246" y="3072"/>
                      </a:lnTo>
                      <a:lnTo>
                        <a:pt x="253" y="3072"/>
                      </a:lnTo>
                      <a:lnTo>
                        <a:pt x="260" y="3072"/>
                      </a:lnTo>
                      <a:lnTo>
                        <a:pt x="260" y="3072"/>
                      </a:lnTo>
                      <a:lnTo>
                        <a:pt x="266" y="3071"/>
                      </a:lnTo>
                      <a:lnTo>
                        <a:pt x="273" y="3069"/>
                      </a:lnTo>
                      <a:lnTo>
                        <a:pt x="280" y="3065"/>
                      </a:lnTo>
                      <a:lnTo>
                        <a:pt x="286" y="3062"/>
                      </a:lnTo>
                      <a:lnTo>
                        <a:pt x="293" y="3056"/>
                      </a:lnTo>
                      <a:lnTo>
                        <a:pt x="299" y="3050"/>
                      </a:lnTo>
                      <a:lnTo>
                        <a:pt x="312" y="3034"/>
                      </a:lnTo>
                      <a:lnTo>
                        <a:pt x="261" y="3034"/>
                      </a:lnTo>
                      <a:close/>
                    </a:path>
                  </a:pathLst>
                </a:custGeom>
                <a:gradFill flip="none" rotWithShape="1">
                  <a:gsLst>
                    <a:gs pos="0">
                      <a:schemeClr val="accent6">
                        <a:lumMod val="75000"/>
                      </a:schemeClr>
                    </a:gs>
                    <a:gs pos="100000">
                      <a:schemeClr val="accent6">
                        <a:lumMod val="50000"/>
                      </a:schemeClr>
                    </a:gs>
                  </a:gsLst>
                  <a:lin ang="5400000" scaled="0"/>
                  <a:tileRect/>
                </a:gradFill>
                <a:ln w="9525">
                  <a:noFill/>
                  <a:round/>
                  <a:headEnd/>
                  <a:tailEnd/>
                </a:ln>
              </p:spPr>
              <p:txBody>
                <a:bodyPr vert="horz" wrap="square" lIns="91440" tIns="45720" rIns="91440" bIns="45720" numCol="1" rtlCol="0" anchor="t" anchorCtr="0" compatLnSpc="1">
                  <a:prstTxWarp prst="textNoShape">
                    <a:avLst/>
                  </a:prstTxWarp>
                </a:bodyPr>
                <a:lstStyle/>
                <a:p>
                  <a:pPr rtl="0"/>
                  <a:endParaRPr lang="es-MX" noProof="0"/>
                </a:p>
              </p:txBody>
            </p:sp>
          </p:grpSp>
        </p:grpSp>
        <p:sp>
          <p:nvSpPr>
            <p:cNvPr id="38" name="Forma libre 7">
              <a:extLst>
                <a:ext uri="{FF2B5EF4-FFF2-40B4-BE49-F238E27FC236}">
                  <a16:creationId xmlns:a16="http://schemas.microsoft.com/office/drawing/2014/main" id="{7F387393-1831-EF45-9FAB-38D3997ADBDE}"/>
                </a:ext>
              </a:extLst>
            </p:cNvPr>
            <p:cNvSpPr>
              <a:spLocks/>
            </p:cNvSpPr>
            <p:nvPr userDrawn="1"/>
          </p:nvSpPr>
          <p:spPr bwMode="auto">
            <a:xfrm rot="5400000">
              <a:off x="4608509" y="2833196"/>
              <a:ext cx="2082806" cy="33436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sp>
          <p:nvSpPr>
            <p:cNvPr id="39" name="Forma libre 7">
              <a:extLst>
                <a:ext uri="{FF2B5EF4-FFF2-40B4-BE49-F238E27FC236}">
                  <a16:creationId xmlns:a16="http://schemas.microsoft.com/office/drawing/2014/main" id="{78BCC8E1-0AAD-EB4A-A94D-E3BED978D5B9}"/>
                </a:ext>
              </a:extLst>
            </p:cNvPr>
            <p:cNvSpPr>
              <a:spLocks/>
            </p:cNvSpPr>
            <p:nvPr userDrawn="1"/>
          </p:nvSpPr>
          <p:spPr bwMode="auto">
            <a:xfrm rot="5400000">
              <a:off x="5422362" y="2756991"/>
              <a:ext cx="3032202" cy="486774"/>
            </a:xfrm>
            <a:custGeom>
              <a:avLst/>
              <a:gdLst/>
              <a:ahLst/>
              <a:cxnLst>
                <a:cxn ang="0">
                  <a:pos x="5888" y="522"/>
                </a:cxn>
                <a:cxn ang="0">
                  <a:pos x="5873" y="561"/>
                </a:cxn>
                <a:cxn ang="0">
                  <a:pos x="5843" y="599"/>
                </a:cxn>
                <a:cxn ang="0">
                  <a:pos x="5796" y="636"/>
                </a:cxn>
                <a:cxn ang="0">
                  <a:pos x="5734" y="673"/>
                </a:cxn>
                <a:cxn ang="0">
                  <a:pos x="5658" y="706"/>
                </a:cxn>
                <a:cxn ang="0">
                  <a:pos x="5462" y="773"/>
                </a:cxn>
                <a:cxn ang="0">
                  <a:pos x="5217" y="833"/>
                </a:cxn>
                <a:cxn ang="0">
                  <a:pos x="4924" y="885"/>
                </a:cxn>
                <a:cxn ang="0">
                  <a:pos x="4591" y="931"/>
                </a:cxn>
                <a:cxn ang="0">
                  <a:pos x="4221" y="967"/>
                </a:cxn>
                <a:cxn ang="0">
                  <a:pos x="3819" y="994"/>
                </a:cxn>
                <a:cxn ang="0">
                  <a:pos x="3392" y="1012"/>
                </a:cxn>
                <a:cxn ang="0">
                  <a:pos x="2944" y="1017"/>
                </a:cxn>
                <a:cxn ang="0">
                  <a:pos x="2643" y="1014"/>
                </a:cxn>
                <a:cxn ang="0">
                  <a:pos x="2208" y="1002"/>
                </a:cxn>
                <a:cxn ang="0">
                  <a:pos x="1798" y="978"/>
                </a:cxn>
                <a:cxn ang="0">
                  <a:pos x="1417" y="944"/>
                </a:cxn>
                <a:cxn ang="0">
                  <a:pos x="1070" y="902"/>
                </a:cxn>
                <a:cxn ang="0">
                  <a:pos x="765" y="850"/>
                </a:cxn>
                <a:cxn ang="0">
                  <a:pos x="502" y="793"/>
                </a:cxn>
                <a:cxn ang="0">
                  <a:pos x="290" y="729"/>
                </a:cxn>
                <a:cxn ang="0">
                  <a:pos x="178" y="684"/>
                </a:cxn>
                <a:cxn ang="0">
                  <a:pos x="111" y="649"/>
                </a:cxn>
                <a:cxn ang="0">
                  <a:pos x="60" y="611"/>
                </a:cxn>
                <a:cxn ang="0">
                  <a:pos x="24" y="574"/>
                </a:cxn>
                <a:cxn ang="0">
                  <a:pos x="3" y="535"/>
                </a:cxn>
                <a:cxn ang="0">
                  <a:pos x="0" y="509"/>
                </a:cxn>
                <a:cxn ang="0">
                  <a:pos x="8" y="470"/>
                </a:cxn>
                <a:cxn ang="0">
                  <a:pos x="34" y="431"/>
                </a:cxn>
                <a:cxn ang="0">
                  <a:pos x="75" y="395"/>
                </a:cxn>
                <a:cxn ang="0">
                  <a:pos x="131" y="358"/>
                </a:cxn>
                <a:cxn ang="0">
                  <a:pos x="204" y="322"/>
                </a:cxn>
                <a:cxn ang="0">
                  <a:pos x="355" y="267"/>
                </a:cxn>
                <a:cxn ang="0">
                  <a:pos x="585" y="204"/>
                </a:cxn>
                <a:cxn ang="0">
                  <a:pos x="861" y="149"/>
                </a:cxn>
                <a:cxn ang="0">
                  <a:pos x="1182" y="102"/>
                </a:cxn>
                <a:cxn ang="0">
                  <a:pos x="1540" y="61"/>
                </a:cxn>
                <a:cxn ang="0">
                  <a:pos x="1932" y="31"/>
                </a:cxn>
                <a:cxn ang="0">
                  <a:pos x="2350" y="10"/>
                </a:cxn>
                <a:cxn ang="0">
                  <a:pos x="2792" y="1"/>
                </a:cxn>
                <a:cxn ang="0">
                  <a:pos x="3096" y="1"/>
                </a:cxn>
                <a:cxn ang="0">
                  <a:pos x="3538" y="10"/>
                </a:cxn>
                <a:cxn ang="0">
                  <a:pos x="3957" y="31"/>
                </a:cxn>
                <a:cxn ang="0">
                  <a:pos x="4348" y="61"/>
                </a:cxn>
                <a:cxn ang="0">
                  <a:pos x="4706" y="102"/>
                </a:cxn>
                <a:cxn ang="0">
                  <a:pos x="5027" y="149"/>
                </a:cxn>
                <a:cxn ang="0">
                  <a:pos x="5303" y="204"/>
                </a:cxn>
                <a:cxn ang="0">
                  <a:pos x="5534" y="267"/>
                </a:cxn>
                <a:cxn ang="0">
                  <a:pos x="5684" y="322"/>
                </a:cxn>
                <a:cxn ang="0">
                  <a:pos x="5757" y="358"/>
                </a:cxn>
                <a:cxn ang="0">
                  <a:pos x="5813" y="395"/>
                </a:cxn>
                <a:cxn ang="0">
                  <a:pos x="5854" y="431"/>
                </a:cxn>
                <a:cxn ang="0">
                  <a:pos x="5881" y="470"/>
                </a:cxn>
                <a:cxn ang="0">
                  <a:pos x="5888" y="509"/>
                </a:cxn>
              </a:cxnLst>
              <a:rect l="0" t="0" r="r" b="b"/>
              <a:pathLst>
                <a:path w="5888" h="1017">
                  <a:moveTo>
                    <a:pt x="5888" y="509"/>
                  </a:moveTo>
                  <a:lnTo>
                    <a:pt x="5888" y="509"/>
                  </a:lnTo>
                  <a:lnTo>
                    <a:pt x="5888" y="522"/>
                  </a:lnTo>
                  <a:lnTo>
                    <a:pt x="5885" y="535"/>
                  </a:lnTo>
                  <a:lnTo>
                    <a:pt x="5881" y="549"/>
                  </a:lnTo>
                  <a:lnTo>
                    <a:pt x="5873" y="561"/>
                  </a:lnTo>
                  <a:lnTo>
                    <a:pt x="5866" y="574"/>
                  </a:lnTo>
                  <a:lnTo>
                    <a:pt x="5854" y="586"/>
                  </a:lnTo>
                  <a:lnTo>
                    <a:pt x="5843" y="599"/>
                  </a:lnTo>
                  <a:lnTo>
                    <a:pt x="5829" y="611"/>
                  </a:lnTo>
                  <a:lnTo>
                    <a:pt x="5813" y="624"/>
                  </a:lnTo>
                  <a:lnTo>
                    <a:pt x="5796" y="636"/>
                  </a:lnTo>
                  <a:lnTo>
                    <a:pt x="5777" y="649"/>
                  </a:lnTo>
                  <a:lnTo>
                    <a:pt x="5757" y="660"/>
                  </a:lnTo>
                  <a:lnTo>
                    <a:pt x="5734" y="673"/>
                  </a:lnTo>
                  <a:lnTo>
                    <a:pt x="5710" y="684"/>
                  </a:lnTo>
                  <a:lnTo>
                    <a:pt x="5684" y="695"/>
                  </a:lnTo>
                  <a:lnTo>
                    <a:pt x="5658" y="706"/>
                  </a:lnTo>
                  <a:lnTo>
                    <a:pt x="5599" y="729"/>
                  </a:lnTo>
                  <a:lnTo>
                    <a:pt x="5534" y="751"/>
                  </a:lnTo>
                  <a:lnTo>
                    <a:pt x="5462" y="773"/>
                  </a:lnTo>
                  <a:lnTo>
                    <a:pt x="5386" y="793"/>
                  </a:lnTo>
                  <a:lnTo>
                    <a:pt x="5303" y="813"/>
                  </a:lnTo>
                  <a:lnTo>
                    <a:pt x="5217" y="833"/>
                  </a:lnTo>
                  <a:lnTo>
                    <a:pt x="5124" y="850"/>
                  </a:lnTo>
                  <a:lnTo>
                    <a:pt x="5027" y="869"/>
                  </a:lnTo>
                  <a:lnTo>
                    <a:pt x="4924" y="885"/>
                  </a:lnTo>
                  <a:lnTo>
                    <a:pt x="4818" y="902"/>
                  </a:lnTo>
                  <a:lnTo>
                    <a:pt x="4706" y="917"/>
                  </a:lnTo>
                  <a:lnTo>
                    <a:pt x="4591" y="931"/>
                  </a:lnTo>
                  <a:lnTo>
                    <a:pt x="4471" y="944"/>
                  </a:lnTo>
                  <a:lnTo>
                    <a:pt x="4348" y="956"/>
                  </a:lnTo>
                  <a:lnTo>
                    <a:pt x="4221" y="967"/>
                  </a:lnTo>
                  <a:lnTo>
                    <a:pt x="4090" y="978"/>
                  </a:lnTo>
                  <a:lnTo>
                    <a:pt x="3957" y="987"/>
                  </a:lnTo>
                  <a:lnTo>
                    <a:pt x="3819" y="994"/>
                  </a:lnTo>
                  <a:lnTo>
                    <a:pt x="3680" y="1002"/>
                  </a:lnTo>
                  <a:lnTo>
                    <a:pt x="3538" y="1007"/>
                  </a:lnTo>
                  <a:lnTo>
                    <a:pt x="3392" y="1012"/>
                  </a:lnTo>
                  <a:lnTo>
                    <a:pt x="3246" y="1014"/>
                  </a:lnTo>
                  <a:lnTo>
                    <a:pt x="3096" y="1017"/>
                  </a:lnTo>
                  <a:lnTo>
                    <a:pt x="2944" y="1017"/>
                  </a:lnTo>
                  <a:lnTo>
                    <a:pt x="2944" y="1017"/>
                  </a:lnTo>
                  <a:lnTo>
                    <a:pt x="2792" y="1017"/>
                  </a:lnTo>
                  <a:lnTo>
                    <a:pt x="2643" y="1014"/>
                  </a:lnTo>
                  <a:lnTo>
                    <a:pt x="2496" y="1012"/>
                  </a:lnTo>
                  <a:lnTo>
                    <a:pt x="2350" y="1007"/>
                  </a:lnTo>
                  <a:lnTo>
                    <a:pt x="2208" y="1002"/>
                  </a:lnTo>
                  <a:lnTo>
                    <a:pt x="2069" y="994"/>
                  </a:lnTo>
                  <a:lnTo>
                    <a:pt x="1932" y="987"/>
                  </a:lnTo>
                  <a:lnTo>
                    <a:pt x="1798" y="978"/>
                  </a:lnTo>
                  <a:lnTo>
                    <a:pt x="1668" y="967"/>
                  </a:lnTo>
                  <a:lnTo>
                    <a:pt x="1540" y="956"/>
                  </a:lnTo>
                  <a:lnTo>
                    <a:pt x="1417" y="944"/>
                  </a:lnTo>
                  <a:lnTo>
                    <a:pt x="1297" y="931"/>
                  </a:lnTo>
                  <a:lnTo>
                    <a:pt x="1182" y="917"/>
                  </a:lnTo>
                  <a:lnTo>
                    <a:pt x="1070" y="902"/>
                  </a:lnTo>
                  <a:lnTo>
                    <a:pt x="964" y="885"/>
                  </a:lnTo>
                  <a:lnTo>
                    <a:pt x="861" y="869"/>
                  </a:lnTo>
                  <a:lnTo>
                    <a:pt x="765" y="850"/>
                  </a:lnTo>
                  <a:lnTo>
                    <a:pt x="672" y="833"/>
                  </a:lnTo>
                  <a:lnTo>
                    <a:pt x="585" y="813"/>
                  </a:lnTo>
                  <a:lnTo>
                    <a:pt x="502" y="793"/>
                  </a:lnTo>
                  <a:lnTo>
                    <a:pt x="426" y="773"/>
                  </a:lnTo>
                  <a:lnTo>
                    <a:pt x="355" y="751"/>
                  </a:lnTo>
                  <a:lnTo>
                    <a:pt x="290" y="729"/>
                  </a:lnTo>
                  <a:lnTo>
                    <a:pt x="231" y="706"/>
                  </a:lnTo>
                  <a:lnTo>
                    <a:pt x="204" y="695"/>
                  </a:lnTo>
                  <a:lnTo>
                    <a:pt x="178" y="684"/>
                  </a:lnTo>
                  <a:lnTo>
                    <a:pt x="154" y="673"/>
                  </a:lnTo>
                  <a:lnTo>
                    <a:pt x="131" y="660"/>
                  </a:lnTo>
                  <a:lnTo>
                    <a:pt x="111" y="649"/>
                  </a:lnTo>
                  <a:lnTo>
                    <a:pt x="92" y="636"/>
                  </a:lnTo>
                  <a:lnTo>
                    <a:pt x="75" y="624"/>
                  </a:lnTo>
                  <a:lnTo>
                    <a:pt x="60" y="611"/>
                  </a:lnTo>
                  <a:lnTo>
                    <a:pt x="45" y="599"/>
                  </a:lnTo>
                  <a:lnTo>
                    <a:pt x="34" y="586"/>
                  </a:lnTo>
                  <a:lnTo>
                    <a:pt x="24" y="574"/>
                  </a:lnTo>
                  <a:lnTo>
                    <a:pt x="15" y="561"/>
                  </a:lnTo>
                  <a:lnTo>
                    <a:pt x="8" y="549"/>
                  </a:lnTo>
                  <a:lnTo>
                    <a:pt x="3" y="535"/>
                  </a:lnTo>
                  <a:lnTo>
                    <a:pt x="1" y="522"/>
                  </a:lnTo>
                  <a:lnTo>
                    <a:pt x="0" y="509"/>
                  </a:lnTo>
                  <a:lnTo>
                    <a:pt x="0" y="509"/>
                  </a:lnTo>
                  <a:lnTo>
                    <a:pt x="1" y="496"/>
                  </a:lnTo>
                  <a:lnTo>
                    <a:pt x="3" y="482"/>
                  </a:lnTo>
                  <a:lnTo>
                    <a:pt x="8" y="470"/>
                  </a:lnTo>
                  <a:lnTo>
                    <a:pt x="15" y="457"/>
                  </a:lnTo>
                  <a:lnTo>
                    <a:pt x="24" y="445"/>
                  </a:lnTo>
                  <a:lnTo>
                    <a:pt x="34" y="431"/>
                  </a:lnTo>
                  <a:lnTo>
                    <a:pt x="45" y="418"/>
                  </a:lnTo>
                  <a:lnTo>
                    <a:pt x="60" y="406"/>
                  </a:lnTo>
                  <a:lnTo>
                    <a:pt x="75" y="395"/>
                  </a:lnTo>
                  <a:lnTo>
                    <a:pt x="92" y="382"/>
                  </a:lnTo>
                  <a:lnTo>
                    <a:pt x="111" y="370"/>
                  </a:lnTo>
                  <a:lnTo>
                    <a:pt x="131" y="358"/>
                  </a:lnTo>
                  <a:lnTo>
                    <a:pt x="154" y="346"/>
                  </a:lnTo>
                  <a:lnTo>
                    <a:pt x="178" y="334"/>
                  </a:lnTo>
                  <a:lnTo>
                    <a:pt x="204" y="322"/>
                  </a:lnTo>
                  <a:lnTo>
                    <a:pt x="231" y="311"/>
                  </a:lnTo>
                  <a:lnTo>
                    <a:pt x="290" y="288"/>
                  </a:lnTo>
                  <a:lnTo>
                    <a:pt x="355" y="267"/>
                  </a:lnTo>
                  <a:lnTo>
                    <a:pt x="426" y="246"/>
                  </a:lnTo>
                  <a:lnTo>
                    <a:pt x="502" y="224"/>
                  </a:lnTo>
                  <a:lnTo>
                    <a:pt x="585" y="204"/>
                  </a:lnTo>
                  <a:lnTo>
                    <a:pt x="672" y="185"/>
                  </a:lnTo>
                  <a:lnTo>
                    <a:pt x="765" y="167"/>
                  </a:lnTo>
                  <a:lnTo>
                    <a:pt x="861" y="149"/>
                  </a:lnTo>
                  <a:lnTo>
                    <a:pt x="964" y="133"/>
                  </a:lnTo>
                  <a:lnTo>
                    <a:pt x="1070" y="117"/>
                  </a:lnTo>
                  <a:lnTo>
                    <a:pt x="1182" y="102"/>
                  </a:lnTo>
                  <a:lnTo>
                    <a:pt x="1297" y="88"/>
                  </a:lnTo>
                  <a:lnTo>
                    <a:pt x="1417" y="74"/>
                  </a:lnTo>
                  <a:lnTo>
                    <a:pt x="1540" y="61"/>
                  </a:lnTo>
                  <a:lnTo>
                    <a:pt x="1668" y="50"/>
                  </a:lnTo>
                  <a:lnTo>
                    <a:pt x="1798" y="40"/>
                  </a:lnTo>
                  <a:lnTo>
                    <a:pt x="1932" y="31"/>
                  </a:lnTo>
                  <a:lnTo>
                    <a:pt x="2069" y="23"/>
                  </a:lnTo>
                  <a:lnTo>
                    <a:pt x="2208" y="16"/>
                  </a:lnTo>
                  <a:lnTo>
                    <a:pt x="2350" y="10"/>
                  </a:lnTo>
                  <a:lnTo>
                    <a:pt x="2496" y="6"/>
                  </a:lnTo>
                  <a:lnTo>
                    <a:pt x="2643" y="3"/>
                  </a:lnTo>
                  <a:lnTo>
                    <a:pt x="2792" y="1"/>
                  </a:lnTo>
                  <a:lnTo>
                    <a:pt x="2944" y="0"/>
                  </a:lnTo>
                  <a:lnTo>
                    <a:pt x="2944" y="0"/>
                  </a:lnTo>
                  <a:lnTo>
                    <a:pt x="3096" y="1"/>
                  </a:lnTo>
                  <a:lnTo>
                    <a:pt x="3246" y="3"/>
                  </a:lnTo>
                  <a:lnTo>
                    <a:pt x="3392" y="6"/>
                  </a:lnTo>
                  <a:lnTo>
                    <a:pt x="3538" y="10"/>
                  </a:lnTo>
                  <a:lnTo>
                    <a:pt x="3680" y="16"/>
                  </a:lnTo>
                  <a:lnTo>
                    <a:pt x="3819" y="23"/>
                  </a:lnTo>
                  <a:lnTo>
                    <a:pt x="3957" y="31"/>
                  </a:lnTo>
                  <a:lnTo>
                    <a:pt x="4090" y="40"/>
                  </a:lnTo>
                  <a:lnTo>
                    <a:pt x="4221" y="50"/>
                  </a:lnTo>
                  <a:lnTo>
                    <a:pt x="4348" y="61"/>
                  </a:lnTo>
                  <a:lnTo>
                    <a:pt x="4471" y="74"/>
                  </a:lnTo>
                  <a:lnTo>
                    <a:pt x="4591" y="88"/>
                  </a:lnTo>
                  <a:lnTo>
                    <a:pt x="4706" y="102"/>
                  </a:lnTo>
                  <a:lnTo>
                    <a:pt x="4818" y="117"/>
                  </a:lnTo>
                  <a:lnTo>
                    <a:pt x="4924" y="133"/>
                  </a:lnTo>
                  <a:lnTo>
                    <a:pt x="5027" y="149"/>
                  </a:lnTo>
                  <a:lnTo>
                    <a:pt x="5124" y="167"/>
                  </a:lnTo>
                  <a:lnTo>
                    <a:pt x="5217" y="185"/>
                  </a:lnTo>
                  <a:lnTo>
                    <a:pt x="5303" y="204"/>
                  </a:lnTo>
                  <a:lnTo>
                    <a:pt x="5386" y="224"/>
                  </a:lnTo>
                  <a:lnTo>
                    <a:pt x="5462" y="246"/>
                  </a:lnTo>
                  <a:lnTo>
                    <a:pt x="5534" y="267"/>
                  </a:lnTo>
                  <a:lnTo>
                    <a:pt x="5599" y="288"/>
                  </a:lnTo>
                  <a:lnTo>
                    <a:pt x="5658" y="311"/>
                  </a:lnTo>
                  <a:lnTo>
                    <a:pt x="5684" y="322"/>
                  </a:lnTo>
                  <a:lnTo>
                    <a:pt x="5710" y="334"/>
                  </a:lnTo>
                  <a:lnTo>
                    <a:pt x="5734" y="346"/>
                  </a:lnTo>
                  <a:lnTo>
                    <a:pt x="5757" y="358"/>
                  </a:lnTo>
                  <a:lnTo>
                    <a:pt x="5777" y="370"/>
                  </a:lnTo>
                  <a:lnTo>
                    <a:pt x="5796" y="382"/>
                  </a:lnTo>
                  <a:lnTo>
                    <a:pt x="5813" y="395"/>
                  </a:lnTo>
                  <a:lnTo>
                    <a:pt x="5829" y="406"/>
                  </a:lnTo>
                  <a:lnTo>
                    <a:pt x="5843" y="418"/>
                  </a:lnTo>
                  <a:lnTo>
                    <a:pt x="5854" y="431"/>
                  </a:lnTo>
                  <a:lnTo>
                    <a:pt x="5866" y="445"/>
                  </a:lnTo>
                  <a:lnTo>
                    <a:pt x="5873" y="457"/>
                  </a:lnTo>
                  <a:lnTo>
                    <a:pt x="5881" y="470"/>
                  </a:lnTo>
                  <a:lnTo>
                    <a:pt x="5885" y="482"/>
                  </a:lnTo>
                  <a:lnTo>
                    <a:pt x="5888" y="496"/>
                  </a:lnTo>
                  <a:lnTo>
                    <a:pt x="5888" y="509"/>
                  </a:lnTo>
                  <a:lnTo>
                    <a:pt x="5888" y="509"/>
                  </a:lnTo>
                  <a:close/>
                </a:path>
              </a:pathLst>
            </a:custGeom>
            <a:noFill/>
            <a:ln w="9525">
              <a:gradFill flip="none" rotWithShape="1">
                <a:gsLst>
                  <a:gs pos="0">
                    <a:schemeClr val="tx2">
                      <a:lumMod val="50000"/>
                    </a:schemeClr>
                  </a:gs>
                  <a:gs pos="50000">
                    <a:srgbClr val="FFFFFF">
                      <a:alpha val="0"/>
                    </a:srgbClr>
                  </a:gs>
                </a:gsLst>
                <a:lin ang="16200000" scaled="0"/>
                <a:tileRect/>
              </a:gradFill>
              <a:round/>
              <a:headEnd/>
              <a:tailEnd/>
            </a:ln>
          </p:spPr>
          <p:txBody>
            <a:bodyPr vert="horz" wrap="square" lIns="91440" tIns="45720" rIns="91440" bIns="45720" numCol="1" rtlCol="0" anchor="t" anchorCtr="0" compatLnSpc="1">
              <a:prstTxWarp prst="textNoShape">
                <a:avLst/>
              </a:prstTxWarp>
            </a:bodyPr>
            <a:lstStyle/>
            <a:p>
              <a:pPr rtl="0"/>
              <a:endParaRPr lang="es-MX" sz="1600" noProof="0"/>
            </a:p>
          </p:txBody>
        </p:sp>
      </p:grpSp>
      <p:grpSp>
        <p:nvGrpSpPr>
          <p:cNvPr id="40" name="Grupo 83" title="Ondas de sonido">
            <a:extLst>
              <a:ext uri="{FF2B5EF4-FFF2-40B4-BE49-F238E27FC236}">
                <a16:creationId xmlns:a16="http://schemas.microsoft.com/office/drawing/2014/main" id="{9EC39944-F5AA-6A42-AFC3-C32E0AA94784}"/>
              </a:ext>
            </a:extLst>
          </p:cNvPr>
          <p:cNvGrpSpPr/>
          <p:nvPr userDrawn="1"/>
        </p:nvGrpSpPr>
        <p:grpSpPr>
          <a:xfrm>
            <a:off x="8154988" y="304800"/>
            <a:ext cx="3657598" cy="5429250"/>
            <a:chOff x="4194176" y="1588"/>
            <a:chExt cx="2087562" cy="3714750"/>
          </a:xfrm>
        </p:grpSpPr>
        <p:sp>
          <p:nvSpPr>
            <p:cNvPr id="41" name="Forma libre 31">
              <a:extLst>
                <a:ext uri="{FF2B5EF4-FFF2-40B4-BE49-F238E27FC236}">
                  <a16:creationId xmlns:a16="http://schemas.microsoft.com/office/drawing/2014/main" id="{386787D5-D3C9-A643-840E-B29E3B092B53}"/>
                </a:ext>
              </a:extLst>
            </p:cNvPr>
            <p:cNvSpPr>
              <a:spLocks/>
            </p:cNvSpPr>
            <p:nvPr/>
          </p:nvSpPr>
          <p:spPr bwMode="auto">
            <a:xfrm>
              <a:off x="4194176" y="1576388"/>
              <a:ext cx="120650" cy="563563"/>
            </a:xfrm>
            <a:custGeom>
              <a:avLst/>
              <a:gdLst/>
              <a:ahLst/>
              <a:cxnLst>
                <a:cxn ang="0">
                  <a:pos x="0" y="0"/>
                </a:cxn>
                <a:cxn ang="0">
                  <a:pos x="0" y="0"/>
                </a:cxn>
                <a:cxn ang="0">
                  <a:pos x="12" y="1"/>
                </a:cxn>
                <a:cxn ang="0">
                  <a:pos x="23" y="2"/>
                </a:cxn>
                <a:cxn ang="0">
                  <a:pos x="35" y="6"/>
                </a:cxn>
                <a:cxn ang="0">
                  <a:pos x="47" y="11"/>
                </a:cxn>
                <a:cxn ang="0">
                  <a:pos x="57" y="17"/>
                </a:cxn>
                <a:cxn ang="0">
                  <a:pos x="68" y="23"/>
                </a:cxn>
                <a:cxn ang="0">
                  <a:pos x="78" y="32"/>
                </a:cxn>
                <a:cxn ang="0">
                  <a:pos x="89" y="41"/>
                </a:cxn>
                <a:cxn ang="0">
                  <a:pos x="100" y="52"/>
                </a:cxn>
                <a:cxn ang="0">
                  <a:pos x="109" y="65"/>
                </a:cxn>
                <a:cxn ang="0">
                  <a:pos x="119" y="77"/>
                </a:cxn>
                <a:cxn ang="0">
                  <a:pos x="128" y="91"/>
                </a:cxn>
                <a:cxn ang="0">
                  <a:pos x="137" y="106"/>
                </a:cxn>
                <a:cxn ang="0">
                  <a:pos x="145" y="122"/>
                </a:cxn>
                <a:cxn ang="0">
                  <a:pos x="154" y="138"/>
                </a:cxn>
                <a:cxn ang="0">
                  <a:pos x="161" y="156"/>
                </a:cxn>
                <a:cxn ang="0">
                  <a:pos x="169" y="175"/>
                </a:cxn>
                <a:cxn ang="0">
                  <a:pos x="176" y="194"/>
                </a:cxn>
                <a:cxn ang="0">
                  <a:pos x="190" y="235"/>
                </a:cxn>
                <a:cxn ang="0">
                  <a:pos x="200" y="279"/>
                </a:cxn>
                <a:cxn ang="0">
                  <a:pos x="210" y="325"/>
                </a:cxn>
                <a:cxn ang="0">
                  <a:pos x="218" y="374"/>
                </a:cxn>
                <a:cxn ang="0">
                  <a:pos x="224" y="425"/>
                </a:cxn>
                <a:cxn ang="0">
                  <a:pos x="227" y="478"/>
                </a:cxn>
                <a:cxn ang="0">
                  <a:pos x="228" y="533"/>
                </a:cxn>
                <a:cxn ang="0">
                  <a:pos x="228" y="533"/>
                </a:cxn>
                <a:cxn ang="0">
                  <a:pos x="227" y="587"/>
                </a:cxn>
                <a:cxn ang="0">
                  <a:pos x="224" y="640"/>
                </a:cxn>
                <a:cxn ang="0">
                  <a:pos x="218" y="691"/>
                </a:cxn>
                <a:cxn ang="0">
                  <a:pos x="210" y="740"/>
                </a:cxn>
                <a:cxn ang="0">
                  <a:pos x="200" y="787"/>
                </a:cxn>
                <a:cxn ang="0">
                  <a:pos x="190" y="831"/>
                </a:cxn>
                <a:cxn ang="0">
                  <a:pos x="176" y="871"/>
                </a:cxn>
                <a:cxn ang="0">
                  <a:pos x="169" y="892"/>
                </a:cxn>
                <a:cxn ang="0">
                  <a:pos x="161" y="910"/>
                </a:cxn>
                <a:cxn ang="0">
                  <a:pos x="154" y="928"/>
                </a:cxn>
                <a:cxn ang="0">
                  <a:pos x="145" y="945"/>
                </a:cxn>
                <a:cxn ang="0">
                  <a:pos x="137" y="959"/>
                </a:cxn>
                <a:cxn ang="0">
                  <a:pos x="128" y="974"/>
                </a:cxn>
                <a:cxn ang="0">
                  <a:pos x="119" y="989"/>
                </a:cxn>
                <a:cxn ang="0">
                  <a:pos x="109" y="1002"/>
                </a:cxn>
                <a:cxn ang="0">
                  <a:pos x="100" y="1013"/>
                </a:cxn>
                <a:cxn ang="0">
                  <a:pos x="89" y="1024"/>
                </a:cxn>
                <a:cxn ang="0">
                  <a:pos x="78" y="1034"/>
                </a:cxn>
                <a:cxn ang="0">
                  <a:pos x="68" y="1042"/>
                </a:cxn>
                <a:cxn ang="0">
                  <a:pos x="57" y="1050"/>
                </a:cxn>
                <a:cxn ang="0">
                  <a:pos x="47" y="1055"/>
                </a:cxn>
                <a:cxn ang="0">
                  <a:pos x="35" y="1060"/>
                </a:cxn>
                <a:cxn ang="0">
                  <a:pos x="23" y="1063"/>
                </a:cxn>
                <a:cxn ang="0">
                  <a:pos x="12" y="1065"/>
                </a:cxn>
                <a:cxn ang="0">
                  <a:pos x="0" y="1065"/>
                </a:cxn>
              </a:cxnLst>
              <a:rect l="0" t="0" r="r" b="b"/>
              <a:pathLst>
                <a:path w="228" h="1065">
                  <a:moveTo>
                    <a:pt x="0" y="0"/>
                  </a:moveTo>
                  <a:lnTo>
                    <a:pt x="0" y="0"/>
                  </a:lnTo>
                  <a:lnTo>
                    <a:pt x="12" y="1"/>
                  </a:lnTo>
                  <a:lnTo>
                    <a:pt x="23" y="2"/>
                  </a:lnTo>
                  <a:lnTo>
                    <a:pt x="35" y="6"/>
                  </a:lnTo>
                  <a:lnTo>
                    <a:pt x="47" y="11"/>
                  </a:lnTo>
                  <a:lnTo>
                    <a:pt x="57" y="17"/>
                  </a:lnTo>
                  <a:lnTo>
                    <a:pt x="68" y="23"/>
                  </a:lnTo>
                  <a:lnTo>
                    <a:pt x="78" y="32"/>
                  </a:lnTo>
                  <a:lnTo>
                    <a:pt x="89" y="41"/>
                  </a:lnTo>
                  <a:lnTo>
                    <a:pt x="100" y="52"/>
                  </a:lnTo>
                  <a:lnTo>
                    <a:pt x="109" y="65"/>
                  </a:lnTo>
                  <a:lnTo>
                    <a:pt x="119" y="77"/>
                  </a:lnTo>
                  <a:lnTo>
                    <a:pt x="128" y="91"/>
                  </a:lnTo>
                  <a:lnTo>
                    <a:pt x="137" y="106"/>
                  </a:lnTo>
                  <a:lnTo>
                    <a:pt x="145" y="122"/>
                  </a:lnTo>
                  <a:lnTo>
                    <a:pt x="154" y="138"/>
                  </a:lnTo>
                  <a:lnTo>
                    <a:pt x="161" y="156"/>
                  </a:lnTo>
                  <a:lnTo>
                    <a:pt x="169" y="175"/>
                  </a:lnTo>
                  <a:lnTo>
                    <a:pt x="176" y="194"/>
                  </a:lnTo>
                  <a:lnTo>
                    <a:pt x="190" y="235"/>
                  </a:lnTo>
                  <a:lnTo>
                    <a:pt x="200" y="279"/>
                  </a:lnTo>
                  <a:lnTo>
                    <a:pt x="210" y="325"/>
                  </a:lnTo>
                  <a:lnTo>
                    <a:pt x="218" y="374"/>
                  </a:lnTo>
                  <a:lnTo>
                    <a:pt x="224" y="425"/>
                  </a:lnTo>
                  <a:lnTo>
                    <a:pt x="227" y="478"/>
                  </a:lnTo>
                  <a:lnTo>
                    <a:pt x="228" y="533"/>
                  </a:lnTo>
                  <a:lnTo>
                    <a:pt x="228" y="533"/>
                  </a:lnTo>
                  <a:lnTo>
                    <a:pt x="227" y="587"/>
                  </a:lnTo>
                  <a:lnTo>
                    <a:pt x="224" y="640"/>
                  </a:lnTo>
                  <a:lnTo>
                    <a:pt x="218" y="691"/>
                  </a:lnTo>
                  <a:lnTo>
                    <a:pt x="210" y="740"/>
                  </a:lnTo>
                  <a:lnTo>
                    <a:pt x="200" y="787"/>
                  </a:lnTo>
                  <a:lnTo>
                    <a:pt x="190" y="831"/>
                  </a:lnTo>
                  <a:lnTo>
                    <a:pt x="176" y="871"/>
                  </a:lnTo>
                  <a:lnTo>
                    <a:pt x="169" y="892"/>
                  </a:lnTo>
                  <a:lnTo>
                    <a:pt x="161" y="910"/>
                  </a:lnTo>
                  <a:lnTo>
                    <a:pt x="154" y="928"/>
                  </a:lnTo>
                  <a:lnTo>
                    <a:pt x="145" y="945"/>
                  </a:lnTo>
                  <a:lnTo>
                    <a:pt x="137" y="959"/>
                  </a:lnTo>
                  <a:lnTo>
                    <a:pt x="128" y="974"/>
                  </a:lnTo>
                  <a:lnTo>
                    <a:pt x="119" y="989"/>
                  </a:lnTo>
                  <a:lnTo>
                    <a:pt x="109" y="1002"/>
                  </a:lnTo>
                  <a:lnTo>
                    <a:pt x="100" y="1013"/>
                  </a:lnTo>
                  <a:lnTo>
                    <a:pt x="89" y="1024"/>
                  </a:lnTo>
                  <a:lnTo>
                    <a:pt x="78" y="1034"/>
                  </a:lnTo>
                  <a:lnTo>
                    <a:pt x="68" y="1042"/>
                  </a:lnTo>
                  <a:lnTo>
                    <a:pt x="57" y="1050"/>
                  </a:lnTo>
                  <a:lnTo>
                    <a:pt x="47" y="1055"/>
                  </a:lnTo>
                  <a:lnTo>
                    <a:pt x="35" y="1060"/>
                  </a:lnTo>
                  <a:lnTo>
                    <a:pt x="23" y="1063"/>
                  </a:lnTo>
                  <a:lnTo>
                    <a:pt x="12" y="1065"/>
                  </a:lnTo>
                  <a:lnTo>
                    <a:pt x="0" y="1065"/>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2" name="Forma libre 32">
              <a:extLst>
                <a:ext uri="{FF2B5EF4-FFF2-40B4-BE49-F238E27FC236}">
                  <a16:creationId xmlns:a16="http://schemas.microsoft.com/office/drawing/2014/main" id="{3448959E-1D93-1643-BF0B-B940DDC79F8E}"/>
                </a:ext>
              </a:extLst>
            </p:cNvPr>
            <p:cNvSpPr>
              <a:spLocks/>
            </p:cNvSpPr>
            <p:nvPr/>
          </p:nvSpPr>
          <p:spPr bwMode="auto">
            <a:xfrm>
              <a:off x="4410075" y="1314450"/>
              <a:ext cx="233363" cy="1089025"/>
            </a:xfrm>
            <a:custGeom>
              <a:avLst/>
              <a:gdLst/>
              <a:ahLst/>
              <a:cxnLst>
                <a:cxn ang="0">
                  <a:pos x="0" y="0"/>
                </a:cxn>
                <a:cxn ang="0">
                  <a:pos x="22" y="1"/>
                </a:cxn>
                <a:cxn ang="0">
                  <a:pos x="45" y="5"/>
                </a:cxn>
                <a:cxn ang="0">
                  <a:pos x="88" y="20"/>
                </a:cxn>
                <a:cxn ang="0">
                  <a:pos x="131" y="45"/>
                </a:cxn>
                <a:cxn ang="0">
                  <a:pos x="171" y="80"/>
                </a:cxn>
                <a:cxn ang="0">
                  <a:pos x="210" y="124"/>
                </a:cxn>
                <a:cxn ang="0">
                  <a:pos x="246" y="176"/>
                </a:cxn>
                <a:cxn ang="0">
                  <a:pos x="280" y="234"/>
                </a:cxn>
                <a:cxn ang="0">
                  <a:pos x="311" y="301"/>
                </a:cxn>
                <a:cxn ang="0">
                  <a:pos x="339" y="374"/>
                </a:cxn>
                <a:cxn ang="0">
                  <a:pos x="365" y="454"/>
                </a:cxn>
                <a:cxn ang="0">
                  <a:pos x="387" y="538"/>
                </a:cxn>
                <a:cxn ang="0">
                  <a:pos x="405" y="629"/>
                </a:cxn>
                <a:cxn ang="0">
                  <a:pos x="420" y="723"/>
                </a:cxn>
                <a:cxn ang="0">
                  <a:pos x="431" y="821"/>
                </a:cxn>
                <a:cxn ang="0">
                  <a:pos x="438" y="923"/>
                </a:cxn>
                <a:cxn ang="0">
                  <a:pos x="440" y="1029"/>
                </a:cxn>
                <a:cxn ang="0">
                  <a:pos x="439" y="1082"/>
                </a:cxn>
                <a:cxn ang="0">
                  <a:pos x="435" y="1185"/>
                </a:cxn>
                <a:cxn ang="0">
                  <a:pos x="426" y="1286"/>
                </a:cxn>
                <a:cxn ang="0">
                  <a:pos x="414" y="1382"/>
                </a:cxn>
                <a:cxn ang="0">
                  <a:pos x="397" y="1476"/>
                </a:cxn>
                <a:cxn ang="0">
                  <a:pos x="376" y="1562"/>
                </a:cxn>
                <a:cxn ang="0">
                  <a:pos x="352" y="1645"/>
                </a:cxn>
                <a:cxn ang="0">
                  <a:pos x="326" y="1720"/>
                </a:cxn>
                <a:cxn ang="0">
                  <a:pos x="296" y="1790"/>
                </a:cxn>
                <a:cxn ang="0">
                  <a:pos x="263" y="1854"/>
                </a:cxn>
                <a:cxn ang="0">
                  <a:pos x="228" y="1909"/>
                </a:cxn>
                <a:cxn ang="0">
                  <a:pos x="191" y="1957"/>
                </a:cxn>
                <a:cxn ang="0">
                  <a:pos x="152" y="1996"/>
                </a:cxn>
                <a:cxn ang="0">
                  <a:pos x="110" y="2026"/>
                </a:cxn>
                <a:cxn ang="0">
                  <a:pos x="67" y="2046"/>
                </a:cxn>
                <a:cxn ang="0">
                  <a:pos x="34" y="2055"/>
                </a:cxn>
                <a:cxn ang="0">
                  <a:pos x="12" y="2058"/>
                </a:cxn>
              </a:cxnLst>
              <a:rect l="0" t="0" r="r" b="b"/>
              <a:pathLst>
                <a:path w="440" h="2058">
                  <a:moveTo>
                    <a:pt x="0" y="0"/>
                  </a:moveTo>
                  <a:lnTo>
                    <a:pt x="0" y="0"/>
                  </a:lnTo>
                  <a:lnTo>
                    <a:pt x="12" y="0"/>
                  </a:lnTo>
                  <a:lnTo>
                    <a:pt x="22" y="1"/>
                  </a:lnTo>
                  <a:lnTo>
                    <a:pt x="34" y="3"/>
                  </a:lnTo>
                  <a:lnTo>
                    <a:pt x="45" y="5"/>
                  </a:lnTo>
                  <a:lnTo>
                    <a:pt x="67" y="12"/>
                  </a:lnTo>
                  <a:lnTo>
                    <a:pt x="88" y="20"/>
                  </a:lnTo>
                  <a:lnTo>
                    <a:pt x="110" y="32"/>
                  </a:lnTo>
                  <a:lnTo>
                    <a:pt x="131" y="45"/>
                  </a:lnTo>
                  <a:lnTo>
                    <a:pt x="152" y="62"/>
                  </a:lnTo>
                  <a:lnTo>
                    <a:pt x="171" y="80"/>
                  </a:lnTo>
                  <a:lnTo>
                    <a:pt x="191" y="101"/>
                  </a:lnTo>
                  <a:lnTo>
                    <a:pt x="210" y="124"/>
                  </a:lnTo>
                  <a:lnTo>
                    <a:pt x="228" y="148"/>
                  </a:lnTo>
                  <a:lnTo>
                    <a:pt x="246" y="176"/>
                  </a:lnTo>
                  <a:lnTo>
                    <a:pt x="263" y="204"/>
                  </a:lnTo>
                  <a:lnTo>
                    <a:pt x="280" y="234"/>
                  </a:lnTo>
                  <a:lnTo>
                    <a:pt x="296" y="267"/>
                  </a:lnTo>
                  <a:lnTo>
                    <a:pt x="311" y="301"/>
                  </a:lnTo>
                  <a:lnTo>
                    <a:pt x="326" y="337"/>
                  </a:lnTo>
                  <a:lnTo>
                    <a:pt x="339" y="374"/>
                  </a:lnTo>
                  <a:lnTo>
                    <a:pt x="352" y="413"/>
                  </a:lnTo>
                  <a:lnTo>
                    <a:pt x="365" y="454"/>
                  </a:lnTo>
                  <a:lnTo>
                    <a:pt x="376" y="495"/>
                  </a:lnTo>
                  <a:lnTo>
                    <a:pt x="387" y="538"/>
                  </a:lnTo>
                  <a:lnTo>
                    <a:pt x="397" y="583"/>
                  </a:lnTo>
                  <a:lnTo>
                    <a:pt x="405" y="629"/>
                  </a:lnTo>
                  <a:lnTo>
                    <a:pt x="414" y="675"/>
                  </a:lnTo>
                  <a:lnTo>
                    <a:pt x="420" y="723"/>
                  </a:lnTo>
                  <a:lnTo>
                    <a:pt x="426" y="772"/>
                  </a:lnTo>
                  <a:lnTo>
                    <a:pt x="431" y="821"/>
                  </a:lnTo>
                  <a:lnTo>
                    <a:pt x="435" y="872"/>
                  </a:lnTo>
                  <a:lnTo>
                    <a:pt x="438" y="923"/>
                  </a:lnTo>
                  <a:lnTo>
                    <a:pt x="439" y="976"/>
                  </a:lnTo>
                  <a:lnTo>
                    <a:pt x="440" y="1029"/>
                  </a:lnTo>
                  <a:lnTo>
                    <a:pt x="440" y="1029"/>
                  </a:lnTo>
                  <a:lnTo>
                    <a:pt x="439" y="1082"/>
                  </a:lnTo>
                  <a:lnTo>
                    <a:pt x="438" y="1134"/>
                  </a:lnTo>
                  <a:lnTo>
                    <a:pt x="435" y="1185"/>
                  </a:lnTo>
                  <a:lnTo>
                    <a:pt x="431" y="1236"/>
                  </a:lnTo>
                  <a:lnTo>
                    <a:pt x="426" y="1286"/>
                  </a:lnTo>
                  <a:lnTo>
                    <a:pt x="420" y="1335"/>
                  </a:lnTo>
                  <a:lnTo>
                    <a:pt x="414" y="1382"/>
                  </a:lnTo>
                  <a:lnTo>
                    <a:pt x="405" y="1430"/>
                  </a:lnTo>
                  <a:lnTo>
                    <a:pt x="397" y="1476"/>
                  </a:lnTo>
                  <a:lnTo>
                    <a:pt x="387" y="1519"/>
                  </a:lnTo>
                  <a:lnTo>
                    <a:pt x="376" y="1562"/>
                  </a:lnTo>
                  <a:lnTo>
                    <a:pt x="365" y="1604"/>
                  </a:lnTo>
                  <a:lnTo>
                    <a:pt x="352" y="1645"/>
                  </a:lnTo>
                  <a:lnTo>
                    <a:pt x="339" y="1683"/>
                  </a:lnTo>
                  <a:lnTo>
                    <a:pt x="326" y="1720"/>
                  </a:lnTo>
                  <a:lnTo>
                    <a:pt x="311" y="1756"/>
                  </a:lnTo>
                  <a:lnTo>
                    <a:pt x="296" y="1790"/>
                  </a:lnTo>
                  <a:lnTo>
                    <a:pt x="280" y="1823"/>
                  </a:lnTo>
                  <a:lnTo>
                    <a:pt x="263" y="1854"/>
                  </a:lnTo>
                  <a:lnTo>
                    <a:pt x="246" y="1883"/>
                  </a:lnTo>
                  <a:lnTo>
                    <a:pt x="228" y="1909"/>
                  </a:lnTo>
                  <a:lnTo>
                    <a:pt x="210" y="1934"/>
                  </a:lnTo>
                  <a:lnTo>
                    <a:pt x="191" y="1957"/>
                  </a:lnTo>
                  <a:lnTo>
                    <a:pt x="171" y="1977"/>
                  </a:lnTo>
                  <a:lnTo>
                    <a:pt x="152" y="1996"/>
                  </a:lnTo>
                  <a:lnTo>
                    <a:pt x="131" y="2012"/>
                  </a:lnTo>
                  <a:lnTo>
                    <a:pt x="110" y="2026"/>
                  </a:lnTo>
                  <a:lnTo>
                    <a:pt x="88" y="2037"/>
                  </a:lnTo>
                  <a:lnTo>
                    <a:pt x="67" y="2046"/>
                  </a:lnTo>
                  <a:lnTo>
                    <a:pt x="45" y="2052"/>
                  </a:lnTo>
                  <a:lnTo>
                    <a:pt x="34" y="2055"/>
                  </a:lnTo>
                  <a:lnTo>
                    <a:pt x="22" y="2057"/>
                  </a:lnTo>
                  <a:lnTo>
                    <a:pt x="12" y="2058"/>
                  </a:lnTo>
                  <a:lnTo>
                    <a:pt x="0" y="2058"/>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3" name="Forma libre 33">
              <a:extLst>
                <a:ext uri="{FF2B5EF4-FFF2-40B4-BE49-F238E27FC236}">
                  <a16:creationId xmlns:a16="http://schemas.microsoft.com/office/drawing/2014/main" id="{E7E31238-E1F0-EF43-9306-49C35C9ED38A}"/>
                </a:ext>
              </a:extLst>
            </p:cNvPr>
            <p:cNvSpPr>
              <a:spLocks/>
            </p:cNvSpPr>
            <p:nvPr/>
          </p:nvSpPr>
          <p:spPr bwMode="auto">
            <a:xfrm>
              <a:off x="4625975" y="1052513"/>
              <a:ext cx="344488" cy="1614488"/>
            </a:xfrm>
            <a:custGeom>
              <a:avLst/>
              <a:gdLst/>
              <a:ahLst/>
              <a:cxnLst>
                <a:cxn ang="0">
                  <a:pos x="0" y="0"/>
                </a:cxn>
                <a:cxn ang="0">
                  <a:pos x="34" y="1"/>
                </a:cxn>
                <a:cxn ang="0">
                  <a:pos x="67" y="7"/>
                </a:cxn>
                <a:cxn ang="0">
                  <a:pos x="100" y="17"/>
                </a:cxn>
                <a:cxn ang="0">
                  <a:pos x="132" y="30"/>
                </a:cxn>
                <a:cxn ang="0">
                  <a:pos x="163" y="47"/>
                </a:cxn>
                <a:cxn ang="0">
                  <a:pos x="194" y="68"/>
                </a:cxn>
                <a:cxn ang="0">
                  <a:pos x="225" y="92"/>
                </a:cxn>
                <a:cxn ang="0">
                  <a:pos x="255" y="120"/>
                </a:cxn>
                <a:cxn ang="0">
                  <a:pos x="283" y="150"/>
                </a:cxn>
                <a:cxn ang="0">
                  <a:pos x="311" y="183"/>
                </a:cxn>
                <a:cxn ang="0">
                  <a:pos x="365" y="259"/>
                </a:cxn>
                <a:cxn ang="0">
                  <a:pos x="415" y="347"/>
                </a:cxn>
                <a:cxn ang="0">
                  <a:pos x="461" y="446"/>
                </a:cxn>
                <a:cxn ang="0">
                  <a:pos x="504" y="554"/>
                </a:cxn>
                <a:cxn ang="0">
                  <a:pos x="541" y="672"/>
                </a:cxn>
                <a:cxn ang="0">
                  <a:pos x="574" y="798"/>
                </a:cxn>
                <a:cxn ang="0">
                  <a:pos x="601" y="931"/>
                </a:cxn>
                <a:cxn ang="0">
                  <a:pos x="624" y="1072"/>
                </a:cxn>
                <a:cxn ang="0">
                  <a:pos x="639" y="1218"/>
                </a:cxn>
                <a:cxn ang="0">
                  <a:pos x="649" y="1368"/>
                </a:cxn>
                <a:cxn ang="0">
                  <a:pos x="652" y="1525"/>
                </a:cxn>
                <a:cxn ang="0">
                  <a:pos x="651" y="1604"/>
                </a:cxn>
                <a:cxn ang="0">
                  <a:pos x="645" y="1757"/>
                </a:cxn>
                <a:cxn ang="0">
                  <a:pos x="632" y="1906"/>
                </a:cxn>
                <a:cxn ang="0">
                  <a:pos x="613" y="2049"/>
                </a:cxn>
                <a:cxn ang="0">
                  <a:pos x="589" y="2186"/>
                </a:cxn>
                <a:cxn ang="0">
                  <a:pos x="558" y="2316"/>
                </a:cxn>
                <a:cxn ang="0">
                  <a:pos x="523" y="2438"/>
                </a:cxn>
                <a:cxn ang="0">
                  <a:pos x="484" y="2550"/>
                </a:cxn>
                <a:cxn ang="0">
                  <a:pos x="439" y="2654"/>
                </a:cxn>
                <a:cxn ang="0">
                  <a:pos x="390" y="2748"/>
                </a:cxn>
                <a:cxn ang="0">
                  <a:pos x="338" y="2829"/>
                </a:cxn>
                <a:cxn ang="0">
                  <a:pos x="297" y="2883"/>
                </a:cxn>
                <a:cxn ang="0">
                  <a:pos x="268" y="2916"/>
                </a:cxn>
                <a:cxn ang="0">
                  <a:pos x="240" y="2945"/>
                </a:cxn>
                <a:cxn ang="0">
                  <a:pos x="210" y="2970"/>
                </a:cxn>
                <a:cxn ang="0">
                  <a:pos x="179" y="2992"/>
                </a:cxn>
                <a:cxn ang="0">
                  <a:pos x="148" y="3012"/>
                </a:cxn>
                <a:cxn ang="0">
                  <a:pos x="116" y="3026"/>
                </a:cxn>
                <a:cxn ang="0">
                  <a:pos x="84" y="3038"/>
                </a:cxn>
                <a:cxn ang="0">
                  <a:pos x="51" y="3045"/>
                </a:cxn>
                <a:cxn ang="0">
                  <a:pos x="17" y="3050"/>
                </a:cxn>
              </a:cxnLst>
              <a:rect l="0" t="0" r="r" b="b"/>
              <a:pathLst>
                <a:path w="652" h="3051">
                  <a:moveTo>
                    <a:pt x="0" y="0"/>
                  </a:moveTo>
                  <a:lnTo>
                    <a:pt x="0" y="0"/>
                  </a:lnTo>
                  <a:lnTo>
                    <a:pt x="17" y="0"/>
                  </a:lnTo>
                  <a:lnTo>
                    <a:pt x="34" y="1"/>
                  </a:lnTo>
                  <a:lnTo>
                    <a:pt x="51" y="4"/>
                  </a:lnTo>
                  <a:lnTo>
                    <a:pt x="67" y="7"/>
                  </a:lnTo>
                  <a:lnTo>
                    <a:pt x="84" y="11"/>
                  </a:lnTo>
                  <a:lnTo>
                    <a:pt x="100" y="17"/>
                  </a:lnTo>
                  <a:lnTo>
                    <a:pt x="116" y="23"/>
                  </a:lnTo>
                  <a:lnTo>
                    <a:pt x="132" y="30"/>
                  </a:lnTo>
                  <a:lnTo>
                    <a:pt x="148" y="38"/>
                  </a:lnTo>
                  <a:lnTo>
                    <a:pt x="163" y="47"/>
                  </a:lnTo>
                  <a:lnTo>
                    <a:pt x="179" y="57"/>
                  </a:lnTo>
                  <a:lnTo>
                    <a:pt x="194" y="68"/>
                  </a:lnTo>
                  <a:lnTo>
                    <a:pt x="210" y="79"/>
                  </a:lnTo>
                  <a:lnTo>
                    <a:pt x="225" y="92"/>
                  </a:lnTo>
                  <a:lnTo>
                    <a:pt x="240" y="105"/>
                  </a:lnTo>
                  <a:lnTo>
                    <a:pt x="255" y="120"/>
                  </a:lnTo>
                  <a:lnTo>
                    <a:pt x="268" y="134"/>
                  </a:lnTo>
                  <a:lnTo>
                    <a:pt x="283" y="150"/>
                  </a:lnTo>
                  <a:lnTo>
                    <a:pt x="297" y="166"/>
                  </a:lnTo>
                  <a:lnTo>
                    <a:pt x="311" y="183"/>
                  </a:lnTo>
                  <a:lnTo>
                    <a:pt x="338" y="220"/>
                  </a:lnTo>
                  <a:lnTo>
                    <a:pt x="365" y="259"/>
                  </a:lnTo>
                  <a:lnTo>
                    <a:pt x="390" y="302"/>
                  </a:lnTo>
                  <a:lnTo>
                    <a:pt x="415" y="347"/>
                  </a:lnTo>
                  <a:lnTo>
                    <a:pt x="439" y="395"/>
                  </a:lnTo>
                  <a:lnTo>
                    <a:pt x="461" y="446"/>
                  </a:lnTo>
                  <a:lnTo>
                    <a:pt x="484" y="499"/>
                  </a:lnTo>
                  <a:lnTo>
                    <a:pt x="504" y="554"/>
                  </a:lnTo>
                  <a:lnTo>
                    <a:pt x="523" y="612"/>
                  </a:lnTo>
                  <a:lnTo>
                    <a:pt x="541" y="672"/>
                  </a:lnTo>
                  <a:lnTo>
                    <a:pt x="558" y="733"/>
                  </a:lnTo>
                  <a:lnTo>
                    <a:pt x="574" y="798"/>
                  </a:lnTo>
                  <a:lnTo>
                    <a:pt x="589" y="864"/>
                  </a:lnTo>
                  <a:lnTo>
                    <a:pt x="601" y="931"/>
                  </a:lnTo>
                  <a:lnTo>
                    <a:pt x="613" y="1000"/>
                  </a:lnTo>
                  <a:lnTo>
                    <a:pt x="624" y="1072"/>
                  </a:lnTo>
                  <a:lnTo>
                    <a:pt x="632" y="1144"/>
                  </a:lnTo>
                  <a:lnTo>
                    <a:pt x="639" y="1218"/>
                  </a:lnTo>
                  <a:lnTo>
                    <a:pt x="645" y="1292"/>
                  </a:lnTo>
                  <a:lnTo>
                    <a:pt x="649" y="1368"/>
                  </a:lnTo>
                  <a:lnTo>
                    <a:pt x="651" y="1447"/>
                  </a:lnTo>
                  <a:lnTo>
                    <a:pt x="652" y="1525"/>
                  </a:lnTo>
                  <a:lnTo>
                    <a:pt x="652" y="1525"/>
                  </a:lnTo>
                  <a:lnTo>
                    <a:pt x="651" y="1604"/>
                  </a:lnTo>
                  <a:lnTo>
                    <a:pt x="649" y="1681"/>
                  </a:lnTo>
                  <a:lnTo>
                    <a:pt x="645" y="1757"/>
                  </a:lnTo>
                  <a:lnTo>
                    <a:pt x="639" y="1833"/>
                  </a:lnTo>
                  <a:lnTo>
                    <a:pt x="632" y="1906"/>
                  </a:lnTo>
                  <a:lnTo>
                    <a:pt x="624" y="1979"/>
                  </a:lnTo>
                  <a:lnTo>
                    <a:pt x="613" y="2049"/>
                  </a:lnTo>
                  <a:lnTo>
                    <a:pt x="601" y="2119"/>
                  </a:lnTo>
                  <a:lnTo>
                    <a:pt x="589" y="2186"/>
                  </a:lnTo>
                  <a:lnTo>
                    <a:pt x="574" y="2252"/>
                  </a:lnTo>
                  <a:lnTo>
                    <a:pt x="558" y="2316"/>
                  </a:lnTo>
                  <a:lnTo>
                    <a:pt x="541" y="2378"/>
                  </a:lnTo>
                  <a:lnTo>
                    <a:pt x="523" y="2438"/>
                  </a:lnTo>
                  <a:lnTo>
                    <a:pt x="504" y="2495"/>
                  </a:lnTo>
                  <a:lnTo>
                    <a:pt x="484" y="2550"/>
                  </a:lnTo>
                  <a:lnTo>
                    <a:pt x="461" y="2603"/>
                  </a:lnTo>
                  <a:lnTo>
                    <a:pt x="439" y="2654"/>
                  </a:lnTo>
                  <a:lnTo>
                    <a:pt x="415" y="2702"/>
                  </a:lnTo>
                  <a:lnTo>
                    <a:pt x="390" y="2748"/>
                  </a:lnTo>
                  <a:lnTo>
                    <a:pt x="365" y="2790"/>
                  </a:lnTo>
                  <a:lnTo>
                    <a:pt x="338" y="2829"/>
                  </a:lnTo>
                  <a:lnTo>
                    <a:pt x="311" y="2866"/>
                  </a:lnTo>
                  <a:lnTo>
                    <a:pt x="297" y="2883"/>
                  </a:lnTo>
                  <a:lnTo>
                    <a:pt x="283" y="2900"/>
                  </a:lnTo>
                  <a:lnTo>
                    <a:pt x="268" y="2916"/>
                  </a:lnTo>
                  <a:lnTo>
                    <a:pt x="255" y="2931"/>
                  </a:lnTo>
                  <a:lnTo>
                    <a:pt x="240" y="2945"/>
                  </a:lnTo>
                  <a:lnTo>
                    <a:pt x="225" y="2957"/>
                  </a:lnTo>
                  <a:lnTo>
                    <a:pt x="210" y="2970"/>
                  </a:lnTo>
                  <a:lnTo>
                    <a:pt x="194" y="2982"/>
                  </a:lnTo>
                  <a:lnTo>
                    <a:pt x="179" y="2992"/>
                  </a:lnTo>
                  <a:lnTo>
                    <a:pt x="163" y="3002"/>
                  </a:lnTo>
                  <a:lnTo>
                    <a:pt x="148" y="3012"/>
                  </a:lnTo>
                  <a:lnTo>
                    <a:pt x="132" y="3019"/>
                  </a:lnTo>
                  <a:lnTo>
                    <a:pt x="116" y="3026"/>
                  </a:lnTo>
                  <a:lnTo>
                    <a:pt x="100" y="3033"/>
                  </a:lnTo>
                  <a:lnTo>
                    <a:pt x="84" y="3038"/>
                  </a:lnTo>
                  <a:lnTo>
                    <a:pt x="67" y="3042"/>
                  </a:lnTo>
                  <a:lnTo>
                    <a:pt x="51" y="3045"/>
                  </a:lnTo>
                  <a:lnTo>
                    <a:pt x="34" y="3049"/>
                  </a:lnTo>
                  <a:lnTo>
                    <a:pt x="17" y="3050"/>
                  </a:lnTo>
                  <a:lnTo>
                    <a:pt x="0" y="305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4" name="Forma libre 34">
              <a:extLst>
                <a:ext uri="{FF2B5EF4-FFF2-40B4-BE49-F238E27FC236}">
                  <a16:creationId xmlns:a16="http://schemas.microsoft.com/office/drawing/2014/main" id="{D709833B-EE12-904E-B13D-09C863903214}"/>
                </a:ext>
              </a:extLst>
            </p:cNvPr>
            <p:cNvSpPr>
              <a:spLocks/>
            </p:cNvSpPr>
            <p:nvPr/>
          </p:nvSpPr>
          <p:spPr bwMode="auto">
            <a:xfrm>
              <a:off x="4841875" y="788988"/>
              <a:ext cx="457200" cy="2139950"/>
            </a:xfrm>
            <a:custGeom>
              <a:avLst/>
              <a:gdLst/>
              <a:ahLst/>
              <a:cxnLst>
                <a:cxn ang="0">
                  <a:pos x="0" y="0"/>
                </a:cxn>
                <a:cxn ang="0">
                  <a:pos x="45" y="3"/>
                </a:cxn>
                <a:cxn ang="0">
                  <a:pos x="88" y="10"/>
                </a:cxn>
                <a:cxn ang="0">
                  <a:pos x="132" y="23"/>
                </a:cxn>
                <a:cxn ang="0">
                  <a:pos x="174" y="41"/>
                </a:cxn>
                <a:cxn ang="0">
                  <a:pos x="216" y="64"/>
                </a:cxn>
                <a:cxn ang="0">
                  <a:pos x="257" y="91"/>
                </a:cxn>
                <a:cxn ang="0">
                  <a:pos x="297" y="123"/>
                </a:cxn>
                <a:cxn ang="0">
                  <a:pos x="336" y="159"/>
                </a:cxn>
                <a:cxn ang="0">
                  <a:pos x="375" y="200"/>
                </a:cxn>
                <a:cxn ang="0">
                  <a:pos x="412" y="244"/>
                </a:cxn>
                <a:cxn ang="0">
                  <a:pos x="448" y="293"/>
                </a:cxn>
                <a:cxn ang="0">
                  <a:pos x="483" y="345"/>
                </a:cxn>
                <a:cxn ang="0">
                  <a:pos x="517" y="401"/>
                </a:cxn>
                <a:cxn ang="0">
                  <a:pos x="549" y="462"/>
                </a:cxn>
                <a:cxn ang="0">
                  <a:pos x="581" y="525"/>
                </a:cxn>
                <a:cxn ang="0">
                  <a:pos x="611" y="592"/>
                </a:cxn>
                <a:cxn ang="0">
                  <a:pos x="667" y="735"/>
                </a:cxn>
                <a:cxn ang="0">
                  <a:pos x="717" y="891"/>
                </a:cxn>
                <a:cxn ang="0">
                  <a:pos x="759" y="1059"/>
                </a:cxn>
                <a:cxn ang="0">
                  <a:pos x="796" y="1235"/>
                </a:cxn>
                <a:cxn ang="0">
                  <a:pos x="825" y="1420"/>
                </a:cxn>
                <a:cxn ang="0">
                  <a:pos x="846" y="1614"/>
                </a:cxn>
                <a:cxn ang="0">
                  <a:pos x="860" y="1816"/>
                </a:cxn>
                <a:cxn ang="0">
                  <a:pos x="864" y="2022"/>
                </a:cxn>
                <a:cxn ang="0">
                  <a:pos x="863" y="2126"/>
                </a:cxn>
                <a:cxn ang="0">
                  <a:pos x="854" y="2330"/>
                </a:cxn>
                <a:cxn ang="0">
                  <a:pos x="837" y="2527"/>
                </a:cxn>
                <a:cxn ang="0">
                  <a:pos x="811" y="2717"/>
                </a:cxn>
                <a:cxn ang="0">
                  <a:pos x="778" y="2898"/>
                </a:cxn>
                <a:cxn ang="0">
                  <a:pos x="739" y="3071"/>
                </a:cxn>
                <a:cxn ang="0">
                  <a:pos x="693" y="3232"/>
                </a:cxn>
                <a:cxn ang="0">
                  <a:pos x="640" y="3381"/>
                </a:cxn>
                <a:cxn ang="0">
                  <a:pos x="596" y="3485"/>
                </a:cxn>
                <a:cxn ang="0">
                  <a:pos x="565" y="3551"/>
                </a:cxn>
                <a:cxn ang="0">
                  <a:pos x="534" y="3612"/>
                </a:cxn>
                <a:cxn ang="0">
                  <a:pos x="501" y="3671"/>
                </a:cxn>
                <a:cxn ang="0">
                  <a:pos x="466" y="3725"/>
                </a:cxn>
                <a:cxn ang="0">
                  <a:pos x="430" y="3776"/>
                </a:cxn>
                <a:cxn ang="0">
                  <a:pos x="394" y="3822"/>
                </a:cxn>
                <a:cxn ang="0">
                  <a:pos x="355" y="3865"/>
                </a:cxn>
                <a:cxn ang="0">
                  <a:pos x="317" y="3903"/>
                </a:cxn>
                <a:cxn ang="0">
                  <a:pos x="277" y="3938"/>
                </a:cxn>
                <a:cxn ang="0">
                  <a:pos x="237" y="3967"/>
                </a:cxn>
                <a:cxn ang="0">
                  <a:pos x="195" y="3992"/>
                </a:cxn>
                <a:cxn ang="0">
                  <a:pos x="153" y="4012"/>
                </a:cxn>
                <a:cxn ang="0">
                  <a:pos x="111" y="4027"/>
                </a:cxn>
                <a:cxn ang="0">
                  <a:pos x="67" y="4038"/>
                </a:cxn>
                <a:cxn ang="0">
                  <a:pos x="23" y="4043"/>
                </a:cxn>
              </a:cxnLst>
              <a:rect l="0" t="0" r="r" b="b"/>
              <a:pathLst>
                <a:path w="864" h="4044">
                  <a:moveTo>
                    <a:pt x="0" y="0"/>
                  </a:moveTo>
                  <a:lnTo>
                    <a:pt x="0" y="0"/>
                  </a:lnTo>
                  <a:lnTo>
                    <a:pt x="23" y="1"/>
                  </a:lnTo>
                  <a:lnTo>
                    <a:pt x="45" y="3"/>
                  </a:lnTo>
                  <a:lnTo>
                    <a:pt x="67" y="6"/>
                  </a:lnTo>
                  <a:lnTo>
                    <a:pt x="88" y="10"/>
                  </a:lnTo>
                  <a:lnTo>
                    <a:pt x="111" y="16"/>
                  </a:lnTo>
                  <a:lnTo>
                    <a:pt x="132" y="23"/>
                  </a:lnTo>
                  <a:lnTo>
                    <a:pt x="153" y="31"/>
                  </a:lnTo>
                  <a:lnTo>
                    <a:pt x="174" y="41"/>
                  </a:lnTo>
                  <a:lnTo>
                    <a:pt x="195" y="51"/>
                  </a:lnTo>
                  <a:lnTo>
                    <a:pt x="216" y="64"/>
                  </a:lnTo>
                  <a:lnTo>
                    <a:pt x="237" y="77"/>
                  </a:lnTo>
                  <a:lnTo>
                    <a:pt x="257" y="91"/>
                  </a:lnTo>
                  <a:lnTo>
                    <a:pt x="277" y="107"/>
                  </a:lnTo>
                  <a:lnTo>
                    <a:pt x="297" y="123"/>
                  </a:lnTo>
                  <a:lnTo>
                    <a:pt x="317" y="141"/>
                  </a:lnTo>
                  <a:lnTo>
                    <a:pt x="336" y="159"/>
                  </a:lnTo>
                  <a:lnTo>
                    <a:pt x="355" y="179"/>
                  </a:lnTo>
                  <a:lnTo>
                    <a:pt x="375" y="200"/>
                  </a:lnTo>
                  <a:lnTo>
                    <a:pt x="394" y="221"/>
                  </a:lnTo>
                  <a:lnTo>
                    <a:pt x="412" y="244"/>
                  </a:lnTo>
                  <a:lnTo>
                    <a:pt x="430" y="268"/>
                  </a:lnTo>
                  <a:lnTo>
                    <a:pt x="448" y="293"/>
                  </a:lnTo>
                  <a:lnTo>
                    <a:pt x="466" y="319"/>
                  </a:lnTo>
                  <a:lnTo>
                    <a:pt x="483" y="345"/>
                  </a:lnTo>
                  <a:lnTo>
                    <a:pt x="501" y="373"/>
                  </a:lnTo>
                  <a:lnTo>
                    <a:pt x="517" y="401"/>
                  </a:lnTo>
                  <a:lnTo>
                    <a:pt x="534" y="431"/>
                  </a:lnTo>
                  <a:lnTo>
                    <a:pt x="549" y="462"/>
                  </a:lnTo>
                  <a:lnTo>
                    <a:pt x="565" y="494"/>
                  </a:lnTo>
                  <a:lnTo>
                    <a:pt x="581" y="525"/>
                  </a:lnTo>
                  <a:lnTo>
                    <a:pt x="596" y="558"/>
                  </a:lnTo>
                  <a:lnTo>
                    <a:pt x="611" y="592"/>
                  </a:lnTo>
                  <a:lnTo>
                    <a:pt x="640" y="662"/>
                  </a:lnTo>
                  <a:lnTo>
                    <a:pt x="667" y="735"/>
                  </a:lnTo>
                  <a:lnTo>
                    <a:pt x="693" y="813"/>
                  </a:lnTo>
                  <a:lnTo>
                    <a:pt x="717" y="891"/>
                  </a:lnTo>
                  <a:lnTo>
                    <a:pt x="739" y="974"/>
                  </a:lnTo>
                  <a:lnTo>
                    <a:pt x="759" y="1059"/>
                  </a:lnTo>
                  <a:lnTo>
                    <a:pt x="778" y="1146"/>
                  </a:lnTo>
                  <a:lnTo>
                    <a:pt x="796" y="1235"/>
                  </a:lnTo>
                  <a:lnTo>
                    <a:pt x="811" y="1327"/>
                  </a:lnTo>
                  <a:lnTo>
                    <a:pt x="825" y="1420"/>
                  </a:lnTo>
                  <a:lnTo>
                    <a:pt x="837" y="1517"/>
                  </a:lnTo>
                  <a:lnTo>
                    <a:pt x="846" y="1614"/>
                  </a:lnTo>
                  <a:lnTo>
                    <a:pt x="854" y="1714"/>
                  </a:lnTo>
                  <a:lnTo>
                    <a:pt x="860" y="1816"/>
                  </a:lnTo>
                  <a:lnTo>
                    <a:pt x="863" y="1917"/>
                  </a:lnTo>
                  <a:lnTo>
                    <a:pt x="864" y="2022"/>
                  </a:lnTo>
                  <a:lnTo>
                    <a:pt x="864" y="2022"/>
                  </a:lnTo>
                  <a:lnTo>
                    <a:pt x="863" y="2126"/>
                  </a:lnTo>
                  <a:lnTo>
                    <a:pt x="860" y="2229"/>
                  </a:lnTo>
                  <a:lnTo>
                    <a:pt x="854" y="2330"/>
                  </a:lnTo>
                  <a:lnTo>
                    <a:pt x="846" y="2429"/>
                  </a:lnTo>
                  <a:lnTo>
                    <a:pt x="837" y="2527"/>
                  </a:lnTo>
                  <a:lnTo>
                    <a:pt x="825" y="2623"/>
                  </a:lnTo>
                  <a:lnTo>
                    <a:pt x="811" y="2717"/>
                  </a:lnTo>
                  <a:lnTo>
                    <a:pt x="796" y="2809"/>
                  </a:lnTo>
                  <a:lnTo>
                    <a:pt x="778" y="2898"/>
                  </a:lnTo>
                  <a:lnTo>
                    <a:pt x="759" y="2986"/>
                  </a:lnTo>
                  <a:lnTo>
                    <a:pt x="739" y="3071"/>
                  </a:lnTo>
                  <a:lnTo>
                    <a:pt x="717" y="3152"/>
                  </a:lnTo>
                  <a:lnTo>
                    <a:pt x="693" y="3232"/>
                  </a:lnTo>
                  <a:lnTo>
                    <a:pt x="667" y="3308"/>
                  </a:lnTo>
                  <a:lnTo>
                    <a:pt x="640" y="3381"/>
                  </a:lnTo>
                  <a:lnTo>
                    <a:pt x="611" y="3451"/>
                  </a:lnTo>
                  <a:lnTo>
                    <a:pt x="596" y="3485"/>
                  </a:lnTo>
                  <a:lnTo>
                    <a:pt x="581" y="3518"/>
                  </a:lnTo>
                  <a:lnTo>
                    <a:pt x="565" y="3551"/>
                  </a:lnTo>
                  <a:lnTo>
                    <a:pt x="549" y="3582"/>
                  </a:lnTo>
                  <a:lnTo>
                    <a:pt x="534" y="3612"/>
                  </a:lnTo>
                  <a:lnTo>
                    <a:pt x="517" y="3642"/>
                  </a:lnTo>
                  <a:lnTo>
                    <a:pt x="501" y="3671"/>
                  </a:lnTo>
                  <a:lnTo>
                    <a:pt x="483" y="3698"/>
                  </a:lnTo>
                  <a:lnTo>
                    <a:pt x="466" y="3725"/>
                  </a:lnTo>
                  <a:lnTo>
                    <a:pt x="448" y="3751"/>
                  </a:lnTo>
                  <a:lnTo>
                    <a:pt x="430" y="3776"/>
                  </a:lnTo>
                  <a:lnTo>
                    <a:pt x="412" y="3800"/>
                  </a:lnTo>
                  <a:lnTo>
                    <a:pt x="394" y="3822"/>
                  </a:lnTo>
                  <a:lnTo>
                    <a:pt x="375" y="3845"/>
                  </a:lnTo>
                  <a:lnTo>
                    <a:pt x="355" y="3865"/>
                  </a:lnTo>
                  <a:lnTo>
                    <a:pt x="336" y="3885"/>
                  </a:lnTo>
                  <a:lnTo>
                    <a:pt x="317" y="3903"/>
                  </a:lnTo>
                  <a:lnTo>
                    <a:pt x="297" y="3921"/>
                  </a:lnTo>
                  <a:lnTo>
                    <a:pt x="277" y="3938"/>
                  </a:lnTo>
                  <a:lnTo>
                    <a:pt x="257" y="3953"/>
                  </a:lnTo>
                  <a:lnTo>
                    <a:pt x="237" y="3967"/>
                  </a:lnTo>
                  <a:lnTo>
                    <a:pt x="216" y="3980"/>
                  </a:lnTo>
                  <a:lnTo>
                    <a:pt x="195" y="3992"/>
                  </a:lnTo>
                  <a:lnTo>
                    <a:pt x="174" y="4003"/>
                  </a:lnTo>
                  <a:lnTo>
                    <a:pt x="153" y="4012"/>
                  </a:lnTo>
                  <a:lnTo>
                    <a:pt x="132" y="4021"/>
                  </a:lnTo>
                  <a:lnTo>
                    <a:pt x="111" y="4027"/>
                  </a:lnTo>
                  <a:lnTo>
                    <a:pt x="88" y="4033"/>
                  </a:lnTo>
                  <a:lnTo>
                    <a:pt x="67" y="4038"/>
                  </a:lnTo>
                  <a:lnTo>
                    <a:pt x="45" y="4041"/>
                  </a:lnTo>
                  <a:lnTo>
                    <a:pt x="23" y="4043"/>
                  </a:lnTo>
                  <a:lnTo>
                    <a:pt x="0" y="4044"/>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5" name="Forma libre 35">
              <a:extLst>
                <a:ext uri="{FF2B5EF4-FFF2-40B4-BE49-F238E27FC236}">
                  <a16:creationId xmlns:a16="http://schemas.microsoft.com/office/drawing/2014/main" id="{B31DDA50-C30A-1D48-801B-42423C47E605}"/>
                </a:ext>
              </a:extLst>
            </p:cNvPr>
            <p:cNvSpPr>
              <a:spLocks/>
            </p:cNvSpPr>
            <p:nvPr/>
          </p:nvSpPr>
          <p:spPr bwMode="auto">
            <a:xfrm>
              <a:off x="5056188" y="525463"/>
              <a:ext cx="569913" cy="2665413"/>
            </a:xfrm>
            <a:custGeom>
              <a:avLst/>
              <a:gdLst/>
              <a:ahLst/>
              <a:cxnLst>
                <a:cxn ang="0">
                  <a:pos x="29" y="1"/>
                </a:cxn>
                <a:cxn ang="0">
                  <a:pos x="111" y="14"/>
                </a:cxn>
                <a:cxn ang="0">
                  <a:pos x="191" y="40"/>
                </a:cxn>
                <a:cxn ang="0">
                  <a:pos x="270" y="80"/>
                </a:cxn>
                <a:cxn ang="0">
                  <a:pos x="346" y="133"/>
                </a:cxn>
                <a:cxn ang="0">
                  <a:pos x="419" y="199"/>
                </a:cxn>
                <a:cxn ang="0">
                  <a:pos x="490" y="276"/>
                </a:cxn>
                <a:cxn ang="0">
                  <a:pos x="559" y="365"/>
                </a:cxn>
                <a:cxn ang="0">
                  <a:pos x="624" y="466"/>
                </a:cxn>
                <a:cxn ang="0">
                  <a:pos x="685" y="576"/>
                </a:cxn>
                <a:cxn ang="0">
                  <a:pos x="744" y="696"/>
                </a:cxn>
                <a:cxn ang="0">
                  <a:pos x="798" y="826"/>
                </a:cxn>
                <a:cxn ang="0">
                  <a:pos x="847" y="964"/>
                </a:cxn>
                <a:cxn ang="0">
                  <a:pos x="893" y="1111"/>
                </a:cxn>
                <a:cxn ang="0">
                  <a:pos x="934" y="1265"/>
                </a:cxn>
                <a:cxn ang="0">
                  <a:pos x="970" y="1427"/>
                </a:cxn>
                <a:cxn ang="0">
                  <a:pos x="1002" y="1596"/>
                </a:cxn>
                <a:cxn ang="0">
                  <a:pos x="1029" y="1770"/>
                </a:cxn>
                <a:cxn ang="0">
                  <a:pos x="1049" y="1950"/>
                </a:cxn>
                <a:cxn ang="0">
                  <a:pos x="1065" y="2135"/>
                </a:cxn>
                <a:cxn ang="0">
                  <a:pos x="1073" y="2325"/>
                </a:cxn>
                <a:cxn ang="0">
                  <a:pos x="1076" y="2519"/>
                </a:cxn>
                <a:cxn ang="0">
                  <a:pos x="1075" y="2649"/>
                </a:cxn>
                <a:cxn ang="0">
                  <a:pos x="1068" y="2839"/>
                </a:cxn>
                <a:cxn ang="0">
                  <a:pos x="1055" y="3026"/>
                </a:cxn>
                <a:cxn ang="0">
                  <a:pos x="1036" y="3208"/>
                </a:cxn>
                <a:cxn ang="0">
                  <a:pos x="1012" y="3384"/>
                </a:cxn>
                <a:cxn ang="0">
                  <a:pos x="982" y="3555"/>
                </a:cxn>
                <a:cxn ang="0">
                  <a:pos x="947" y="3719"/>
                </a:cxn>
                <a:cxn ang="0">
                  <a:pos x="907" y="3876"/>
                </a:cxn>
                <a:cxn ang="0">
                  <a:pos x="863" y="4026"/>
                </a:cxn>
                <a:cxn ang="0">
                  <a:pos x="815" y="4167"/>
                </a:cxn>
                <a:cxn ang="0">
                  <a:pos x="762" y="4299"/>
                </a:cxn>
                <a:cxn ang="0">
                  <a:pos x="705" y="4423"/>
                </a:cxn>
                <a:cxn ang="0">
                  <a:pos x="645" y="4537"/>
                </a:cxn>
                <a:cxn ang="0">
                  <a:pos x="580" y="4641"/>
                </a:cxn>
                <a:cxn ang="0">
                  <a:pos x="513" y="4733"/>
                </a:cxn>
                <a:cxn ang="0">
                  <a:pos x="444" y="4814"/>
                </a:cxn>
                <a:cxn ang="0">
                  <a:pos x="370" y="4884"/>
                </a:cxn>
                <a:cxn ang="0">
                  <a:pos x="295" y="4942"/>
                </a:cxn>
                <a:cxn ang="0">
                  <a:pos x="218" y="4986"/>
                </a:cxn>
                <a:cxn ang="0">
                  <a:pos x="138" y="5017"/>
                </a:cxn>
                <a:cxn ang="0">
                  <a:pos x="57" y="5034"/>
                </a:cxn>
              </a:cxnLst>
              <a:rect l="0" t="0" r="r" b="b"/>
              <a:pathLst>
                <a:path w="1076" h="5037">
                  <a:moveTo>
                    <a:pt x="0" y="0"/>
                  </a:moveTo>
                  <a:lnTo>
                    <a:pt x="0" y="0"/>
                  </a:lnTo>
                  <a:lnTo>
                    <a:pt x="29" y="1"/>
                  </a:lnTo>
                  <a:lnTo>
                    <a:pt x="57" y="4"/>
                  </a:lnTo>
                  <a:lnTo>
                    <a:pt x="83" y="8"/>
                  </a:lnTo>
                  <a:lnTo>
                    <a:pt x="111" y="14"/>
                  </a:lnTo>
                  <a:lnTo>
                    <a:pt x="138" y="21"/>
                  </a:lnTo>
                  <a:lnTo>
                    <a:pt x="165" y="30"/>
                  </a:lnTo>
                  <a:lnTo>
                    <a:pt x="191" y="40"/>
                  </a:lnTo>
                  <a:lnTo>
                    <a:pt x="218" y="52"/>
                  </a:lnTo>
                  <a:lnTo>
                    <a:pt x="244" y="65"/>
                  </a:lnTo>
                  <a:lnTo>
                    <a:pt x="270" y="80"/>
                  </a:lnTo>
                  <a:lnTo>
                    <a:pt x="295" y="96"/>
                  </a:lnTo>
                  <a:lnTo>
                    <a:pt x="321" y="114"/>
                  </a:lnTo>
                  <a:lnTo>
                    <a:pt x="346" y="133"/>
                  </a:lnTo>
                  <a:lnTo>
                    <a:pt x="370" y="153"/>
                  </a:lnTo>
                  <a:lnTo>
                    <a:pt x="395" y="175"/>
                  </a:lnTo>
                  <a:lnTo>
                    <a:pt x="419" y="199"/>
                  </a:lnTo>
                  <a:lnTo>
                    <a:pt x="444" y="223"/>
                  </a:lnTo>
                  <a:lnTo>
                    <a:pt x="467" y="250"/>
                  </a:lnTo>
                  <a:lnTo>
                    <a:pt x="490" y="276"/>
                  </a:lnTo>
                  <a:lnTo>
                    <a:pt x="513" y="305"/>
                  </a:lnTo>
                  <a:lnTo>
                    <a:pt x="536" y="334"/>
                  </a:lnTo>
                  <a:lnTo>
                    <a:pt x="559" y="365"/>
                  </a:lnTo>
                  <a:lnTo>
                    <a:pt x="580" y="398"/>
                  </a:lnTo>
                  <a:lnTo>
                    <a:pt x="603" y="431"/>
                  </a:lnTo>
                  <a:lnTo>
                    <a:pt x="624" y="466"/>
                  </a:lnTo>
                  <a:lnTo>
                    <a:pt x="645" y="501"/>
                  </a:lnTo>
                  <a:lnTo>
                    <a:pt x="665" y="538"/>
                  </a:lnTo>
                  <a:lnTo>
                    <a:pt x="685" y="576"/>
                  </a:lnTo>
                  <a:lnTo>
                    <a:pt x="705" y="615"/>
                  </a:lnTo>
                  <a:lnTo>
                    <a:pt x="724" y="654"/>
                  </a:lnTo>
                  <a:lnTo>
                    <a:pt x="744" y="696"/>
                  </a:lnTo>
                  <a:lnTo>
                    <a:pt x="762" y="738"/>
                  </a:lnTo>
                  <a:lnTo>
                    <a:pt x="780" y="782"/>
                  </a:lnTo>
                  <a:lnTo>
                    <a:pt x="798" y="826"/>
                  </a:lnTo>
                  <a:lnTo>
                    <a:pt x="815" y="871"/>
                  </a:lnTo>
                  <a:lnTo>
                    <a:pt x="830" y="917"/>
                  </a:lnTo>
                  <a:lnTo>
                    <a:pt x="847" y="964"/>
                  </a:lnTo>
                  <a:lnTo>
                    <a:pt x="863" y="1012"/>
                  </a:lnTo>
                  <a:lnTo>
                    <a:pt x="878" y="1062"/>
                  </a:lnTo>
                  <a:lnTo>
                    <a:pt x="893" y="1111"/>
                  </a:lnTo>
                  <a:lnTo>
                    <a:pt x="907" y="1161"/>
                  </a:lnTo>
                  <a:lnTo>
                    <a:pt x="921" y="1213"/>
                  </a:lnTo>
                  <a:lnTo>
                    <a:pt x="934" y="1265"/>
                  </a:lnTo>
                  <a:lnTo>
                    <a:pt x="947" y="1318"/>
                  </a:lnTo>
                  <a:lnTo>
                    <a:pt x="959" y="1372"/>
                  </a:lnTo>
                  <a:lnTo>
                    <a:pt x="970" y="1427"/>
                  </a:lnTo>
                  <a:lnTo>
                    <a:pt x="982" y="1482"/>
                  </a:lnTo>
                  <a:lnTo>
                    <a:pt x="992" y="1539"/>
                  </a:lnTo>
                  <a:lnTo>
                    <a:pt x="1002" y="1596"/>
                  </a:lnTo>
                  <a:lnTo>
                    <a:pt x="1012" y="1653"/>
                  </a:lnTo>
                  <a:lnTo>
                    <a:pt x="1020" y="1711"/>
                  </a:lnTo>
                  <a:lnTo>
                    <a:pt x="1029" y="1770"/>
                  </a:lnTo>
                  <a:lnTo>
                    <a:pt x="1036" y="1829"/>
                  </a:lnTo>
                  <a:lnTo>
                    <a:pt x="1042" y="1890"/>
                  </a:lnTo>
                  <a:lnTo>
                    <a:pt x="1049" y="1950"/>
                  </a:lnTo>
                  <a:lnTo>
                    <a:pt x="1055" y="2011"/>
                  </a:lnTo>
                  <a:lnTo>
                    <a:pt x="1059" y="2073"/>
                  </a:lnTo>
                  <a:lnTo>
                    <a:pt x="1065" y="2135"/>
                  </a:lnTo>
                  <a:lnTo>
                    <a:pt x="1068" y="2198"/>
                  </a:lnTo>
                  <a:lnTo>
                    <a:pt x="1071" y="2262"/>
                  </a:lnTo>
                  <a:lnTo>
                    <a:pt x="1073" y="2325"/>
                  </a:lnTo>
                  <a:lnTo>
                    <a:pt x="1075" y="2389"/>
                  </a:lnTo>
                  <a:lnTo>
                    <a:pt x="1076" y="2454"/>
                  </a:lnTo>
                  <a:lnTo>
                    <a:pt x="1076" y="2519"/>
                  </a:lnTo>
                  <a:lnTo>
                    <a:pt x="1076" y="2519"/>
                  </a:lnTo>
                  <a:lnTo>
                    <a:pt x="1076" y="2584"/>
                  </a:lnTo>
                  <a:lnTo>
                    <a:pt x="1075" y="2649"/>
                  </a:lnTo>
                  <a:lnTo>
                    <a:pt x="1073" y="2712"/>
                  </a:lnTo>
                  <a:lnTo>
                    <a:pt x="1071" y="2776"/>
                  </a:lnTo>
                  <a:lnTo>
                    <a:pt x="1068" y="2839"/>
                  </a:lnTo>
                  <a:lnTo>
                    <a:pt x="1065" y="2902"/>
                  </a:lnTo>
                  <a:lnTo>
                    <a:pt x="1059" y="2964"/>
                  </a:lnTo>
                  <a:lnTo>
                    <a:pt x="1055" y="3026"/>
                  </a:lnTo>
                  <a:lnTo>
                    <a:pt x="1049" y="3087"/>
                  </a:lnTo>
                  <a:lnTo>
                    <a:pt x="1042" y="3148"/>
                  </a:lnTo>
                  <a:lnTo>
                    <a:pt x="1036" y="3208"/>
                  </a:lnTo>
                  <a:lnTo>
                    <a:pt x="1029" y="3268"/>
                  </a:lnTo>
                  <a:lnTo>
                    <a:pt x="1020" y="3326"/>
                  </a:lnTo>
                  <a:lnTo>
                    <a:pt x="1012" y="3384"/>
                  </a:lnTo>
                  <a:lnTo>
                    <a:pt x="1002" y="3443"/>
                  </a:lnTo>
                  <a:lnTo>
                    <a:pt x="992" y="3499"/>
                  </a:lnTo>
                  <a:lnTo>
                    <a:pt x="982" y="3555"/>
                  </a:lnTo>
                  <a:lnTo>
                    <a:pt x="970" y="3610"/>
                  </a:lnTo>
                  <a:lnTo>
                    <a:pt x="959" y="3665"/>
                  </a:lnTo>
                  <a:lnTo>
                    <a:pt x="947" y="3719"/>
                  </a:lnTo>
                  <a:lnTo>
                    <a:pt x="934" y="3772"/>
                  </a:lnTo>
                  <a:lnTo>
                    <a:pt x="921" y="3824"/>
                  </a:lnTo>
                  <a:lnTo>
                    <a:pt x="907" y="3876"/>
                  </a:lnTo>
                  <a:lnTo>
                    <a:pt x="893" y="3927"/>
                  </a:lnTo>
                  <a:lnTo>
                    <a:pt x="878" y="3977"/>
                  </a:lnTo>
                  <a:lnTo>
                    <a:pt x="863" y="4026"/>
                  </a:lnTo>
                  <a:lnTo>
                    <a:pt x="847" y="4073"/>
                  </a:lnTo>
                  <a:lnTo>
                    <a:pt x="830" y="4121"/>
                  </a:lnTo>
                  <a:lnTo>
                    <a:pt x="815" y="4167"/>
                  </a:lnTo>
                  <a:lnTo>
                    <a:pt x="798" y="4212"/>
                  </a:lnTo>
                  <a:lnTo>
                    <a:pt x="780" y="4256"/>
                  </a:lnTo>
                  <a:lnTo>
                    <a:pt x="762" y="4299"/>
                  </a:lnTo>
                  <a:lnTo>
                    <a:pt x="744" y="4342"/>
                  </a:lnTo>
                  <a:lnTo>
                    <a:pt x="724" y="4383"/>
                  </a:lnTo>
                  <a:lnTo>
                    <a:pt x="705" y="4423"/>
                  </a:lnTo>
                  <a:lnTo>
                    <a:pt x="685" y="4462"/>
                  </a:lnTo>
                  <a:lnTo>
                    <a:pt x="665" y="4500"/>
                  </a:lnTo>
                  <a:lnTo>
                    <a:pt x="645" y="4537"/>
                  </a:lnTo>
                  <a:lnTo>
                    <a:pt x="624" y="4573"/>
                  </a:lnTo>
                  <a:lnTo>
                    <a:pt x="603" y="4607"/>
                  </a:lnTo>
                  <a:lnTo>
                    <a:pt x="580" y="4641"/>
                  </a:lnTo>
                  <a:lnTo>
                    <a:pt x="559" y="4672"/>
                  </a:lnTo>
                  <a:lnTo>
                    <a:pt x="536" y="4703"/>
                  </a:lnTo>
                  <a:lnTo>
                    <a:pt x="513" y="4733"/>
                  </a:lnTo>
                  <a:lnTo>
                    <a:pt x="490" y="4761"/>
                  </a:lnTo>
                  <a:lnTo>
                    <a:pt x="467" y="4789"/>
                  </a:lnTo>
                  <a:lnTo>
                    <a:pt x="444" y="4814"/>
                  </a:lnTo>
                  <a:lnTo>
                    <a:pt x="419" y="4839"/>
                  </a:lnTo>
                  <a:lnTo>
                    <a:pt x="395" y="4862"/>
                  </a:lnTo>
                  <a:lnTo>
                    <a:pt x="370" y="4884"/>
                  </a:lnTo>
                  <a:lnTo>
                    <a:pt x="346" y="4905"/>
                  </a:lnTo>
                  <a:lnTo>
                    <a:pt x="321" y="4924"/>
                  </a:lnTo>
                  <a:lnTo>
                    <a:pt x="295" y="4942"/>
                  </a:lnTo>
                  <a:lnTo>
                    <a:pt x="270" y="4958"/>
                  </a:lnTo>
                  <a:lnTo>
                    <a:pt x="244" y="4972"/>
                  </a:lnTo>
                  <a:lnTo>
                    <a:pt x="218" y="4986"/>
                  </a:lnTo>
                  <a:lnTo>
                    <a:pt x="191" y="4998"/>
                  </a:lnTo>
                  <a:lnTo>
                    <a:pt x="165" y="5008"/>
                  </a:lnTo>
                  <a:lnTo>
                    <a:pt x="138" y="5017"/>
                  </a:lnTo>
                  <a:lnTo>
                    <a:pt x="111" y="5024"/>
                  </a:lnTo>
                  <a:lnTo>
                    <a:pt x="83" y="5030"/>
                  </a:lnTo>
                  <a:lnTo>
                    <a:pt x="57" y="5034"/>
                  </a:lnTo>
                  <a:lnTo>
                    <a:pt x="29" y="5036"/>
                  </a:lnTo>
                  <a:lnTo>
                    <a:pt x="0" y="5037"/>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6" name="Forma libre 36">
              <a:extLst>
                <a:ext uri="{FF2B5EF4-FFF2-40B4-BE49-F238E27FC236}">
                  <a16:creationId xmlns:a16="http://schemas.microsoft.com/office/drawing/2014/main" id="{B23CF3A3-87BF-EC4D-8244-B507F6E6AB1A}"/>
                </a:ext>
              </a:extLst>
            </p:cNvPr>
            <p:cNvSpPr>
              <a:spLocks/>
            </p:cNvSpPr>
            <p:nvPr/>
          </p:nvSpPr>
          <p:spPr bwMode="auto">
            <a:xfrm>
              <a:off x="5273675" y="263525"/>
              <a:ext cx="681038" cy="3190875"/>
            </a:xfrm>
            <a:custGeom>
              <a:avLst/>
              <a:gdLst/>
              <a:ahLst/>
              <a:cxnLst>
                <a:cxn ang="0">
                  <a:pos x="32" y="1"/>
                </a:cxn>
                <a:cxn ang="0">
                  <a:pos x="131" y="16"/>
                </a:cxn>
                <a:cxn ang="0">
                  <a:pos x="227" y="48"/>
                </a:cxn>
                <a:cxn ang="0">
                  <a:pos x="321" y="96"/>
                </a:cxn>
                <a:cxn ang="0">
                  <a:pos x="412" y="159"/>
                </a:cxn>
                <a:cxn ang="0">
                  <a:pos x="501" y="238"/>
                </a:cxn>
                <a:cxn ang="0">
                  <a:pos x="586" y="330"/>
                </a:cxn>
                <a:cxn ang="0">
                  <a:pos x="667" y="437"/>
                </a:cxn>
                <a:cxn ang="0">
                  <a:pos x="745" y="557"/>
                </a:cxn>
                <a:cxn ang="0">
                  <a:pos x="819" y="688"/>
                </a:cxn>
                <a:cxn ang="0">
                  <a:pos x="888" y="832"/>
                </a:cxn>
                <a:cxn ang="0">
                  <a:pos x="953" y="988"/>
                </a:cxn>
                <a:cxn ang="0">
                  <a:pos x="1013" y="1154"/>
                </a:cxn>
                <a:cxn ang="0">
                  <a:pos x="1067" y="1330"/>
                </a:cxn>
                <a:cxn ang="0">
                  <a:pos x="1117" y="1514"/>
                </a:cxn>
                <a:cxn ang="0">
                  <a:pos x="1160" y="1708"/>
                </a:cxn>
                <a:cxn ang="0">
                  <a:pos x="1197" y="1910"/>
                </a:cxn>
                <a:cxn ang="0">
                  <a:pos x="1229" y="2118"/>
                </a:cxn>
                <a:cxn ang="0">
                  <a:pos x="1255" y="2334"/>
                </a:cxn>
                <a:cxn ang="0">
                  <a:pos x="1273" y="2556"/>
                </a:cxn>
                <a:cxn ang="0">
                  <a:pos x="1283" y="2783"/>
                </a:cxn>
                <a:cxn ang="0">
                  <a:pos x="1288" y="3015"/>
                </a:cxn>
                <a:cxn ang="0">
                  <a:pos x="1285" y="3170"/>
                </a:cxn>
                <a:cxn ang="0">
                  <a:pos x="1277" y="3399"/>
                </a:cxn>
                <a:cxn ang="0">
                  <a:pos x="1261" y="3623"/>
                </a:cxn>
                <a:cxn ang="0">
                  <a:pos x="1239" y="3840"/>
                </a:cxn>
                <a:cxn ang="0">
                  <a:pos x="1209" y="4051"/>
                </a:cxn>
                <a:cxn ang="0">
                  <a:pos x="1173" y="4256"/>
                </a:cxn>
                <a:cxn ang="0">
                  <a:pos x="1132" y="4452"/>
                </a:cxn>
                <a:cxn ang="0">
                  <a:pos x="1084" y="4639"/>
                </a:cxn>
                <a:cxn ang="0">
                  <a:pos x="1031" y="4819"/>
                </a:cxn>
                <a:cxn ang="0">
                  <a:pos x="973" y="4987"/>
                </a:cxn>
                <a:cxn ang="0">
                  <a:pos x="910" y="5146"/>
                </a:cxn>
                <a:cxn ang="0">
                  <a:pos x="842" y="5295"/>
                </a:cxn>
                <a:cxn ang="0">
                  <a:pos x="770" y="5430"/>
                </a:cxn>
                <a:cxn ang="0">
                  <a:pos x="694" y="5554"/>
                </a:cxn>
                <a:cxn ang="0">
                  <a:pos x="613" y="5666"/>
                </a:cxn>
                <a:cxn ang="0">
                  <a:pos x="530" y="5763"/>
                </a:cxn>
                <a:cxn ang="0">
                  <a:pos x="443" y="5847"/>
                </a:cxn>
                <a:cxn ang="0">
                  <a:pos x="351" y="5915"/>
                </a:cxn>
                <a:cxn ang="0">
                  <a:pos x="259" y="5968"/>
                </a:cxn>
                <a:cxn ang="0">
                  <a:pos x="164" y="6005"/>
                </a:cxn>
                <a:cxn ang="0">
                  <a:pos x="65" y="6025"/>
                </a:cxn>
              </a:cxnLst>
              <a:rect l="0" t="0" r="r" b="b"/>
              <a:pathLst>
                <a:path w="1288" h="6029">
                  <a:moveTo>
                    <a:pt x="0" y="0"/>
                  </a:moveTo>
                  <a:lnTo>
                    <a:pt x="0" y="0"/>
                  </a:lnTo>
                  <a:lnTo>
                    <a:pt x="32" y="1"/>
                  </a:lnTo>
                  <a:lnTo>
                    <a:pt x="65" y="4"/>
                  </a:lnTo>
                  <a:lnTo>
                    <a:pt x="98" y="9"/>
                  </a:lnTo>
                  <a:lnTo>
                    <a:pt x="131" y="16"/>
                  </a:lnTo>
                  <a:lnTo>
                    <a:pt x="164" y="25"/>
                  </a:lnTo>
                  <a:lnTo>
                    <a:pt x="196" y="35"/>
                  </a:lnTo>
                  <a:lnTo>
                    <a:pt x="227" y="48"/>
                  </a:lnTo>
                  <a:lnTo>
                    <a:pt x="259" y="62"/>
                  </a:lnTo>
                  <a:lnTo>
                    <a:pt x="290" y="78"/>
                  </a:lnTo>
                  <a:lnTo>
                    <a:pt x="321" y="96"/>
                  </a:lnTo>
                  <a:lnTo>
                    <a:pt x="351" y="115"/>
                  </a:lnTo>
                  <a:lnTo>
                    <a:pt x="382" y="136"/>
                  </a:lnTo>
                  <a:lnTo>
                    <a:pt x="412" y="159"/>
                  </a:lnTo>
                  <a:lnTo>
                    <a:pt x="443" y="184"/>
                  </a:lnTo>
                  <a:lnTo>
                    <a:pt x="471" y="209"/>
                  </a:lnTo>
                  <a:lnTo>
                    <a:pt x="501" y="238"/>
                  </a:lnTo>
                  <a:lnTo>
                    <a:pt x="530" y="266"/>
                  </a:lnTo>
                  <a:lnTo>
                    <a:pt x="558" y="298"/>
                  </a:lnTo>
                  <a:lnTo>
                    <a:pt x="586" y="330"/>
                  </a:lnTo>
                  <a:lnTo>
                    <a:pt x="613" y="364"/>
                  </a:lnTo>
                  <a:lnTo>
                    <a:pt x="641" y="400"/>
                  </a:lnTo>
                  <a:lnTo>
                    <a:pt x="667" y="437"/>
                  </a:lnTo>
                  <a:lnTo>
                    <a:pt x="694" y="475"/>
                  </a:lnTo>
                  <a:lnTo>
                    <a:pt x="719" y="515"/>
                  </a:lnTo>
                  <a:lnTo>
                    <a:pt x="745" y="557"/>
                  </a:lnTo>
                  <a:lnTo>
                    <a:pt x="770" y="599"/>
                  </a:lnTo>
                  <a:lnTo>
                    <a:pt x="795" y="644"/>
                  </a:lnTo>
                  <a:lnTo>
                    <a:pt x="819" y="688"/>
                  </a:lnTo>
                  <a:lnTo>
                    <a:pt x="842" y="736"/>
                  </a:lnTo>
                  <a:lnTo>
                    <a:pt x="866" y="784"/>
                  </a:lnTo>
                  <a:lnTo>
                    <a:pt x="888" y="832"/>
                  </a:lnTo>
                  <a:lnTo>
                    <a:pt x="910" y="883"/>
                  </a:lnTo>
                  <a:lnTo>
                    <a:pt x="931" y="935"/>
                  </a:lnTo>
                  <a:lnTo>
                    <a:pt x="953" y="988"/>
                  </a:lnTo>
                  <a:lnTo>
                    <a:pt x="973" y="1042"/>
                  </a:lnTo>
                  <a:lnTo>
                    <a:pt x="993" y="1097"/>
                  </a:lnTo>
                  <a:lnTo>
                    <a:pt x="1013" y="1154"/>
                  </a:lnTo>
                  <a:lnTo>
                    <a:pt x="1031" y="1211"/>
                  </a:lnTo>
                  <a:lnTo>
                    <a:pt x="1050" y="1270"/>
                  </a:lnTo>
                  <a:lnTo>
                    <a:pt x="1067" y="1330"/>
                  </a:lnTo>
                  <a:lnTo>
                    <a:pt x="1084" y="1390"/>
                  </a:lnTo>
                  <a:lnTo>
                    <a:pt x="1101" y="1452"/>
                  </a:lnTo>
                  <a:lnTo>
                    <a:pt x="1117" y="1514"/>
                  </a:lnTo>
                  <a:lnTo>
                    <a:pt x="1132" y="1578"/>
                  </a:lnTo>
                  <a:lnTo>
                    <a:pt x="1147" y="1642"/>
                  </a:lnTo>
                  <a:lnTo>
                    <a:pt x="1160" y="1708"/>
                  </a:lnTo>
                  <a:lnTo>
                    <a:pt x="1173" y="1774"/>
                  </a:lnTo>
                  <a:lnTo>
                    <a:pt x="1186" y="1842"/>
                  </a:lnTo>
                  <a:lnTo>
                    <a:pt x="1197" y="1910"/>
                  </a:lnTo>
                  <a:lnTo>
                    <a:pt x="1209" y="1978"/>
                  </a:lnTo>
                  <a:lnTo>
                    <a:pt x="1220" y="2048"/>
                  </a:lnTo>
                  <a:lnTo>
                    <a:pt x="1229" y="2118"/>
                  </a:lnTo>
                  <a:lnTo>
                    <a:pt x="1239" y="2189"/>
                  </a:lnTo>
                  <a:lnTo>
                    <a:pt x="1247" y="2261"/>
                  </a:lnTo>
                  <a:lnTo>
                    <a:pt x="1255" y="2334"/>
                  </a:lnTo>
                  <a:lnTo>
                    <a:pt x="1261" y="2408"/>
                  </a:lnTo>
                  <a:lnTo>
                    <a:pt x="1267" y="2481"/>
                  </a:lnTo>
                  <a:lnTo>
                    <a:pt x="1273" y="2556"/>
                  </a:lnTo>
                  <a:lnTo>
                    <a:pt x="1277" y="2630"/>
                  </a:lnTo>
                  <a:lnTo>
                    <a:pt x="1280" y="2707"/>
                  </a:lnTo>
                  <a:lnTo>
                    <a:pt x="1283" y="2783"/>
                  </a:lnTo>
                  <a:lnTo>
                    <a:pt x="1285" y="2859"/>
                  </a:lnTo>
                  <a:lnTo>
                    <a:pt x="1286" y="2937"/>
                  </a:lnTo>
                  <a:lnTo>
                    <a:pt x="1288" y="3015"/>
                  </a:lnTo>
                  <a:lnTo>
                    <a:pt x="1288" y="3015"/>
                  </a:lnTo>
                  <a:lnTo>
                    <a:pt x="1286" y="3093"/>
                  </a:lnTo>
                  <a:lnTo>
                    <a:pt x="1285" y="3170"/>
                  </a:lnTo>
                  <a:lnTo>
                    <a:pt x="1283" y="3246"/>
                  </a:lnTo>
                  <a:lnTo>
                    <a:pt x="1280" y="3323"/>
                  </a:lnTo>
                  <a:lnTo>
                    <a:pt x="1277" y="3399"/>
                  </a:lnTo>
                  <a:lnTo>
                    <a:pt x="1273" y="3474"/>
                  </a:lnTo>
                  <a:lnTo>
                    <a:pt x="1267" y="3548"/>
                  </a:lnTo>
                  <a:lnTo>
                    <a:pt x="1261" y="3623"/>
                  </a:lnTo>
                  <a:lnTo>
                    <a:pt x="1255" y="3696"/>
                  </a:lnTo>
                  <a:lnTo>
                    <a:pt x="1247" y="3768"/>
                  </a:lnTo>
                  <a:lnTo>
                    <a:pt x="1239" y="3840"/>
                  </a:lnTo>
                  <a:lnTo>
                    <a:pt x="1229" y="3911"/>
                  </a:lnTo>
                  <a:lnTo>
                    <a:pt x="1220" y="3982"/>
                  </a:lnTo>
                  <a:lnTo>
                    <a:pt x="1209" y="4051"/>
                  </a:lnTo>
                  <a:lnTo>
                    <a:pt x="1197" y="4120"/>
                  </a:lnTo>
                  <a:lnTo>
                    <a:pt x="1186" y="4188"/>
                  </a:lnTo>
                  <a:lnTo>
                    <a:pt x="1173" y="4256"/>
                  </a:lnTo>
                  <a:lnTo>
                    <a:pt x="1160" y="4321"/>
                  </a:lnTo>
                  <a:lnTo>
                    <a:pt x="1147" y="4387"/>
                  </a:lnTo>
                  <a:lnTo>
                    <a:pt x="1132" y="4452"/>
                  </a:lnTo>
                  <a:lnTo>
                    <a:pt x="1117" y="4515"/>
                  </a:lnTo>
                  <a:lnTo>
                    <a:pt x="1101" y="4578"/>
                  </a:lnTo>
                  <a:lnTo>
                    <a:pt x="1084" y="4639"/>
                  </a:lnTo>
                  <a:lnTo>
                    <a:pt x="1067" y="4700"/>
                  </a:lnTo>
                  <a:lnTo>
                    <a:pt x="1050" y="4760"/>
                  </a:lnTo>
                  <a:lnTo>
                    <a:pt x="1031" y="4819"/>
                  </a:lnTo>
                  <a:lnTo>
                    <a:pt x="1013" y="4876"/>
                  </a:lnTo>
                  <a:lnTo>
                    <a:pt x="993" y="4932"/>
                  </a:lnTo>
                  <a:lnTo>
                    <a:pt x="973" y="4987"/>
                  </a:lnTo>
                  <a:lnTo>
                    <a:pt x="953" y="5041"/>
                  </a:lnTo>
                  <a:lnTo>
                    <a:pt x="931" y="5094"/>
                  </a:lnTo>
                  <a:lnTo>
                    <a:pt x="910" y="5146"/>
                  </a:lnTo>
                  <a:lnTo>
                    <a:pt x="888" y="5197"/>
                  </a:lnTo>
                  <a:lnTo>
                    <a:pt x="866" y="5246"/>
                  </a:lnTo>
                  <a:lnTo>
                    <a:pt x="842" y="5295"/>
                  </a:lnTo>
                  <a:lnTo>
                    <a:pt x="819" y="5341"/>
                  </a:lnTo>
                  <a:lnTo>
                    <a:pt x="795" y="5387"/>
                  </a:lnTo>
                  <a:lnTo>
                    <a:pt x="770" y="5430"/>
                  </a:lnTo>
                  <a:lnTo>
                    <a:pt x="745" y="5473"/>
                  </a:lnTo>
                  <a:lnTo>
                    <a:pt x="719" y="5514"/>
                  </a:lnTo>
                  <a:lnTo>
                    <a:pt x="694" y="5554"/>
                  </a:lnTo>
                  <a:lnTo>
                    <a:pt x="667" y="5592"/>
                  </a:lnTo>
                  <a:lnTo>
                    <a:pt x="641" y="5630"/>
                  </a:lnTo>
                  <a:lnTo>
                    <a:pt x="613" y="5666"/>
                  </a:lnTo>
                  <a:lnTo>
                    <a:pt x="586" y="5699"/>
                  </a:lnTo>
                  <a:lnTo>
                    <a:pt x="558" y="5732"/>
                  </a:lnTo>
                  <a:lnTo>
                    <a:pt x="530" y="5763"/>
                  </a:lnTo>
                  <a:lnTo>
                    <a:pt x="501" y="5793"/>
                  </a:lnTo>
                  <a:lnTo>
                    <a:pt x="471" y="5820"/>
                  </a:lnTo>
                  <a:lnTo>
                    <a:pt x="443" y="5847"/>
                  </a:lnTo>
                  <a:lnTo>
                    <a:pt x="412" y="5871"/>
                  </a:lnTo>
                  <a:lnTo>
                    <a:pt x="382" y="5893"/>
                  </a:lnTo>
                  <a:lnTo>
                    <a:pt x="351" y="5915"/>
                  </a:lnTo>
                  <a:lnTo>
                    <a:pt x="321" y="5935"/>
                  </a:lnTo>
                  <a:lnTo>
                    <a:pt x="290" y="5952"/>
                  </a:lnTo>
                  <a:lnTo>
                    <a:pt x="259" y="5968"/>
                  </a:lnTo>
                  <a:lnTo>
                    <a:pt x="227" y="5983"/>
                  </a:lnTo>
                  <a:lnTo>
                    <a:pt x="196" y="5994"/>
                  </a:lnTo>
                  <a:lnTo>
                    <a:pt x="164" y="6005"/>
                  </a:lnTo>
                  <a:lnTo>
                    <a:pt x="131" y="6013"/>
                  </a:lnTo>
                  <a:lnTo>
                    <a:pt x="98" y="6021"/>
                  </a:lnTo>
                  <a:lnTo>
                    <a:pt x="65" y="6025"/>
                  </a:lnTo>
                  <a:lnTo>
                    <a:pt x="32" y="6028"/>
                  </a:lnTo>
                  <a:lnTo>
                    <a:pt x="0" y="6029"/>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sp>
          <p:nvSpPr>
            <p:cNvPr id="47" name="Forma libre 37">
              <a:extLst>
                <a:ext uri="{FF2B5EF4-FFF2-40B4-BE49-F238E27FC236}">
                  <a16:creationId xmlns:a16="http://schemas.microsoft.com/office/drawing/2014/main" id="{DE3391C5-486A-CA49-B240-B1A95AB9DAB0}"/>
                </a:ext>
              </a:extLst>
            </p:cNvPr>
            <p:cNvSpPr>
              <a:spLocks/>
            </p:cNvSpPr>
            <p:nvPr/>
          </p:nvSpPr>
          <p:spPr bwMode="auto">
            <a:xfrm>
              <a:off x="5487988" y="1588"/>
              <a:ext cx="793750" cy="3714750"/>
            </a:xfrm>
            <a:custGeom>
              <a:avLst/>
              <a:gdLst/>
              <a:ahLst/>
              <a:cxnLst>
                <a:cxn ang="0">
                  <a:pos x="39" y="1"/>
                </a:cxn>
                <a:cxn ang="0">
                  <a:pos x="153" y="18"/>
                </a:cxn>
                <a:cxn ang="0">
                  <a:pos x="266" y="55"/>
                </a:cxn>
                <a:cxn ang="0">
                  <a:pos x="375" y="110"/>
                </a:cxn>
                <a:cxn ang="0">
                  <a:pos x="481" y="185"/>
                </a:cxn>
                <a:cxn ang="0">
                  <a:pos x="584" y="276"/>
                </a:cxn>
                <a:cxn ang="0">
                  <a:pos x="682" y="384"/>
                </a:cxn>
                <a:cxn ang="0">
                  <a:pos x="778" y="508"/>
                </a:cxn>
                <a:cxn ang="0">
                  <a:pos x="868" y="648"/>
                </a:cxn>
                <a:cxn ang="0">
                  <a:pos x="954" y="802"/>
                </a:cxn>
                <a:cxn ang="0">
                  <a:pos x="1035" y="969"/>
                </a:cxn>
                <a:cxn ang="0">
                  <a:pos x="1111" y="1150"/>
                </a:cxn>
                <a:cxn ang="0">
                  <a:pos x="1179" y="1343"/>
                </a:cxn>
                <a:cxn ang="0">
                  <a:pos x="1244" y="1548"/>
                </a:cxn>
                <a:cxn ang="0">
                  <a:pos x="1301" y="1763"/>
                </a:cxn>
                <a:cxn ang="0">
                  <a:pos x="1352" y="1989"/>
                </a:cxn>
                <a:cxn ang="0">
                  <a:pos x="1396" y="2223"/>
                </a:cxn>
                <a:cxn ang="0">
                  <a:pos x="1433" y="2467"/>
                </a:cxn>
                <a:cxn ang="0">
                  <a:pos x="1461" y="2718"/>
                </a:cxn>
                <a:cxn ang="0">
                  <a:pos x="1483" y="2976"/>
                </a:cxn>
                <a:cxn ang="0">
                  <a:pos x="1495" y="3241"/>
                </a:cxn>
                <a:cxn ang="0">
                  <a:pos x="1500" y="3511"/>
                </a:cxn>
                <a:cxn ang="0">
                  <a:pos x="1497" y="3691"/>
                </a:cxn>
                <a:cxn ang="0">
                  <a:pos x="1488" y="3958"/>
                </a:cxn>
                <a:cxn ang="0">
                  <a:pos x="1470" y="4218"/>
                </a:cxn>
                <a:cxn ang="0">
                  <a:pos x="1443" y="4472"/>
                </a:cxn>
                <a:cxn ang="0">
                  <a:pos x="1408" y="4718"/>
                </a:cxn>
                <a:cxn ang="0">
                  <a:pos x="1367" y="4955"/>
                </a:cxn>
                <a:cxn ang="0">
                  <a:pos x="1318" y="5184"/>
                </a:cxn>
                <a:cxn ang="0">
                  <a:pos x="1263" y="5404"/>
                </a:cxn>
                <a:cxn ang="0">
                  <a:pos x="1202" y="5611"/>
                </a:cxn>
                <a:cxn ang="0">
                  <a:pos x="1134" y="5809"/>
                </a:cxn>
                <a:cxn ang="0">
                  <a:pos x="1061" y="5993"/>
                </a:cxn>
                <a:cxn ang="0">
                  <a:pos x="981" y="6166"/>
                </a:cxn>
                <a:cxn ang="0">
                  <a:pos x="897" y="6324"/>
                </a:cxn>
                <a:cxn ang="0">
                  <a:pos x="808" y="6469"/>
                </a:cxn>
                <a:cxn ang="0">
                  <a:pos x="715" y="6598"/>
                </a:cxn>
                <a:cxn ang="0">
                  <a:pos x="618" y="6712"/>
                </a:cxn>
                <a:cxn ang="0">
                  <a:pos x="516" y="6808"/>
                </a:cxn>
                <a:cxn ang="0">
                  <a:pos x="411" y="6889"/>
                </a:cxn>
                <a:cxn ang="0">
                  <a:pos x="302" y="6950"/>
                </a:cxn>
                <a:cxn ang="0">
                  <a:pos x="190" y="6994"/>
                </a:cxn>
                <a:cxn ang="0">
                  <a:pos x="77" y="7017"/>
                </a:cxn>
              </a:cxnLst>
              <a:rect l="0" t="0" r="r" b="b"/>
              <a:pathLst>
                <a:path w="1500" h="7021">
                  <a:moveTo>
                    <a:pt x="0" y="0"/>
                  </a:moveTo>
                  <a:lnTo>
                    <a:pt x="0" y="0"/>
                  </a:lnTo>
                  <a:lnTo>
                    <a:pt x="39" y="1"/>
                  </a:lnTo>
                  <a:lnTo>
                    <a:pt x="77" y="4"/>
                  </a:lnTo>
                  <a:lnTo>
                    <a:pt x="115" y="11"/>
                  </a:lnTo>
                  <a:lnTo>
                    <a:pt x="153" y="18"/>
                  </a:lnTo>
                  <a:lnTo>
                    <a:pt x="190" y="29"/>
                  </a:lnTo>
                  <a:lnTo>
                    <a:pt x="229" y="40"/>
                  </a:lnTo>
                  <a:lnTo>
                    <a:pt x="266" y="55"/>
                  </a:lnTo>
                  <a:lnTo>
                    <a:pt x="302" y="71"/>
                  </a:lnTo>
                  <a:lnTo>
                    <a:pt x="339" y="90"/>
                  </a:lnTo>
                  <a:lnTo>
                    <a:pt x="375" y="110"/>
                  </a:lnTo>
                  <a:lnTo>
                    <a:pt x="411" y="134"/>
                  </a:lnTo>
                  <a:lnTo>
                    <a:pt x="446" y="158"/>
                  </a:lnTo>
                  <a:lnTo>
                    <a:pt x="481" y="185"/>
                  </a:lnTo>
                  <a:lnTo>
                    <a:pt x="516" y="213"/>
                  </a:lnTo>
                  <a:lnTo>
                    <a:pt x="550" y="244"/>
                  </a:lnTo>
                  <a:lnTo>
                    <a:pt x="584" y="276"/>
                  </a:lnTo>
                  <a:lnTo>
                    <a:pt x="618" y="311"/>
                  </a:lnTo>
                  <a:lnTo>
                    <a:pt x="650" y="347"/>
                  </a:lnTo>
                  <a:lnTo>
                    <a:pt x="682" y="384"/>
                  </a:lnTo>
                  <a:lnTo>
                    <a:pt x="715" y="424"/>
                  </a:lnTo>
                  <a:lnTo>
                    <a:pt x="747" y="466"/>
                  </a:lnTo>
                  <a:lnTo>
                    <a:pt x="778" y="508"/>
                  </a:lnTo>
                  <a:lnTo>
                    <a:pt x="808" y="554"/>
                  </a:lnTo>
                  <a:lnTo>
                    <a:pt x="838" y="600"/>
                  </a:lnTo>
                  <a:lnTo>
                    <a:pt x="868" y="648"/>
                  </a:lnTo>
                  <a:lnTo>
                    <a:pt x="897" y="698"/>
                  </a:lnTo>
                  <a:lnTo>
                    <a:pt x="926" y="749"/>
                  </a:lnTo>
                  <a:lnTo>
                    <a:pt x="954" y="802"/>
                  </a:lnTo>
                  <a:lnTo>
                    <a:pt x="981" y="857"/>
                  </a:lnTo>
                  <a:lnTo>
                    <a:pt x="1009" y="912"/>
                  </a:lnTo>
                  <a:lnTo>
                    <a:pt x="1035" y="969"/>
                  </a:lnTo>
                  <a:lnTo>
                    <a:pt x="1061" y="1028"/>
                  </a:lnTo>
                  <a:lnTo>
                    <a:pt x="1086" y="1089"/>
                  </a:lnTo>
                  <a:lnTo>
                    <a:pt x="1111" y="1150"/>
                  </a:lnTo>
                  <a:lnTo>
                    <a:pt x="1134" y="1213"/>
                  </a:lnTo>
                  <a:lnTo>
                    <a:pt x="1157" y="1278"/>
                  </a:lnTo>
                  <a:lnTo>
                    <a:pt x="1179" y="1343"/>
                  </a:lnTo>
                  <a:lnTo>
                    <a:pt x="1202" y="1410"/>
                  </a:lnTo>
                  <a:lnTo>
                    <a:pt x="1223" y="1479"/>
                  </a:lnTo>
                  <a:lnTo>
                    <a:pt x="1244" y="1548"/>
                  </a:lnTo>
                  <a:lnTo>
                    <a:pt x="1263" y="1619"/>
                  </a:lnTo>
                  <a:lnTo>
                    <a:pt x="1282" y="1690"/>
                  </a:lnTo>
                  <a:lnTo>
                    <a:pt x="1301" y="1763"/>
                  </a:lnTo>
                  <a:lnTo>
                    <a:pt x="1318" y="1837"/>
                  </a:lnTo>
                  <a:lnTo>
                    <a:pt x="1335" y="1913"/>
                  </a:lnTo>
                  <a:lnTo>
                    <a:pt x="1352" y="1989"/>
                  </a:lnTo>
                  <a:lnTo>
                    <a:pt x="1367" y="2066"/>
                  </a:lnTo>
                  <a:lnTo>
                    <a:pt x="1382" y="2145"/>
                  </a:lnTo>
                  <a:lnTo>
                    <a:pt x="1396" y="2223"/>
                  </a:lnTo>
                  <a:lnTo>
                    <a:pt x="1408" y="2304"/>
                  </a:lnTo>
                  <a:lnTo>
                    <a:pt x="1421" y="2385"/>
                  </a:lnTo>
                  <a:lnTo>
                    <a:pt x="1433" y="2467"/>
                  </a:lnTo>
                  <a:lnTo>
                    <a:pt x="1443" y="2550"/>
                  </a:lnTo>
                  <a:lnTo>
                    <a:pt x="1453" y="2633"/>
                  </a:lnTo>
                  <a:lnTo>
                    <a:pt x="1461" y="2718"/>
                  </a:lnTo>
                  <a:lnTo>
                    <a:pt x="1470" y="2803"/>
                  </a:lnTo>
                  <a:lnTo>
                    <a:pt x="1476" y="2889"/>
                  </a:lnTo>
                  <a:lnTo>
                    <a:pt x="1483" y="2976"/>
                  </a:lnTo>
                  <a:lnTo>
                    <a:pt x="1488" y="3064"/>
                  </a:lnTo>
                  <a:lnTo>
                    <a:pt x="1492" y="3152"/>
                  </a:lnTo>
                  <a:lnTo>
                    <a:pt x="1495" y="3241"/>
                  </a:lnTo>
                  <a:lnTo>
                    <a:pt x="1497" y="3330"/>
                  </a:lnTo>
                  <a:lnTo>
                    <a:pt x="1500" y="3420"/>
                  </a:lnTo>
                  <a:lnTo>
                    <a:pt x="1500" y="3511"/>
                  </a:lnTo>
                  <a:lnTo>
                    <a:pt x="1500" y="3511"/>
                  </a:lnTo>
                  <a:lnTo>
                    <a:pt x="1500" y="3601"/>
                  </a:lnTo>
                  <a:lnTo>
                    <a:pt x="1497" y="3691"/>
                  </a:lnTo>
                  <a:lnTo>
                    <a:pt x="1495" y="3781"/>
                  </a:lnTo>
                  <a:lnTo>
                    <a:pt x="1492" y="3870"/>
                  </a:lnTo>
                  <a:lnTo>
                    <a:pt x="1488" y="3958"/>
                  </a:lnTo>
                  <a:lnTo>
                    <a:pt x="1483" y="4046"/>
                  </a:lnTo>
                  <a:lnTo>
                    <a:pt x="1476" y="4132"/>
                  </a:lnTo>
                  <a:lnTo>
                    <a:pt x="1470" y="4218"/>
                  </a:lnTo>
                  <a:lnTo>
                    <a:pt x="1461" y="4304"/>
                  </a:lnTo>
                  <a:lnTo>
                    <a:pt x="1453" y="4388"/>
                  </a:lnTo>
                  <a:lnTo>
                    <a:pt x="1443" y="4472"/>
                  </a:lnTo>
                  <a:lnTo>
                    <a:pt x="1433" y="4554"/>
                  </a:lnTo>
                  <a:lnTo>
                    <a:pt x="1421" y="4637"/>
                  </a:lnTo>
                  <a:lnTo>
                    <a:pt x="1408" y="4718"/>
                  </a:lnTo>
                  <a:lnTo>
                    <a:pt x="1396" y="4798"/>
                  </a:lnTo>
                  <a:lnTo>
                    <a:pt x="1382" y="4878"/>
                  </a:lnTo>
                  <a:lnTo>
                    <a:pt x="1367" y="4955"/>
                  </a:lnTo>
                  <a:lnTo>
                    <a:pt x="1352" y="5033"/>
                  </a:lnTo>
                  <a:lnTo>
                    <a:pt x="1335" y="5109"/>
                  </a:lnTo>
                  <a:lnTo>
                    <a:pt x="1318" y="5184"/>
                  </a:lnTo>
                  <a:lnTo>
                    <a:pt x="1301" y="5258"/>
                  </a:lnTo>
                  <a:lnTo>
                    <a:pt x="1282" y="5331"/>
                  </a:lnTo>
                  <a:lnTo>
                    <a:pt x="1263" y="5404"/>
                  </a:lnTo>
                  <a:lnTo>
                    <a:pt x="1244" y="5474"/>
                  </a:lnTo>
                  <a:lnTo>
                    <a:pt x="1223" y="5544"/>
                  </a:lnTo>
                  <a:lnTo>
                    <a:pt x="1202" y="5611"/>
                  </a:lnTo>
                  <a:lnTo>
                    <a:pt x="1179" y="5678"/>
                  </a:lnTo>
                  <a:lnTo>
                    <a:pt x="1157" y="5744"/>
                  </a:lnTo>
                  <a:lnTo>
                    <a:pt x="1134" y="5809"/>
                  </a:lnTo>
                  <a:lnTo>
                    <a:pt x="1111" y="5871"/>
                  </a:lnTo>
                  <a:lnTo>
                    <a:pt x="1086" y="5933"/>
                  </a:lnTo>
                  <a:lnTo>
                    <a:pt x="1061" y="5993"/>
                  </a:lnTo>
                  <a:lnTo>
                    <a:pt x="1035" y="6052"/>
                  </a:lnTo>
                  <a:lnTo>
                    <a:pt x="1009" y="6110"/>
                  </a:lnTo>
                  <a:lnTo>
                    <a:pt x="981" y="6166"/>
                  </a:lnTo>
                  <a:lnTo>
                    <a:pt x="954" y="6220"/>
                  </a:lnTo>
                  <a:lnTo>
                    <a:pt x="926" y="6273"/>
                  </a:lnTo>
                  <a:lnTo>
                    <a:pt x="897" y="6324"/>
                  </a:lnTo>
                  <a:lnTo>
                    <a:pt x="868" y="6374"/>
                  </a:lnTo>
                  <a:lnTo>
                    <a:pt x="838" y="6422"/>
                  </a:lnTo>
                  <a:lnTo>
                    <a:pt x="808" y="6469"/>
                  </a:lnTo>
                  <a:lnTo>
                    <a:pt x="778" y="6514"/>
                  </a:lnTo>
                  <a:lnTo>
                    <a:pt x="747" y="6556"/>
                  </a:lnTo>
                  <a:lnTo>
                    <a:pt x="715" y="6598"/>
                  </a:lnTo>
                  <a:lnTo>
                    <a:pt x="682" y="6638"/>
                  </a:lnTo>
                  <a:lnTo>
                    <a:pt x="650" y="6676"/>
                  </a:lnTo>
                  <a:lnTo>
                    <a:pt x="618" y="6712"/>
                  </a:lnTo>
                  <a:lnTo>
                    <a:pt x="584" y="6746"/>
                  </a:lnTo>
                  <a:lnTo>
                    <a:pt x="550" y="6779"/>
                  </a:lnTo>
                  <a:lnTo>
                    <a:pt x="516" y="6808"/>
                  </a:lnTo>
                  <a:lnTo>
                    <a:pt x="481" y="6837"/>
                  </a:lnTo>
                  <a:lnTo>
                    <a:pt x="446" y="6863"/>
                  </a:lnTo>
                  <a:lnTo>
                    <a:pt x="411" y="6889"/>
                  </a:lnTo>
                  <a:lnTo>
                    <a:pt x="375" y="6911"/>
                  </a:lnTo>
                  <a:lnTo>
                    <a:pt x="339" y="6931"/>
                  </a:lnTo>
                  <a:lnTo>
                    <a:pt x="302" y="6950"/>
                  </a:lnTo>
                  <a:lnTo>
                    <a:pt x="266" y="6966"/>
                  </a:lnTo>
                  <a:lnTo>
                    <a:pt x="229" y="6981"/>
                  </a:lnTo>
                  <a:lnTo>
                    <a:pt x="190" y="6994"/>
                  </a:lnTo>
                  <a:lnTo>
                    <a:pt x="153" y="7003"/>
                  </a:lnTo>
                  <a:lnTo>
                    <a:pt x="115" y="7012"/>
                  </a:lnTo>
                  <a:lnTo>
                    <a:pt x="77" y="7017"/>
                  </a:lnTo>
                  <a:lnTo>
                    <a:pt x="39" y="7020"/>
                  </a:lnTo>
                  <a:lnTo>
                    <a:pt x="0" y="7021"/>
                  </a:lnTo>
                </a:path>
              </a:pathLst>
            </a:custGeom>
            <a:noFill/>
            <a:ln w="57150" cap="flat" cmpd="sng" algn="ctr">
              <a:gradFill flip="none" rotWithShape="1">
                <a:gsLst>
                  <a:gs pos="50000">
                    <a:schemeClr val="accent6">
                      <a:lumMod val="40000"/>
                      <a:lumOff val="60000"/>
                    </a:schemeClr>
                  </a:gs>
                  <a:gs pos="100000">
                    <a:schemeClr val="bg1">
                      <a:alpha val="10000"/>
                    </a:schemeClr>
                  </a:gs>
                  <a:gs pos="76000">
                    <a:schemeClr val="accent6">
                      <a:lumMod val="20000"/>
                      <a:lumOff val="80000"/>
                    </a:schemeClr>
                  </a:gs>
                  <a:gs pos="23000">
                    <a:schemeClr val="accent6">
                      <a:lumMod val="20000"/>
                      <a:lumOff val="80000"/>
                    </a:schemeClr>
                  </a:gs>
                  <a:gs pos="0">
                    <a:schemeClr val="bg1">
                      <a:alpha val="10000"/>
                    </a:schemeClr>
                  </a:gs>
                </a:gsLst>
                <a:lin ang="5400000" scaled="0"/>
                <a:tileRect/>
              </a:gradFill>
              <a:prstDash val="solid"/>
              <a:round/>
              <a:headEnd type="none" w="med" len="med"/>
              <a:tailEnd type="none" w="med" len="med"/>
            </a:ln>
          </p:spPr>
          <p:txBody>
            <a:bodyPr vert="horz" wrap="square" lIns="91440" tIns="45720" rIns="91440" bIns="45720" numCol="1" rtlCol="0" anchor="t" anchorCtr="0" compatLnSpc="1">
              <a:prstTxWarp prst="textNoShape">
                <a:avLst/>
              </a:prstTxWarp>
            </a:bodyPr>
            <a:lstStyle/>
            <a:p>
              <a:pPr rtl="0"/>
              <a:endParaRPr lang="es-MX" noProof="0"/>
            </a:p>
          </p:txBody>
        </p:sp>
      </p:grpSp>
      <p:sp>
        <p:nvSpPr>
          <p:cNvPr id="55" name="Marcador de texto 52">
            <a:extLst>
              <a:ext uri="{FF2B5EF4-FFF2-40B4-BE49-F238E27FC236}">
                <a16:creationId xmlns:a16="http://schemas.microsoft.com/office/drawing/2014/main" id="{3EE816DE-C17E-EE48-93B5-8035A440D7BC}"/>
              </a:ext>
            </a:extLst>
          </p:cNvPr>
          <p:cNvSpPr>
            <a:spLocks noGrp="1"/>
          </p:cNvSpPr>
          <p:nvPr>
            <p:ph type="body" sz="quarter" idx="13" hasCustomPrompt="1"/>
          </p:nvPr>
        </p:nvSpPr>
        <p:spPr>
          <a:xfrm>
            <a:off x="8740633" y="2542442"/>
            <a:ext cx="3222766" cy="1722876"/>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4" name="Marcador de texto 50">
            <a:extLst>
              <a:ext uri="{FF2B5EF4-FFF2-40B4-BE49-F238E27FC236}">
                <a16:creationId xmlns:a16="http://schemas.microsoft.com/office/drawing/2014/main" id="{84738C10-0489-024C-ADB1-E9F856A1381F}"/>
              </a:ext>
            </a:extLst>
          </p:cNvPr>
          <p:cNvSpPr>
            <a:spLocks noGrp="1"/>
          </p:cNvSpPr>
          <p:nvPr>
            <p:ph type="body" sz="quarter" idx="12" hasCustomPrompt="1"/>
          </p:nvPr>
        </p:nvSpPr>
        <p:spPr>
          <a:xfrm>
            <a:off x="8745260" y="2008783"/>
            <a:ext cx="3216385"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Mensaje aquí</a:t>
            </a:r>
          </a:p>
        </p:txBody>
      </p:sp>
      <p:sp>
        <p:nvSpPr>
          <p:cNvPr id="8" name="Autoforma 110" title="Flecha hacia la derecha">
            <a:extLst>
              <a:ext uri="{FF2B5EF4-FFF2-40B4-BE49-F238E27FC236}">
                <a16:creationId xmlns:a16="http://schemas.microsoft.com/office/drawing/2014/main" id="{8363DF69-F987-8E4F-93DA-41C1C2C1DD92}"/>
              </a:ext>
            </a:extLst>
          </p:cNvPr>
          <p:cNvSpPr>
            <a:spLocks noChangeArrowheads="1"/>
          </p:cNvSpPr>
          <p:nvPr userDrawn="1"/>
        </p:nvSpPr>
        <p:spPr bwMode="auto">
          <a:xfrm>
            <a:off x="304800" y="2076448"/>
            <a:ext cx="2294310" cy="1864970"/>
          </a:xfrm>
          <a:prstGeom prst="rightArrow">
            <a:avLst>
              <a:gd name="adj1" fmla="val 72186"/>
              <a:gd name="adj2" fmla="val 34219"/>
            </a:avLst>
          </a:prstGeom>
          <a:gradFill flip="none" rotWithShape="1">
            <a:gsLst>
              <a:gs pos="0">
                <a:schemeClr val="bg1">
                  <a:alpha val="0"/>
                </a:schemeClr>
              </a:gs>
              <a:gs pos="100000">
                <a:schemeClr val="accent3"/>
              </a:gs>
            </a:gsLst>
            <a:lin ang="0" scaled="1"/>
            <a:tileRect/>
          </a:gradFill>
          <a:ln w="9525">
            <a:noFill/>
            <a:miter lim="800000"/>
            <a:headEnd/>
            <a:tailEnd/>
          </a:ln>
        </p:spPr>
        <p:txBody>
          <a:bodyPr wrap="none" rtlCol="0" anchor="ctr"/>
          <a:lstStyle/>
          <a:p>
            <a:pPr rtl="0"/>
            <a:endParaRPr lang="es-MX" noProof="0"/>
          </a:p>
        </p:txBody>
      </p:sp>
      <p:sp>
        <p:nvSpPr>
          <p:cNvPr id="53" name="Marcador de texto 52">
            <a:extLst>
              <a:ext uri="{FF2B5EF4-FFF2-40B4-BE49-F238E27FC236}">
                <a16:creationId xmlns:a16="http://schemas.microsoft.com/office/drawing/2014/main" id="{206C9B51-CC04-1B4D-BD13-48326C4B8570}"/>
              </a:ext>
            </a:extLst>
          </p:cNvPr>
          <p:cNvSpPr>
            <a:spLocks noGrp="1"/>
          </p:cNvSpPr>
          <p:nvPr>
            <p:ph type="body" sz="quarter" idx="11" hasCustomPrompt="1"/>
          </p:nvPr>
        </p:nvSpPr>
        <p:spPr>
          <a:xfrm>
            <a:off x="301624" y="2884488"/>
            <a:ext cx="1603375" cy="715555"/>
          </a:xfrm>
          <a:prstGeom prst="rect">
            <a:avLst/>
          </a:prstGeom>
        </p:spPr>
        <p:txBody>
          <a:bodyPr rtlCol="0">
            <a:normAutofit/>
          </a:bodyPr>
          <a:lstStyle>
            <a:lvl1pPr marL="0" indent="0" algn="ctr">
              <a:buNone/>
              <a:defRPr sz="18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ditar estilos de texto del patrón</a:t>
            </a:r>
          </a:p>
        </p:txBody>
      </p:sp>
      <p:sp>
        <p:nvSpPr>
          <p:cNvPr id="51" name="Marcador de texto 50">
            <a:extLst>
              <a:ext uri="{FF2B5EF4-FFF2-40B4-BE49-F238E27FC236}">
                <a16:creationId xmlns:a16="http://schemas.microsoft.com/office/drawing/2014/main" id="{C72C86D6-3C50-A44E-9F17-45EEFA57732B}"/>
              </a:ext>
            </a:extLst>
          </p:cNvPr>
          <p:cNvSpPr>
            <a:spLocks noGrp="1"/>
          </p:cNvSpPr>
          <p:nvPr>
            <p:ph type="body" sz="quarter" idx="10" hasCustomPrompt="1"/>
          </p:nvPr>
        </p:nvSpPr>
        <p:spPr>
          <a:xfrm>
            <a:off x="304800" y="2350829"/>
            <a:ext cx="1600200" cy="445771"/>
          </a:xfrm>
          <a:prstGeom prst="rect">
            <a:avLst/>
          </a:prstGeom>
        </p:spPr>
        <p:txBody>
          <a:bodyPr rtlCol="0">
            <a:noAutofit/>
          </a:bodyPr>
          <a:lstStyle>
            <a:lvl1pPr marL="0" indent="0" algn="ctr">
              <a:buNone/>
              <a:defRPr sz="3600"/>
            </a:lvl1pPr>
            <a:lvl2pPr marL="457200" indent="0">
              <a:buNone/>
              <a:defRPr/>
            </a:lvl2pPr>
            <a:lvl3pPr marL="914400" indent="0">
              <a:buNone/>
              <a:defRPr/>
            </a:lvl3pPr>
            <a:lvl4pPr marL="1371600" indent="0">
              <a:buNone/>
              <a:defRPr/>
            </a:lvl4pPr>
            <a:lvl5pPr marL="1828800" indent="0">
              <a:buNone/>
              <a:defRPr/>
            </a:lvl5pPr>
          </a:lstStyle>
          <a:p>
            <a:pPr lvl="0" rtl="0"/>
            <a:r>
              <a:rPr lang="es-MX" noProof="0"/>
              <a:t>Entrada</a:t>
            </a:r>
          </a:p>
        </p:txBody>
      </p:sp>
      <p:sp>
        <p:nvSpPr>
          <p:cNvPr id="2" name="Título 1">
            <a:extLst>
              <a:ext uri="{FF2B5EF4-FFF2-40B4-BE49-F238E27FC236}">
                <a16:creationId xmlns:a16="http://schemas.microsoft.com/office/drawing/2014/main" id="{438CB74D-BC84-8D4C-BD3F-7F1FD5DC581A}"/>
              </a:ext>
            </a:extLst>
          </p:cNvPr>
          <p:cNvSpPr>
            <a:spLocks noGrp="1"/>
          </p:cNvSpPr>
          <p:nvPr>
            <p:ph type="title"/>
          </p:nvPr>
        </p:nvSpPr>
        <p:spPr>
          <a:xfrm>
            <a:off x="316864" y="344787"/>
            <a:ext cx="6326358" cy="586843"/>
          </a:xfrm>
          <a:prstGeom prst="rect">
            <a:avLst/>
          </a:prstGeom>
        </p:spPr>
        <p:txBody>
          <a:bodyPr rtlCol="0"/>
          <a:lstStyle>
            <a:lvl1pPr>
              <a:defRPr sz="3600">
                <a:solidFill>
                  <a:schemeClr val="tx1">
                    <a:lumMod val="50000"/>
                    <a:lumOff val="50000"/>
                  </a:schemeClr>
                </a:solidFill>
              </a:defRPr>
            </a:lvl1pPr>
          </a:lstStyle>
          <a:p>
            <a:pPr rtl="0"/>
            <a:r>
              <a:rPr lang="en-US" noProof="0"/>
              <a:t>Click to edit Master title style</a:t>
            </a:r>
            <a:endParaRPr lang="es-MX" noProof="0"/>
          </a:p>
        </p:txBody>
      </p:sp>
    </p:spTree>
    <p:extLst>
      <p:ext uri="{BB962C8B-B14F-4D97-AF65-F5344CB8AC3E}">
        <p14:creationId xmlns:p14="http://schemas.microsoft.com/office/powerpoint/2010/main" val="15290181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518275477"/>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730620472"/>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194664085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129575644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86497574"/>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09734865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2478510120"/>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42327161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3D477EA3-26AE-43C0-AB9F-D946E74A41C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A1A2BB35-B8B3-422F-A495-1EAC6D62E1A8}"/>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F94CAF7A-8D5E-42C0-B151-E5F48497DD2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E3437AE1-1B20-45D8-BB56-1CD769A48D4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C87ED61C-29A0-4841-8AD7-EDF64EC0F71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82035582-8257-40DB-9F14-F2F22BDBBE4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6839732-0240-48CA-BF6F-F9430D4491BC}"/>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4FB25319-33E0-467D-8A99-E977517BC9A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3BDC68C9-014D-4369-AB15-A89162B10D67}"/>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DFD1F96B-2A23-478E-A765-F72B99EE5E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7FFB714F-755C-4240-AC11-EE9E1A9B0E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58472199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59001689"/>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6553363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Título con texto o gráfico">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15376" indent="-215376">
              <a:buFont typeface="Arial" pitchFamily="34" charset="0"/>
              <a:buChar char="•"/>
              <a:tabLst/>
              <a:defRPr/>
            </a:lvl2pPr>
            <a:lvl3pPr marL="215376" indent="-215376">
              <a:buFont typeface="Arial" pitchFamily="34" charset="0"/>
              <a:buChar char="•"/>
              <a:defRPr i="1"/>
            </a:lvl3pPr>
            <a:lvl4pPr marL="435879" indent="-220503">
              <a:buFont typeface="Arial" pitchFamily="34" charset="0"/>
              <a:buChar char="−"/>
              <a:defRPr i="0"/>
            </a:lvl4pPr>
            <a:lvl5pPr marL="651255" indent="-215376">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4" y="295686"/>
            <a:ext cx="11184001" cy="469492"/>
          </a:xfrm>
          <a:prstGeom prst="rect">
            <a:avLst/>
          </a:prstGeom>
        </p:spPr>
        <p:txBody>
          <a:bodyPr/>
          <a:lstStyle/>
          <a:p>
            <a:r>
              <a:rPr lang="en-US"/>
              <a:t>Click to edit Master title style</a:t>
            </a:r>
            <a:endParaRPr lang="en-GB" dirty="0"/>
          </a:p>
        </p:txBody>
      </p:sp>
      <p:sp>
        <p:nvSpPr>
          <p:cNvPr id="17" name="Text Placeholder 8"/>
          <p:cNvSpPr>
            <a:spLocks noGrp="1"/>
          </p:cNvSpPr>
          <p:nvPr>
            <p:ph type="body" sz="quarter" idx="13"/>
          </p:nvPr>
        </p:nvSpPr>
        <p:spPr>
          <a:xfrm>
            <a:off x="493484" y="765175"/>
            <a:ext cx="11184001" cy="969282"/>
          </a:xfrm>
        </p:spPr>
        <p:txBody>
          <a:bodyPr>
            <a:normAutofit/>
          </a:bodyPr>
          <a:lstStyle>
            <a:lvl1pPr marL="0" indent="0">
              <a:buNone/>
              <a:defRPr sz="2423" b="0">
                <a:solidFill>
                  <a:schemeClr val="tx1">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663029599"/>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000" b="0" i="0">
                <a:solidFill>
                  <a:schemeClr val="bg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650" b="0" i="0">
                <a:solidFill>
                  <a:schemeClr val="bg1"/>
                </a:solidFill>
                <a:latin typeface="Verdana"/>
                <a:cs typeface="Verdana"/>
              </a:defRPr>
            </a:lvl1pPr>
          </a:lstStyle>
          <a:p>
            <a:pPr marL="12700">
              <a:lnSpc>
                <a:spcPct val="100000"/>
              </a:lnSpc>
              <a:spcBef>
                <a:spcPts val="100"/>
              </a:spcBef>
            </a:pPr>
            <a:r>
              <a:rPr spc="-5" dirty="0"/>
              <a:t>© 2020 Deloitte Impuestos y Servicios Legales,</a:t>
            </a:r>
            <a:r>
              <a:rPr spc="10" dirty="0"/>
              <a:t> </a:t>
            </a:r>
            <a:r>
              <a:rPr spc="-5" dirty="0"/>
              <a:t>S.C.</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022</a:t>
            </a:fld>
            <a:endParaRPr lang="en-US" dirty="0"/>
          </a:p>
        </p:txBody>
      </p:sp>
      <p:sp>
        <p:nvSpPr>
          <p:cNvPr id="7" name="Holder 7"/>
          <p:cNvSpPr>
            <a:spLocks noGrp="1"/>
          </p:cNvSpPr>
          <p:nvPr>
            <p:ph type="sldNum" sz="quarter" idx="7"/>
          </p:nvPr>
        </p:nvSpPr>
        <p:spPr/>
        <p:txBody>
          <a:bodyPr lIns="0" tIns="0" rIns="0" bIns="0"/>
          <a:lstStyle>
            <a:lvl1pPr>
              <a:defRPr sz="650" b="0" i="0">
                <a:solidFill>
                  <a:schemeClr val="bg1"/>
                </a:solidFill>
                <a:latin typeface="Verdana"/>
                <a:cs typeface="Verdana"/>
              </a:defRPr>
            </a:lvl1pPr>
          </a:lstStyle>
          <a:p>
            <a:pPr marL="38100">
              <a:lnSpc>
                <a:spcPct val="100000"/>
              </a:lnSpc>
              <a:spcBef>
                <a:spcPts val="100"/>
              </a:spcBef>
            </a:pPr>
            <a:fld id="{81D60167-4931-47E6-BA6A-407CBD079E47}" type="slidenum">
              <a:rPr spc="-5" dirty="0"/>
              <a:t>‹Nº›</a:t>
            </a:fld>
            <a:endParaRPr spc="-5" dirty="0"/>
          </a:p>
        </p:txBody>
      </p:sp>
    </p:spTree>
    <p:extLst>
      <p:ext uri="{BB962C8B-B14F-4D97-AF65-F5344CB8AC3E}">
        <p14:creationId xmlns:p14="http://schemas.microsoft.com/office/powerpoint/2010/main" val="361808921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332396"/>
            <a:ext cx="4446269" cy="969496"/>
          </a:xfrm>
        </p:spPr>
        <p:txBody>
          <a:bodyPr anchor="b" anchorCtr="0">
            <a:sp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br>
              <a:rPr lang="en-US" noProof="0" dirty="0"/>
            </a:br>
            <a:br>
              <a:rPr lang="en-US" noProof="0" dirty="0"/>
            </a:br>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21955227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hasCustomPrompt="1"/>
          </p:nvPr>
        </p:nvSpPr>
        <p:spPr bwMode="gray">
          <a:xfrm>
            <a:off x="501651" y="5332396"/>
            <a:ext cx="4446269" cy="969496"/>
          </a:xfrm>
        </p:spPr>
        <p:txBody>
          <a:bodyPr anchor="b" anchorCtr="0">
            <a:sp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br>
              <a:rPr lang="en-US" noProof="0" dirty="0"/>
            </a:br>
            <a:br>
              <a:rPr lang="en-US" noProof="0" dirty="0"/>
            </a:br>
            <a:r>
              <a:rPr lang="en-US" noProof="0" dirty="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4112287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2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2979761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524985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cSld name="6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46151" y="3193146"/>
            <a:ext cx="10541000"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949031" y="4910468"/>
            <a:ext cx="10541000" cy="1566532"/>
          </a:xfrm>
        </p:spPr>
        <p:txBody>
          <a:bodyPr lIns="0" tIns="0" rIns="0" bIns="0">
            <a:noAutofit/>
          </a:bodyPr>
          <a:lstStyle>
            <a:lvl1pPr marL="0" indent="0">
              <a:lnSpc>
                <a:spcPct val="95000"/>
              </a:lnSpc>
              <a:spcAft>
                <a:spcPts val="0"/>
              </a:spcAft>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940748910"/>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04269847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524269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9930415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2360364292"/>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7449111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121134820"/>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921547762"/>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3239192436"/>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endParaRPr lang="en-US" noProof="0" dirty="0"/>
          </a:p>
        </p:txBody>
      </p:sp>
    </p:spTree>
    <p:extLst>
      <p:ext uri="{BB962C8B-B14F-4D97-AF65-F5344CB8AC3E}">
        <p14:creationId xmlns:p14="http://schemas.microsoft.com/office/powerpoint/2010/main" val="424399760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_Título con texto o gráfico">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197354" indent="-197354">
              <a:buFont typeface="Arial" pitchFamily="34" charset="0"/>
              <a:buChar char="•"/>
              <a:tabLst/>
              <a:defRPr/>
            </a:lvl2pPr>
            <a:lvl3pPr marL="197354" indent="-197354">
              <a:buFont typeface="Arial" pitchFamily="34" charset="0"/>
              <a:buChar char="•"/>
              <a:defRPr i="1"/>
            </a:lvl3pPr>
            <a:lvl4pPr marL="399408" indent="-202053">
              <a:buFont typeface="Arial" pitchFamily="34" charset="0"/>
              <a:buChar char="−"/>
              <a:defRPr i="0"/>
            </a:lvl4pPr>
            <a:lvl5pPr marL="596763" indent="-19735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itle Placeholder 1"/>
          <p:cNvSpPr>
            <a:spLocks noGrp="1"/>
          </p:cNvSpPr>
          <p:nvPr>
            <p:ph type="title"/>
          </p:nvPr>
        </p:nvSpPr>
        <p:spPr>
          <a:xfrm>
            <a:off x="493488" y="295684"/>
            <a:ext cx="11184001" cy="469492"/>
          </a:xfrm>
          <a:prstGeom prst="rect">
            <a:avLst/>
          </a:prstGeom>
        </p:spPr>
        <p:txBody>
          <a:bodyPr rtlCol="0">
            <a:noAutofit/>
          </a:bodyPr>
          <a:lstStyle/>
          <a:p>
            <a:r>
              <a:rPr lang="en-US"/>
              <a:t>Click to edit Master title style</a:t>
            </a:r>
            <a:endParaRPr lang="en-GB" dirty="0"/>
          </a:p>
        </p:txBody>
      </p:sp>
      <p:sp>
        <p:nvSpPr>
          <p:cNvPr id="17" name="Text Placeholder 8"/>
          <p:cNvSpPr>
            <a:spLocks noGrp="1"/>
          </p:cNvSpPr>
          <p:nvPr>
            <p:ph type="body" sz="quarter" idx="13"/>
          </p:nvPr>
        </p:nvSpPr>
        <p:spPr>
          <a:xfrm>
            <a:off x="493488" y="765175"/>
            <a:ext cx="11184001" cy="969282"/>
          </a:xfrm>
        </p:spPr>
        <p:txBody>
          <a:bodyPr>
            <a:normAutofit/>
          </a:bodyPr>
          <a:lstStyle>
            <a:lvl1pPr marL="0" indent="0">
              <a:buNone/>
              <a:defRPr sz="2193" b="0">
                <a:solidFill>
                  <a:schemeClr val="tx1">
                    <a:lumMod val="65000"/>
                    <a:lumOff val="35000"/>
                  </a:schemeClr>
                </a:solidFill>
              </a:defRPr>
            </a:lvl1pPr>
          </a:lstStyle>
          <a:p>
            <a:pPr lvl="0"/>
            <a:r>
              <a:rPr lang="en-US"/>
              <a:t>Click to edit Master text styles</a:t>
            </a:r>
          </a:p>
        </p:txBody>
      </p:sp>
      <p:sp>
        <p:nvSpPr>
          <p:cNvPr id="5" name="Footer Placeholder 4"/>
          <p:cNvSpPr>
            <a:spLocks noGrp="1"/>
          </p:cNvSpPr>
          <p:nvPr>
            <p:ph type="ftr" sz="quarter" idx="14"/>
          </p:nvPr>
        </p:nvSpPr>
        <p:spPr>
          <a:xfrm>
            <a:off x="493189" y="6407157"/>
            <a:ext cx="10079567" cy="252413"/>
          </a:xfrm>
          <a:prstGeom prst="rect">
            <a:avLst/>
          </a:prstGeom>
        </p:spPr>
        <p:txBody>
          <a:bodyPr/>
          <a:lstStyle>
            <a:lvl1pPr>
              <a:defRPr/>
            </a:lvl1pPr>
          </a:lstStyle>
          <a:p>
            <a:pPr defTabSz="607619" fontAlgn="base">
              <a:spcBef>
                <a:spcPct val="0"/>
              </a:spcBef>
              <a:spcAft>
                <a:spcPct val="0"/>
              </a:spcAft>
              <a:defRPr/>
            </a:pPr>
            <a:r>
              <a:rPr lang="es-ES_tradnl" sz="1196" dirty="0">
                <a:solidFill>
                  <a:prstClr val="black"/>
                </a:solidFill>
                <a:cs typeface="Arial" pitchFamily="34" charset="0"/>
              </a:rPr>
              <a:t>© 2017 Galaz, Yamazaki, Ruiz Urquiza, S.C.</a:t>
            </a:r>
          </a:p>
        </p:txBody>
      </p:sp>
      <p:sp>
        <p:nvSpPr>
          <p:cNvPr id="6" name="Slide Number Placeholder 7"/>
          <p:cNvSpPr>
            <a:spLocks noGrp="1"/>
          </p:cNvSpPr>
          <p:nvPr>
            <p:ph type="sldNum" sz="quarter" idx="15"/>
          </p:nvPr>
        </p:nvSpPr>
        <p:spPr>
          <a:xfrm>
            <a:off x="12455545" y="5828491"/>
            <a:ext cx="1056219" cy="252413"/>
          </a:xfrm>
          <a:prstGeom prst="rect">
            <a:avLst/>
          </a:prstGeom>
        </p:spPr>
        <p:txBody>
          <a:bodyPr/>
          <a:lstStyle>
            <a:lvl1pPr>
              <a:defRPr/>
            </a:lvl1pPr>
          </a:lstStyle>
          <a:p>
            <a:pPr defTabSz="607619" fontAlgn="base">
              <a:spcBef>
                <a:spcPct val="0"/>
              </a:spcBef>
              <a:spcAft>
                <a:spcPct val="0"/>
              </a:spcAft>
              <a:defRPr/>
            </a:pPr>
            <a:fld id="{654C29CD-DACB-46CC-83AD-E5CF8C8314E3}" type="slidenum">
              <a:rPr lang="en-GB" sz="1196" smtClean="0">
                <a:solidFill>
                  <a:prstClr val="black"/>
                </a:solidFill>
                <a:cs typeface="Arial" pitchFamily="34" charset="0"/>
              </a:rPr>
              <a:pPr defTabSz="607619" fontAlgn="base">
                <a:spcBef>
                  <a:spcPct val="0"/>
                </a:spcBef>
                <a:spcAft>
                  <a:spcPct val="0"/>
                </a:spcAft>
                <a:defRPr/>
              </a:pPr>
              <a:t>‹Nº›</a:t>
            </a:fld>
            <a:endParaRPr lang="en-GB" sz="1196" dirty="0">
              <a:solidFill>
                <a:prstClr val="black"/>
              </a:solidFill>
              <a:cs typeface="Arial" pitchFamily="34" charset="0"/>
            </a:endParaRPr>
          </a:p>
        </p:txBody>
      </p:sp>
      <p:sp>
        <p:nvSpPr>
          <p:cNvPr id="7" name="TextBox 6"/>
          <p:cNvSpPr txBox="1"/>
          <p:nvPr userDrawn="1"/>
        </p:nvSpPr>
        <p:spPr>
          <a:xfrm>
            <a:off x="6335184" y="6477006"/>
            <a:ext cx="4896560" cy="73225"/>
          </a:xfrm>
          <a:prstGeom prst="rect">
            <a:avLst/>
          </a:prstGeom>
          <a:noFill/>
        </p:spPr>
        <p:txBody>
          <a:bodyPr wrap="square" lIns="0" tIns="0" rIns="0" bIns="0" rtlCol="0">
            <a:spAutoFit/>
          </a:bodyPr>
          <a:lstStyle/>
          <a:p>
            <a:pPr marL="0" marR="0" lvl="0" indent="0" algn="r" defTabSz="607619" rtl="0" eaLnBrk="1" fontAlgn="auto" latinLnBrk="0" hangingPunct="1">
              <a:lnSpc>
                <a:spcPct val="100000"/>
              </a:lnSpc>
              <a:spcBef>
                <a:spcPts val="0"/>
              </a:spcBef>
              <a:spcAft>
                <a:spcPts val="0"/>
              </a:spcAft>
              <a:buClrTx/>
              <a:buSzPct val="100000"/>
              <a:buFont typeface="Arial"/>
              <a:buNone/>
              <a:tabLst/>
              <a:defRPr/>
            </a:pPr>
            <a:r>
              <a:rPr kumimoji="0" lang="es-ES_tradnl" sz="476" b="0" i="0" u="none" strike="noStrike" kern="1200" cap="none" spc="0" normalizeH="0" baseline="0" noProof="0" dirty="0">
                <a:ln>
                  <a:noFill/>
                </a:ln>
                <a:solidFill>
                  <a:prstClr val="black"/>
                </a:solidFill>
                <a:effectLst/>
                <a:uLnTx/>
                <a:uFillTx/>
                <a:latin typeface="Verdana"/>
                <a:ea typeface="+mn-ea"/>
                <a:cs typeface="Arial" pitchFamily="34" charset="0"/>
              </a:rPr>
              <a:t>PROCAF Guadalajara</a:t>
            </a:r>
          </a:p>
        </p:txBody>
      </p:sp>
      <p:sp>
        <p:nvSpPr>
          <p:cNvPr id="8" name="TextBox 7"/>
          <p:cNvSpPr txBox="1"/>
          <p:nvPr userDrawn="1"/>
        </p:nvSpPr>
        <p:spPr>
          <a:xfrm>
            <a:off x="11382382" y="6477007"/>
            <a:ext cx="307975" cy="73225"/>
          </a:xfrm>
          <a:prstGeom prst="rect">
            <a:avLst/>
          </a:prstGeom>
          <a:noFill/>
        </p:spPr>
        <p:txBody>
          <a:bodyPr wrap="square" lIns="0" tIns="0" rIns="0" bIns="0" rtlCol="0">
            <a:spAutoFit/>
          </a:bodyPr>
          <a:lstStyle/>
          <a:p>
            <a:pPr marL="0" marR="0" lvl="0" indent="0" algn="r" defTabSz="607619" rtl="0" eaLnBrk="1" fontAlgn="auto" latinLnBrk="0" hangingPunct="1">
              <a:lnSpc>
                <a:spcPct val="100000"/>
              </a:lnSpc>
              <a:spcBef>
                <a:spcPts val="439"/>
              </a:spcBef>
              <a:spcAft>
                <a:spcPts val="0"/>
              </a:spcAft>
              <a:buClrTx/>
              <a:buSzPct val="100000"/>
              <a:buFont typeface="Arial"/>
              <a:buNone/>
              <a:tabLst/>
              <a:defRPr/>
            </a:pPr>
            <a:fld id="{C58DF478-B544-4ED8-9ED4-6A2648E2D233}" type="slidenum">
              <a:rPr kumimoji="0" lang="en-US" sz="476" b="0" i="0" u="none" strike="noStrike" kern="1200" cap="none" spc="0" normalizeH="0" baseline="0" noProof="0" smtClean="0">
                <a:ln>
                  <a:noFill/>
                </a:ln>
                <a:solidFill>
                  <a:prstClr val="black"/>
                </a:solidFill>
                <a:effectLst/>
                <a:uLnTx/>
                <a:uFillTx/>
                <a:latin typeface="Verdana"/>
                <a:ea typeface="+mn-ea"/>
                <a:cs typeface="Arial" pitchFamily="34" charset="0"/>
              </a:rPr>
              <a:pPr marL="0" marR="0" lvl="0" indent="0" algn="r" defTabSz="607619" rtl="0" eaLnBrk="1" fontAlgn="auto" latinLnBrk="0" hangingPunct="1">
                <a:lnSpc>
                  <a:spcPct val="100000"/>
                </a:lnSpc>
                <a:spcBef>
                  <a:spcPts val="439"/>
                </a:spcBef>
                <a:spcAft>
                  <a:spcPts val="0"/>
                </a:spcAft>
                <a:buClrTx/>
                <a:buSzPct val="100000"/>
                <a:buFont typeface="Arial"/>
                <a:buNone/>
                <a:tabLst/>
                <a:defRPr/>
              </a:pPr>
              <a:t>‹Nº›</a:t>
            </a:fld>
            <a:endParaRPr kumimoji="0" lang="en-US" sz="476" b="0" i="0" u="none" strike="noStrike" kern="1200" cap="none" spc="0" normalizeH="0" baseline="0" noProof="0" dirty="0">
              <a:ln>
                <a:noFill/>
              </a:ln>
              <a:solidFill>
                <a:prstClr val="black"/>
              </a:solidFill>
              <a:effectLst/>
              <a:uLnTx/>
              <a:uFillTx/>
              <a:latin typeface="Verdana"/>
              <a:ea typeface="+mn-ea"/>
              <a:cs typeface="Arial" pitchFamily="34" charset="0"/>
            </a:endParaRPr>
          </a:p>
        </p:txBody>
      </p:sp>
    </p:spTree>
    <p:extLst>
      <p:ext uri="{BB962C8B-B14F-4D97-AF65-F5344CB8AC3E}">
        <p14:creationId xmlns:p14="http://schemas.microsoft.com/office/powerpoint/2010/main" val="249465468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3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Drag picture to placeholder or click icon to add</a:t>
            </a:r>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1985825"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7358931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7" name="TextBox 6"/>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s-ES_tradnl" sz="650" noProof="0" dirty="0">
                <a:solidFill>
                  <a:schemeClr val="bg1"/>
                </a:solidFill>
              </a:rPr>
              <a:t>© 2021 Deloitte Impuestos y Servicios Legales, S.C.</a:t>
            </a:r>
          </a:p>
        </p:txBody>
      </p:sp>
      <p:sp>
        <p:nvSpPr>
          <p:cNvPr id="8" name="TextBox 7"/>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s-ES_tradnl" sz="650" noProof="0" smtClean="0">
                <a:solidFill>
                  <a:schemeClr val="bg1"/>
                </a:solidFill>
              </a:rPr>
              <a:pPr marL="0" indent="0" algn="r">
                <a:spcBef>
                  <a:spcPts val="600"/>
                </a:spcBef>
                <a:buSzPct val="100000"/>
                <a:buFont typeface="Arial"/>
                <a:buNone/>
              </a:pPr>
              <a:t>‹Nº›</a:t>
            </a:fld>
            <a:endParaRPr lang="es-ES_tradnl" sz="650" noProof="0" dirty="0">
              <a:solidFill>
                <a:schemeClr val="bg1"/>
              </a:solidFill>
            </a:endParaRPr>
          </a:p>
        </p:txBody>
      </p:sp>
      <p:sp>
        <p:nvSpPr>
          <p:cNvPr id="9" name="TextBox 8"/>
          <p:cNvSpPr txBox="1"/>
          <p:nvPr userDrawn="1"/>
        </p:nvSpPr>
        <p:spPr>
          <a:xfrm>
            <a:off x="4778571" y="6457544"/>
            <a:ext cx="2640000" cy="201260"/>
          </a:xfrm>
          <a:prstGeom prst="rect">
            <a:avLst/>
          </a:prstGeom>
          <a:noFill/>
        </p:spPr>
        <p:txBody>
          <a:bodyPr wrap="square" lIns="0" tIns="0" rIns="0" bIns="0" rtlCol="0">
            <a:noAutofit/>
          </a:bodyPr>
          <a:lstStyle/>
          <a:p>
            <a:pPr marL="0" indent="0" algn="ctr">
              <a:spcBef>
                <a:spcPts val="600"/>
              </a:spcBef>
              <a:buSzPct val="100000"/>
              <a:buFont typeface="Arial"/>
              <a:buNone/>
            </a:pPr>
            <a:r>
              <a:rPr lang="es-ES_tradnl" sz="800" noProof="0" dirty="0">
                <a:solidFill>
                  <a:schemeClr val="bg1"/>
                </a:solidFill>
              </a:rPr>
              <a:t>Información</a:t>
            </a:r>
            <a:r>
              <a:rPr lang="es-ES_tradnl" sz="800" baseline="0" noProof="0" dirty="0">
                <a:solidFill>
                  <a:schemeClr val="bg1"/>
                </a:solidFill>
              </a:rPr>
              <a:t> confidencial</a:t>
            </a:r>
            <a:endParaRPr lang="es-ES_tradnl" sz="800" noProof="0" dirty="0">
              <a:solidFill>
                <a:schemeClr val="bg1"/>
              </a:solidFill>
            </a:endParaRPr>
          </a:p>
        </p:txBody>
      </p:sp>
    </p:spTree>
    <p:extLst>
      <p:ext uri="{BB962C8B-B14F-4D97-AF65-F5344CB8AC3E}">
        <p14:creationId xmlns:p14="http://schemas.microsoft.com/office/powerpoint/2010/main" val="3146361897"/>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5210115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62736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8_Title, subtitle &amp; 1 column text">
    <p:bg>
      <p:bgPr>
        <a:solidFill>
          <a:schemeClr val="bg1">
            <a:alpha val="39000"/>
          </a:schemeClr>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1"/>
            <a:ext cx="11162349" cy="364400"/>
          </a:xfrm>
          <a:prstGeom prst="rect">
            <a:avLst/>
          </a:prstGeom>
        </p:spPr>
        <p:txBody>
          <a:bodyPr lIns="0" tIns="0" rIns="0" bIns="0">
            <a:noAutofit/>
          </a:bodyPr>
          <a:lstStyle>
            <a:lvl1pPr marL="0" indent="0">
              <a:buNone/>
              <a:defRPr sz="1600" b="0">
                <a:solidFill>
                  <a:srgbClr val="575757"/>
                </a:solidFill>
              </a:defRPr>
            </a:lvl1pPr>
          </a:lstStyle>
          <a:p>
            <a:pPr lvl="0"/>
            <a:r>
              <a:rPr lang="en-US" dirty="0"/>
              <a:t>Click to add subtitle</a:t>
            </a:r>
          </a:p>
        </p:txBody>
      </p:sp>
      <p:sp>
        <p:nvSpPr>
          <p:cNvPr id="8" name="Text Placeholder 18"/>
          <p:cNvSpPr>
            <a:spLocks noGrp="1"/>
          </p:cNvSpPr>
          <p:nvPr>
            <p:ph idx="1"/>
          </p:nvPr>
        </p:nvSpPr>
        <p:spPr>
          <a:xfrm>
            <a:off x="243033" y="2122488"/>
            <a:ext cx="11165416" cy="471391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s-MX"/>
          </a:p>
        </p:txBody>
      </p:sp>
      <p:sp>
        <p:nvSpPr>
          <p:cNvPr id="4" name="Content Placeholder 3"/>
          <p:cNvSpPr>
            <a:spLocks noGrp="1"/>
          </p:cNvSpPr>
          <p:nvPr>
            <p:ph sz="quarter" idx="14"/>
          </p:nvPr>
        </p:nvSpPr>
        <p:spPr>
          <a:xfrm>
            <a:off x="-249766" y="5673725"/>
            <a:ext cx="61383" cy="249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Content Placeholder 5"/>
          <p:cNvSpPr>
            <a:spLocks noGrp="1"/>
          </p:cNvSpPr>
          <p:nvPr>
            <p:ph sz="quarter" idx="15"/>
          </p:nvPr>
        </p:nvSpPr>
        <p:spPr>
          <a:xfrm>
            <a:off x="-2148417" y="16652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Tree>
    <p:extLst>
      <p:ext uri="{BB962C8B-B14F-4D97-AF65-F5344CB8AC3E}">
        <p14:creationId xmlns:p14="http://schemas.microsoft.com/office/powerpoint/2010/main" val="2970331128"/>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6903741"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grpSp>
        <p:nvGrpSpPr>
          <p:cNvPr id="5" name="Group 4"/>
          <p:cNvGrpSpPr>
            <a:grpSpLocks noChangeAspect="1"/>
          </p:cNvGrpSpPr>
          <p:nvPr userDrawn="1"/>
        </p:nvGrpSpPr>
        <p:grpSpPr>
          <a:xfrm>
            <a:off x="9669067" y="390775"/>
            <a:ext cx="1998000" cy="374400"/>
            <a:chOff x="398463" y="404813"/>
            <a:chExt cx="1627187" cy="307976"/>
          </a:xfrm>
          <a:solidFill>
            <a:schemeClr val="tx1"/>
          </a:solidFill>
        </p:grpSpPr>
        <p:sp>
          <p:nvSpPr>
            <p:cNvPr id="6" name="Oval 5"/>
            <p:cNvSpPr>
              <a:spLocks noChangeArrowheads="1"/>
            </p:cNvSpPr>
            <p:nvPr userDrawn="1"/>
          </p:nvSpPr>
          <p:spPr bwMode="auto">
            <a:xfrm>
              <a:off x="1938338" y="625476"/>
              <a:ext cx="87312"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8669375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p:cNvSpPr>
            <a:spLocks noGrp="1"/>
          </p:cNvSpPr>
          <p:nvPr>
            <p:ph type="dt" sz="half" idx="10"/>
          </p:nvPr>
        </p:nvSpPr>
        <p:spPr/>
        <p:txBody>
          <a:bodyPr/>
          <a:lstStyle/>
          <a:p>
            <a:fld id="{4A0DE6A7-4442-4C23-81E9-75B147630A31}" type="datetime1">
              <a:rPr lang="es-MX" smtClean="0"/>
              <a:t>09/11/2022</a:t>
            </a:fld>
            <a:endParaRPr lang="es-MX" dirty="0"/>
          </a:p>
        </p:txBody>
      </p:sp>
      <p:sp>
        <p:nvSpPr>
          <p:cNvPr id="6" name="Footer Placeholder 5"/>
          <p:cNvSpPr>
            <a:spLocks noGrp="1"/>
          </p:cNvSpPr>
          <p:nvPr>
            <p:ph type="ftr" sz="quarter" idx="11"/>
          </p:nvPr>
        </p:nvSpPr>
        <p:spPr/>
        <p:txBody>
          <a:bodyPr/>
          <a:lstStyle/>
          <a:p>
            <a:r>
              <a:rPr lang="es-MX" dirty="0"/>
              <a:t>© 2021 Deloitte Impuestos y Servicios Legales, S.C.</a:t>
            </a:r>
          </a:p>
        </p:txBody>
      </p:sp>
      <p:sp>
        <p:nvSpPr>
          <p:cNvPr id="7" name="Slide Number Placeholder 6"/>
          <p:cNvSpPr>
            <a:spLocks noGrp="1"/>
          </p:cNvSpPr>
          <p:nvPr>
            <p:ph type="sldNum" sz="quarter" idx="12"/>
          </p:nvPr>
        </p:nvSpPr>
        <p:spPr/>
        <p:txBody>
          <a:bodyPr/>
          <a:lstStyle/>
          <a:p>
            <a:fld id="{FAFBB37F-EFDA-400D-A90C-045135E7FC4E}" type="slidenum">
              <a:rPr lang="es-MX" smtClean="0"/>
              <a:t>‹Nº›</a:t>
            </a:fld>
            <a:endParaRPr lang="es-MX" dirty="0"/>
          </a:p>
        </p:txBody>
      </p:sp>
    </p:spTree>
    <p:extLst>
      <p:ext uri="{BB962C8B-B14F-4D97-AF65-F5344CB8AC3E}">
        <p14:creationId xmlns:p14="http://schemas.microsoft.com/office/powerpoint/2010/main" val="428106188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8" name="TextBox 7">
            <a:extLst>
              <a:ext uri="{FF2B5EF4-FFF2-40B4-BE49-F238E27FC236}">
                <a16:creationId xmlns:a16="http://schemas.microsoft.com/office/drawing/2014/main" id="{48E7A1D6-FD3E-4165-B102-6C7996E8698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1059653"/>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013268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42797530"/>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07029A-AC8B-4977-B7BC-EE6A26EA996C}" type="datetimeFigureOut">
              <a:rPr lang="en-US" smtClean="0"/>
              <a:t>11/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85721D-A9F6-4B4A-81AA-0183B3F22FCE}" type="slidenum">
              <a:rPr lang="en-US" smtClean="0"/>
              <a:t>‹Nº›</a:t>
            </a:fld>
            <a:endParaRPr lang="en-US"/>
          </a:p>
        </p:txBody>
      </p:sp>
    </p:spTree>
    <p:extLst>
      <p:ext uri="{BB962C8B-B14F-4D97-AF65-F5344CB8AC3E}">
        <p14:creationId xmlns:p14="http://schemas.microsoft.com/office/powerpoint/2010/main" val="27301172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2 content with quote ">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08378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16516108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64430760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605584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1074041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8694027"/>
      </p:ext>
    </p:extLst>
  </p:cSld>
  <p:clrMapOvr>
    <a:masterClrMapping/>
  </p:clrMapOvr>
  <p:transition>
    <p:fade/>
  </p:transition>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12035565"/>
      </p:ext>
    </p:extLst>
  </p:cSld>
  <p:clrMapOvr>
    <a:masterClrMapping/>
  </p:clrMapOvr>
  <p:transition>
    <p:fade/>
  </p:transition>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31014258"/>
      </p:ext>
    </p:extLst>
  </p:cSld>
  <p:clrMapOvr>
    <a:masterClrMapping/>
  </p:clrMapOvr>
  <p:transition>
    <p:fade/>
  </p:transition>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87288126"/>
      </p:ext>
    </p:extLst>
  </p:cSld>
  <p:clrMapOvr>
    <a:masterClrMapping/>
  </p:clrMapOvr>
  <p:transition>
    <p:fade/>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75842785"/>
      </p:ext>
    </p:extLst>
  </p:cSld>
  <p:clrMapOvr>
    <a:masterClrMapping/>
  </p:clrMapOvr>
  <p:transition>
    <p:fade/>
  </p:transition>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a:extLst>
              <a:ext uri="{FF2B5EF4-FFF2-40B4-BE49-F238E27FC236}">
                <a16:creationId xmlns:a16="http://schemas.microsoft.com/office/drawing/2014/main" id="{0C6A9738-6080-4998-8AD6-21EBFBD6D052}"/>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379136070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4939509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1563210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21633321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42570409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5165419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6023560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42780130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06343103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7050566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71452732"/>
      </p:ext>
    </p:extLst>
  </p:cSld>
  <p:clrMapOvr>
    <a:masterClrMapping/>
  </p:clrMapOvr>
  <p:transition>
    <p:fade/>
  </p:transition>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25143761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67479808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91803734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9610376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9841360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379386600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86892443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55204168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2122461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6143732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bg>
      <p:bgRef idx="1001">
        <a:schemeClr val="bg1"/>
      </p:bgRef>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tx1"/>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tx1"/>
                </a:solidFill>
              </a:defRPr>
            </a:lvl1pPr>
          </a:lstStyle>
          <a:p>
            <a:r>
              <a:rPr lang="en-US" noProof="0" dirty="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Box 4"/>
          <p:cNvSpPr txBox="1"/>
          <p:nvPr userDrawn="1"/>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dirty="0"/>
              <a:t>Estatus de modernización de la aduana</a:t>
            </a:r>
            <a:endParaRPr lang="en-US" sz="900" kern="1200" noProof="0" dirty="0">
              <a:solidFill>
                <a:sysClr val="windowText" lastClr="000000"/>
              </a:solidFill>
              <a:latin typeface="+mn-lt"/>
              <a:ea typeface="+mn-ea"/>
              <a:cs typeface="+mn-cs"/>
            </a:endParaRPr>
          </a:p>
        </p:txBody>
      </p:sp>
      <p:sp>
        <p:nvSpPr>
          <p:cNvPr id="6" name="TextBox 5"/>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1</a:t>
            </a:r>
            <a:r>
              <a:rPr lang="es-MX" sz="900" baseline="0" noProof="0" dirty="0">
                <a:solidFill>
                  <a:schemeClr val="tx1"/>
                </a:solidFill>
                <a:latin typeface="+mj-lt"/>
                <a:cs typeface="Calibri" panose="020F0502020204030204" pitchFamily="34" charset="0"/>
              </a:rPr>
              <a:t> </a:t>
            </a:r>
            <a:r>
              <a:rPr lang="es-MX" sz="900" noProof="0" dirty="0">
                <a:solidFill>
                  <a:schemeClr val="tx1"/>
                </a:solidFill>
                <a:latin typeface="+mj-lt"/>
                <a:cs typeface="Calibri" panose="020F0502020204030204" pitchFamily="34" charset="0"/>
              </a:rPr>
              <a:t>Deloitte Impuestos y Servicios Legales, S.C.</a:t>
            </a:r>
          </a:p>
        </p:txBody>
      </p:sp>
      <p:sp>
        <p:nvSpPr>
          <p:cNvPr id="7" name="TextBox 6"/>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21248835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1345923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767397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5308337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4501797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292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3894823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F5DA332A-5FDA-44BD-83A8-C1B461175217}"/>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8514306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17FACB0-195F-4DAB-9FD5-772A304E9FB3}"/>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DBED4A0F-4987-4CDD-BB19-D8051E48E57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40946433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C7679691-90FD-4587-A54E-DFB71521FB0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0130A144-9E1C-48D4-8533-174AC48FF1C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7" name="TextBox 6"/>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5721440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500827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TextBox 9"/>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mj-lt"/>
                <a:cs typeface="Calibri" panose="020F0502020204030204" pitchFamily="34" charset="0"/>
              </a:rPr>
              <a:t>© 2020 Galaz, Yamazaki, Ruiz Urquiza, S.C.</a:t>
            </a:r>
          </a:p>
        </p:txBody>
      </p:sp>
    </p:spTree>
    <p:extLst>
      <p:ext uri="{BB962C8B-B14F-4D97-AF65-F5344CB8AC3E}">
        <p14:creationId xmlns:p14="http://schemas.microsoft.com/office/powerpoint/2010/main" val="13962111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554.xml"/><Relationship Id="rId21" Type="http://schemas.openxmlformats.org/officeDocument/2006/relationships/slideLayout" Target="../slideLayouts/slideLayout549.xml"/><Relationship Id="rId42" Type="http://schemas.openxmlformats.org/officeDocument/2006/relationships/slideLayout" Target="../slideLayouts/slideLayout570.xml"/><Relationship Id="rId47" Type="http://schemas.openxmlformats.org/officeDocument/2006/relationships/slideLayout" Target="../slideLayouts/slideLayout575.xml"/><Relationship Id="rId63" Type="http://schemas.openxmlformats.org/officeDocument/2006/relationships/slideLayout" Target="../slideLayouts/slideLayout591.xml"/><Relationship Id="rId68" Type="http://schemas.openxmlformats.org/officeDocument/2006/relationships/oleObject" Target="../embeddings/oleObject7.bin"/><Relationship Id="rId7" Type="http://schemas.openxmlformats.org/officeDocument/2006/relationships/slideLayout" Target="../slideLayouts/slideLayout535.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29" Type="http://schemas.openxmlformats.org/officeDocument/2006/relationships/slideLayout" Target="../slideLayouts/slideLayout557.xml"/><Relationship Id="rId11" Type="http://schemas.openxmlformats.org/officeDocument/2006/relationships/slideLayout" Target="../slideLayouts/slideLayout539.xml"/><Relationship Id="rId24" Type="http://schemas.openxmlformats.org/officeDocument/2006/relationships/slideLayout" Target="../slideLayouts/slideLayout552.xml"/><Relationship Id="rId32" Type="http://schemas.openxmlformats.org/officeDocument/2006/relationships/slideLayout" Target="../slideLayouts/slideLayout560.xml"/><Relationship Id="rId37" Type="http://schemas.openxmlformats.org/officeDocument/2006/relationships/slideLayout" Target="../slideLayouts/slideLayout565.xml"/><Relationship Id="rId40" Type="http://schemas.openxmlformats.org/officeDocument/2006/relationships/slideLayout" Target="../slideLayouts/slideLayout568.xml"/><Relationship Id="rId45" Type="http://schemas.openxmlformats.org/officeDocument/2006/relationships/slideLayout" Target="../slideLayouts/slideLayout573.xml"/><Relationship Id="rId53" Type="http://schemas.openxmlformats.org/officeDocument/2006/relationships/slideLayout" Target="../slideLayouts/slideLayout581.xml"/><Relationship Id="rId58" Type="http://schemas.openxmlformats.org/officeDocument/2006/relationships/slideLayout" Target="../slideLayouts/slideLayout586.xml"/><Relationship Id="rId66" Type="http://schemas.openxmlformats.org/officeDocument/2006/relationships/theme" Target="../theme/theme10.xml"/><Relationship Id="rId5" Type="http://schemas.openxmlformats.org/officeDocument/2006/relationships/slideLayout" Target="../slideLayouts/slideLayout533.xml"/><Relationship Id="rId61" Type="http://schemas.openxmlformats.org/officeDocument/2006/relationships/slideLayout" Target="../slideLayouts/slideLayout589.xml"/><Relationship Id="rId19" Type="http://schemas.openxmlformats.org/officeDocument/2006/relationships/slideLayout" Target="../slideLayouts/slideLayout547.xml"/><Relationship Id="rId14" Type="http://schemas.openxmlformats.org/officeDocument/2006/relationships/slideLayout" Target="../slideLayouts/slideLayout542.xml"/><Relationship Id="rId22" Type="http://schemas.openxmlformats.org/officeDocument/2006/relationships/slideLayout" Target="../slideLayouts/slideLayout550.xml"/><Relationship Id="rId27" Type="http://schemas.openxmlformats.org/officeDocument/2006/relationships/slideLayout" Target="../slideLayouts/slideLayout555.xml"/><Relationship Id="rId30" Type="http://schemas.openxmlformats.org/officeDocument/2006/relationships/slideLayout" Target="../slideLayouts/slideLayout558.xml"/><Relationship Id="rId35" Type="http://schemas.openxmlformats.org/officeDocument/2006/relationships/slideLayout" Target="../slideLayouts/slideLayout563.xml"/><Relationship Id="rId43" Type="http://schemas.openxmlformats.org/officeDocument/2006/relationships/slideLayout" Target="../slideLayouts/slideLayout571.xml"/><Relationship Id="rId48" Type="http://schemas.openxmlformats.org/officeDocument/2006/relationships/slideLayout" Target="../slideLayouts/slideLayout576.xml"/><Relationship Id="rId56" Type="http://schemas.openxmlformats.org/officeDocument/2006/relationships/slideLayout" Target="../slideLayouts/slideLayout584.xml"/><Relationship Id="rId64" Type="http://schemas.openxmlformats.org/officeDocument/2006/relationships/slideLayout" Target="../slideLayouts/slideLayout592.xml"/><Relationship Id="rId69" Type="http://schemas.openxmlformats.org/officeDocument/2006/relationships/image" Target="../media/image1.emf"/><Relationship Id="rId8" Type="http://schemas.openxmlformats.org/officeDocument/2006/relationships/slideLayout" Target="../slideLayouts/slideLayout536.xml"/><Relationship Id="rId51" Type="http://schemas.openxmlformats.org/officeDocument/2006/relationships/slideLayout" Target="../slideLayouts/slideLayout579.xml"/><Relationship Id="rId3" Type="http://schemas.openxmlformats.org/officeDocument/2006/relationships/slideLayout" Target="../slideLayouts/slideLayout531.xml"/><Relationship Id="rId12" Type="http://schemas.openxmlformats.org/officeDocument/2006/relationships/slideLayout" Target="../slideLayouts/slideLayout540.xml"/><Relationship Id="rId17" Type="http://schemas.openxmlformats.org/officeDocument/2006/relationships/slideLayout" Target="../slideLayouts/slideLayout545.xml"/><Relationship Id="rId25" Type="http://schemas.openxmlformats.org/officeDocument/2006/relationships/slideLayout" Target="../slideLayouts/slideLayout553.xml"/><Relationship Id="rId33" Type="http://schemas.openxmlformats.org/officeDocument/2006/relationships/slideLayout" Target="../slideLayouts/slideLayout561.xml"/><Relationship Id="rId38" Type="http://schemas.openxmlformats.org/officeDocument/2006/relationships/slideLayout" Target="../slideLayouts/slideLayout566.xml"/><Relationship Id="rId46" Type="http://schemas.openxmlformats.org/officeDocument/2006/relationships/slideLayout" Target="../slideLayouts/slideLayout574.xml"/><Relationship Id="rId59" Type="http://schemas.openxmlformats.org/officeDocument/2006/relationships/slideLayout" Target="../slideLayouts/slideLayout587.xml"/><Relationship Id="rId67" Type="http://schemas.openxmlformats.org/officeDocument/2006/relationships/tags" Target="../tags/tag11.xml"/><Relationship Id="rId20" Type="http://schemas.openxmlformats.org/officeDocument/2006/relationships/slideLayout" Target="../slideLayouts/slideLayout548.xml"/><Relationship Id="rId41" Type="http://schemas.openxmlformats.org/officeDocument/2006/relationships/slideLayout" Target="../slideLayouts/slideLayout569.xml"/><Relationship Id="rId54" Type="http://schemas.openxmlformats.org/officeDocument/2006/relationships/slideLayout" Target="../slideLayouts/slideLayout582.xml"/><Relationship Id="rId62" Type="http://schemas.openxmlformats.org/officeDocument/2006/relationships/slideLayout" Target="../slideLayouts/slideLayout590.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5" Type="http://schemas.openxmlformats.org/officeDocument/2006/relationships/slideLayout" Target="../slideLayouts/slideLayout543.xml"/><Relationship Id="rId23" Type="http://schemas.openxmlformats.org/officeDocument/2006/relationships/slideLayout" Target="../slideLayouts/slideLayout551.xml"/><Relationship Id="rId28" Type="http://schemas.openxmlformats.org/officeDocument/2006/relationships/slideLayout" Target="../slideLayouts/slideLayout556.xml"/><Relationship Id="rId36" Type="http://schemas.openxmlformats.org/officeDocument/2006/relationships/slideLayout" Target="../slideLayouts/slideLayout564.xml"/><Relationship Id="rId49" Type="http://schemas.openxmlformats.org/officeDocument/2006/relationships/slideLayout" Target="../slideLayouts/slideLayout577.xml"/><Relationship Id="rId57" Type="http://schemas.openxmlformats.org/officeDocument/2006/relationships/slideLayout" Target="../slideLayouts/slideLayout585.xml"/><Relationship Id="rId10" Type="http://schemas.openxmlformats.org/officeDocument/2006/relationships/slideLayout" Target="../slideLayouts/slideLayout538.xml"/><Relationship Id="rId31" Type="http://schemas.openxmlformats.org/officeDocument/2006/relationships/slideLayout" Target="../slideLayouts/slideLayout559.xml"/><Relationship Id="rId44" Type="http://schemas.openxmlformats.org/officeDocument/2006/relationships/slideLayout" Target="../slideLayouts/slideLayout572.xml"/><Relationship Id="rId52" Type="http://schemas.openxmlformats.org/officeDocument/2006/relationships/slideLayout" Target="../slideLayouts/slideLayout580.xml"/><Relationship Id="rId60" Type="http://schemas.openxmlformats.org/officeDocument/2006/relationships/slideLayout" Target="../slideLayouts/slideLayout588.xml"/><Relationship Id="rId65" Type="http://schemas.openxmlformats.org/officeDocument/2006/relationships/slideLayout" Target="../slideLayouts/slideLayout593.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3" Type="http://schemas.openxmlformats.org/officeDocument/2006/relationships/slideLayout" Target="../slideLayouts/slideLayout541.xml"/><Relationship Id="rId18" Type="http://schemas.openxmlformats.org/officeDocument/2006/relationships/slideLayout" Target="../slideLayouts/slideLayout546.xml"/><Relationship Id="rId39" Type="http://schemas.openxmlformats.org/officeDocument/2006/relationships/slideLayout" Target="../slideLayouts/slideLayout567.xml"/><Relationship Id="rId34" Type="http://schemas.openxmlformats.org/officeDocument/2006/relationships/slideLayout" Target="../slideLayouts/slideLayout562.xml"/><Relationship Id="rId50" Type="http://schemas.openxmlformats.org/officeDocument/2006/relationships/slideLayout" Target="../slideLayouts/slideLayout578.xml"/><Relationship Id="rId55" Type="http://schemas.openxmlformats.org/officeDocument/2006/relationships/slideLayout" Target="../slideLayouts/slideLayout58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7.xml"/><Relationship Id="rId21" Type="http://schemas.openxmlformats.org/officeDocument/2006/relationships/slideLayout" Target="../slideLayouts/slideLayout82.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63" Type="http://schemas.openxmlformats.org/officeDocument/2006/relationships/slideLayout" Target="../slideLayouts/slideLayout124.xml"/><Relationship Id="rId68" Type="http://schemas.openxmlformats.org/officeDocument/2006/relationships/slideLayout" Target="../slideLayouts/slideLayout129.xml"/><Relationship Id="rId7" Type="http://schemas.openxmlformats.org/officeDocument/2006/relationships/slideLayout" Target="../slideLayouts/slideLayout68.xml"/><Relationship Id="rId71" Type="http://schemas.openxmlformats.org/officeDocument/2006/relationships/oleObject" Target="../embeddings/oleObject2.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8" Type="http://schemas.openxmlformats.org/officeDocument/2006/relationships/slideLayout" Target="../slideLayouts/slideLayout119.xml"/><Relationship Id="rId66" Type="http://schemas.openxmlformats.org/officeDocument/2006/relationships/slideLayout" Target="../slideLayouts/slideLayout127.xml"/><Relationship Id="rId5" Type="http://schemas.openxmlformats.org/officeDocument/2006/relationships/slideLayout" Target="../slideLayouts/slideLayout66.xml"/><Relationship Id="rId61" Type="http://schemas.openxmlformats.org/officeDocument/2006/relationships/slideLayout" Target="../slideLayouts/slideLayout122.xml"/><Relationship Id="rId19" Type="http://schemas.openxmlformats.org/officeDocument/2006/relationships/slideLayout" Target="../slideLayouts/slideLayout8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slideLayout" Target="../slideLayouts/slideLayout117.xml"/><Relationship Id="rId64" Type="http://schemas.openxmlformats.org/officeDocument/2006/relationships/slideLayout" Target="../slideLayouts/slideLayout125.xml"/><Relationship Id="rId69" Type="http://schemas.openxmlformats.org/officeDocument/2006/relationships/theme" Target="../theme/theme2.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72" Type="http://schemas.openxmlformats.org/officeDocument/2006/relationships/image" Target="../media/image1.emf"/><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59" Type="http://schemas.openxmlformats.org/officeDocument/2006/relationships/slideLayout" Target="../slideLayouts/slideLayout120.xml"/><Relationship Id="rId67" Type="http://schemas.openxmlformats.org/officeDocument/2006/relationships/slideLayout" Target="../slideLayouts/slideLayout128.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62" Type="http://schemas.openxmlformats.org/officeDocument/2006/relationships/slideLayout" Target="../slideLayouts/slideLayout123.xml"/><Relationship Id="rId70" Type="http://schemas.openxmlformats.org/officeDocument/2006/relationships/tags" Target="../tags/tag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slideLayout" Target="../slideLayouts/slideLayout118.xml"/><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 Id="rId60" Type="http://schemas.openxmlformats.org/officeDocument/2006/relationships/slideLayout" Target="../slideLayouts/slideLayout121.xml"/><Relationship Id="rId65" Type="http://schemas.openxmlformats.org/officeDocument/2006/relationships/slideLayout" Target="../slideLayouts/slideLayout126.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9" Type="http://schemas.openxmlformats.org/officeDocument/2006/relationships/slideLayout" Target="../slideLayouts/slideLayout100.xml"/><Relationship Id="rId34" Type="http://schemas.openxmlformats.org/officeDocument/2006/relationships/slideLayout" Target="../slideLayouts/slideLayout95.xml"/><Relationship Id="rId50" Type="http://schemas.openxmlformats.org/officeDocument/2006/relationships/slideLayout" Target="../slideLayouts/slideLayout111.xml"/><Relationship Id="rId55" Type="http://schemas.openxmlformats.org/officeDocument/2006/relationships/slideLayout" Target="../slideLayouts/slideLayout11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55.xml"/><Relationship Id="rId21" Type="http://schemas.openxmlformats.org/officeDocument/2006/relationships/slideLayout" Target="../slideLayouts/slideLayout150.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63" Type="http://schemas.openxmlformats.org/officeDocument/2006/relationships/slideLayout" Target="../slideLayouts/slideLayout192.xml"/><Relationship Id="rId68" Type="http://schemas.openxmlformats.org/officeDocument/2006/relationships/tags" Target="../tags/tag4.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3" Type="http://schemas.openxmlformats.org/officeDocument/2006/relationships/slideLayout" Target="../slideLayouts/slideLayout182.xml"/><Relationship Id="rId58" Type="http://schemas.openxmlformats.org/officeDocument/2006/relationships/slideLayout" Target="../slideLayouts/slideLayout187.xml"/><Relationship Id="rId66" Type="http://schemas.openxmlformats.org/officeDocument/2006/relationships/slideLayout" Target="../slideLayouts/slideLayout195.xml"/><Relationship Id="rId5" Type="http://schemas.openxmlformats.org/officeDocument/2006/relationships/slideLayout" Target="../slideLayouts/slideLayout134.xml"/><Relationship Id="rId61" Type="http://schemas.openxmlformats.org/officeDocument/2006/relationships/slideLayout" Target="../slideLayouts/slideLayout190.xml"/><Relationship Id="rId19" Type="http://schemas.openxmlformats.org/officeDocument/2006/relationships/slideLayout" Target="../slideLayouts/slideLayout14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56" Type="http://schemas.openxmlformats.org/officeDocument/2006/relationships/slideLayout" Target="../slideLayouts/slideLayout185.xml"/><Relationship Id="rId64" Type="http://schemas.openxmlformats.org/officeDocument/2006/relationships/slideLayout" Target="../slideLayouts/slideLayout193.xml"/><Relationship Id="rId69" Type="http://schemas.openxmlformats.org/officeDocument/2006/relationships/oleObject" Target="../embeddings/oleObject3.bin"/><Relationship Id="rId8" Type="http://schemas.openxmlformats.org/officeDocument/2006/relationships/slideLayout" Target="../slideLayouts/slideLayout137.xml"/><Relationship Id="rId51" Type="http://schemas.openxmlformats.org/officeDocument/2006/relationships/slideLayout" Target="../slideLayouts/slideLayout180.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59" Type="http://schemas.openxmlformats.org/officeDocument/2006/relationships/slideLayout" Target="../slideLayouts/slideLayout188.xml"/><Relationship Id="rId67" Type="http://schemas.openxmlformats.org/officeDocument/2006/relationships/theme" Target="../theme/theme3.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slideLayout" Target="../slideLayouts/slideLayout183.xml"/><Relationship Id="rId62" Type="http://schemas.openxmlformats.org/officeDocument/2006/relationships/slideLayout" Target="../slideLayouts/slideLayout191.xml"/><Relationship Id="rId70" Type="http://schemas.openxmlformats.org/officeDocument/2006/relationships/image" Target="../media/image1.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57" Type="http://schemas.openxmlformats.org/officeDocument/2006/relationships/slideLayout" Target="../slideLayouts/slideLayout186.xml"/><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52" Type="http://schemas.openxmlformats.org/officeDocument/2006/relationships/slideLayout" Target="../slideLayouts/slideLayout181.xml"/><Relationship Id="rId60" Type="http://schemas.openxmlformats.org/officeDocument/2006/relationships/slideLayout" Target="../slideLayouts/slideLayout189.xml"/><Relationship Id="rId65" Type="http://schemas.openxmlformats.org/officeDocument/2006/relationships/slideLayout" Target="../slideLayouts/slideLayout194.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9" Type="http://schemas.openxmlformats.org/officeDocument/2006/relationships/slideLayout" Target="../slideLayouts/slideLayout168.xml"/><Relationship Id="rId34" Type="http://schemas.openxmlformats.org/officeDocument/2006/relationships/slideLayout" Target="../slideLayouts/slideLayout163.xml"/><Relationship Id="rId50" Type="http://schemas.openxmlformats.org/officeDocument/2006/relationships/slideLayout" Target="../slideLayouts/slideLayout179.xml"/><Relationship Id="rId55" Type="http://schemas.openxmlformats.org/officeDocument/2006/relationships/slideLayout" Target="../slideLayouts/slideLayout18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63" Type="http://schemas.openxmlformats.org/officeDocument/2006/relationships/slideLayout" Target="../slideLayouts/slideLayout25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66" Type="http://schemas.openxmlformats.org/officeDocument/2006/relationships/oleObject" Target="../embeddings/oleObject4.bin"/><Relationship Id="rId5" Type="http://schemas.openxmlformats.org/officeDocument/2006/relationships/slideLayout" Target="../slideLayouts/slideLayout200.xml"/><Relationship Id="rId61" Type="http://schemas.openxmlformats.org/officeDocument/2006/relationships/slideLayout" Target="../slideLayouts/slideLayout256.xml"/><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64" Type="http://schemas.openxmlformats.org/officeDocument/2006/relationships/theme" Target="../theme/theme4.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 Id="rId67" Type="http://schemas.openxmlformats.org/officeDocument/2006/relationships/image" Target="../media/image1.emf"/><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slideLayout" Target="../slideLayouts/slideLayout25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65" Type="http://schemas.openxmlformats.org/officeDocument/2006/relationships/tags" Target="../tags/tag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9" Type="http://schemas.openxmlformats.org/officeDocument/2006/relationships/slideLayout" Target="../slideLayouts/slideLayout23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84.xml"/><Relationship Id="rId21" Type="http://schemas.openxmlformats.org/officeDocument/2006/relationships/slideLayout" Target="../slideLayouts/slideLayout279.xml"/><Relationship Id="rId34" Type="http://schemas.openxmlformats.org/officeDocument/2006/relationships/slideLayout" Target="../slideLayouts/slideLayout292.xml"/><Relationship Id="rId42" Type="http://schemas.openxmlformats.org/officeDocument/2006/relationships/slideLayout" Target="../slideLayouts/slideLayout300.xml"/><Relationship Id="rId47" Type="http://schemas.openxmlformats.org/officeDocument/2006/relationships/slideLayout" Target="../slideLayouts/slideLayout305.xml"/><Relationship Id="rId50" Type="http://schemas.openxmlformats.org/officeDocument/2006/relationships/slideLayout" Target="../slideLayouts/slideLayout308.xml"/><Relationship Id="rId55" Type="http://schemas.openxmlformats.org/officeDocument/2006/relationships/slideLayout" Target="../slideLayouts/slideLayout313.xml"/><Relationship Id="rId63" Type="http://schemas.openxmlformats.org/officeDocument/2006/relationships/slideLayout" Target="../slideLayouts/slideLayout321.xml"/><Relationship Id="rId68" Type="http://schemas.openxmlformats.org/officeDocument/2006/relationships/image" Target="../media/image1.emf"/><Relationship Id="rId7" Type="http://schemas.openxmlformats.org/officeDocument/2006/relationships/slideLayout" Target="../slideLayouts/slideLayout26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9" Type="http://schemas.openxmlformats.org/officeDocument/2006/relationships/slideLayout" Target="../slideLayouts/slideLayout287.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37" Type="http://schemas.openxmlformats.org/officeDocument/2006/relationships/slideLayout" Target="../slideLayouts/slideLayout295.xml"/><Relationship Id="rId40" Type="http://schemas.openxmlformats.org/officeDocument/2006/relationships/slideLayout" Target="../slideLayouts/slideLayout298.xml"/><Relationship Id="rId45" Type="http://schemas.openxmlformats.org/officeDocument/2006/relationships/slideLayout" Target="../slideLayouts/slideLayout303.xml"/><Relationship Id="rId53" Type="http://schemas.openxmlformats.org/officeDocument/2006/relationships/slideLayout" Target="../slideLayouts/slideLayout311.xml"/><Relationship Id="rId58" Type="http://schemas.openxmlformats.org/officeDocument/2006/relationships/slideLayout" Target="../slideLayouts/slideLayout316.xml"/><Relationship Id="rId66" Type="http://schemas.openxmlformats.org/officeDocument/2006/relationships/tags" Target="../tags/tag6.xml"/><Relationship Id="rId5" Type="http://schemas.openxmlformats.org/officeDocument/2006/relationships/slideLayout" Target="../slideLayouts/slideLayout263.xml"/><Relationship Id="rId61" Type="http://schemas.openxmlformats.org/officeDocument/2006/relationships/slideLayout" Target="../slideLayouts/slideLayout319.xml"/><Relationship Id="rId19" Type="http://schemas.openxmlformats.org/officeDocument/2006/relationships/slideLayout" Target="../slideLayouts/slideLayout27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slideLayout" Target="../slideLayouts/slideLayout293.xml"/><Relationship Id="rId43" Type="http://schemas.openxmlformats.org/officeDocument/2006/relationships/slideLayout" Target="../slideLayouts/slideLayout301.xml"/><Relationship Id="rId48" Type="http://schemas.openxmlformats.org/officeDocument/2006/relationships/slideLayout" Target="../slideLayouts/slideLayout306.xml"/><Relationship Id="rId56" Type="http://schemas.openxmlformats.org/officeDocument/2006/relationships/slideLayout" Target="../slideLayouts/slideLayout314.xml"/><Relationship Id="rId64" Type="http://schemas.openxmlformats.org/officeDocument/2006/relationships/slideLayout" Target="../slideLayouts/slideLayout322.xml"/><Relationship Id="rId8" Type="http://schemas.openxmlformats.org/officeDocument/2006/relationships/slideLayout" Target="../slideLayouts/slideLayout266.xml"/><Relationship Id="rId51" Type="http://schemas.openxmlformats.org/officeDocument/2006/relationships/slideLayout" Target="../slideLayouts/slideLayout309.xml"/><Relationship Id="rId3" Type="http://schemas.openxmlformats.org/officeDocument/2006/relationships/slideLayout" Target="../slideLayouts/slideLayout261.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38" Type="http://schemas.openxmlformats.org/officeDocument/2006/relationships/slideLayout" Target="../slideLayouts/slideLayout296.xml"/><Relationship Id="rId46" Type="http://schemas.openxmlformats.org/officeDocument/2006/relationships/slideLayout" Target="../slideLayouts/slideLayout304.xml"/><Relationship Id="rId59" Type="http://schemas.openxmlformats.org/officeDocument/2006/relationships/slideLayout" Target="../slideLayouts/slideLayout317.xml"/><Relationship Id="rId67" Type="http://schemas.openxmlformats.org/officeDocument/2006/relationships/oleObject" Target="../embeddings/oleObject5.bin"/><Relationship Id="rId20" Type="http://schemas.openxmlformats.org/officeDocument/2006/relationships/slideLayout" Target="../slideLayouts/slideLayout278.xml"/><Relationship Id="rId41" Type="http://schemas.openxmlformats.org/officeDocument/2006/relationships/slideLayout" Target="../slideLayouts/slideLayout299.xml"/><Relationship Id="rId54" Type="http://schemas.openxmlformats.org/officeDocument/2006/relationships/slideLayout" Target="../slideLayouts/slideLayout312.xml"/><Relationship Id="rId62" Type="http://schemas.openxmlformats.org/officeDocument/2006/relationships/slideLayout" Target="../slideLayouts/slideLayout32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slideLayout" Target="../slideLayouts/slideLayout294.xml"/><Relationship Id="rId49" Type="http://schemas.openxmlformats.org/officeDocument/2006/relationships/slideLayout" Target="../slideLayouts/slideLayout307.xml"/><Relationship Id="rId57" Type="http://schemas.openxmlformats.org/officeDocument/2006/relationships/slideLayout" Target="../slideLayouts/slideLayout315.xml"/><Relationship Id="rId10" Type="http://schemas.openxmlformats.org/officeDocument/2006/relationships/slideLayout" Target="../slideLayouts/slideLayout268.xml"/><Relationship Id="rId31" Type="http://schemas.openxmlformats.org/officeDocument/2006/relationships/slideLayout" Target="../slideLayouts/slideLayout289.xml"/><Relationship Id="rId44" Type="http://schemas.openxmlformats.org/officeDocument/2006/relationships/slideLayout" Target="../slideLayouts/slideLayout302.xml"/><Relationship Id="rId52" Type="http://schemas.openxmlformats.org/officeDocument/2006/relationships/slideLayout" Target="../slideLayouts/slideLayout310.xml"/><Relationship Id="rId60" Type="http://schemas.openxmlformats.org/officeDocument/2006/relationships/slideLayout" Target="../slideLayouts/slideLayout318.xml"/><Relationship Id="rId65" Type="http://schemas.openxmlformats.org/officeDocument/2006/relationships/theme" Target="../theme/theme5.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9" Type="http://schemas.openxmlformats.org/officeDocument/2006/relationships/slideLayout" Target="../slideLayouts/slideLayout297.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48.xml"/><Relationship Id="rId21" Type="http://schemas.openxmlformats.org/officeDocument/2006/relationships/slideLayout" Target="../slideLayouts/slideLayout343.xml"/><Relationship Id="rId34" Type="http://schemas.openxmlformats.org/officeDocument/2006/relationships/slideLayout" Target="../slideLayouts/slideLayout356.xml"/><Relationship Id="rId42" Type="http://schemas.openxmlformats.org/officeDocument/2006/relationships/slideLayout" Target="../slideLayouts/slideLayout364.xml"/><Relationship Id="rId47" Type="http://schemas.openxmlformats.org/officeDocument/2006/relationships/slideLayout" Target="../slideLayouts/slideLayout369.xml"/><Relationship Id="rId50" Type="http://schemas.openxmlformats.org/officeDocument/2006/relationships/slideLayout" Target="../slideLayouts/slideLayout372.xml"/><Relationship Id="rId55" Type="http://schemas.openxmlformats.org/officeDocument/2006/relationships/slideLayout" Target="../slideLayouts/slideLayout377.xml"/><Relationship Id="rId63" Type="http://schemas.openxmlformats.org/officeDocument/2006/relationships/theme" Target="../theme/theme6.xml"/><Relationship Id="rId7" Type="http://schemas.openxmlformats.org/officeDocument/2006/relationships/slideLayout" Target="../slideLayouts/slideLayout32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9" Type="http://schemas.openxmlformats.org/officeDocument/2006/relationships/slideLayout" Target="../slideLayouts/slideLayout351.xml"/><Relationship Id="rId11" Type="http://schemas.openxmlformats.org/officeDocument/2006/relationships/slideLayout" Target="../slideLayouts/slideLayout333.xml"/><Relationship Id="rId24" Type="http://schemas.openxmlformats.org/officeDocument/2006/relationships/slideLayout" Target="../slideLayouts/slideLayout346.xml"/><Relationship Id="rId32" Type="http://schemas.openxmlformats.org/officeDocument/2006/relationships/slideLayout" Target="../slideLayouts/slideLayout354.xml"/><Relationship Id="rId37" Type="http://schemas.openxmlformats.org/officeDocument/2006/relationships/slideLayout" Target="../slideLayouts/slideLayout359.xml"/><Relationship Id="rId40" Type="http://schemas.openxmlformats.org/officeDocument/2006/relationships/slideLayout" Target="../slideLayouts/slideLayout362.xml"/><Relationship Id="rId45" Type="http://schemas.openxmlformats.org/officeDocument/2006/relationships/slideLayout" Target="../slideLayouts/slideLayout367.xml"/><Relationship Id="rId53" Type="http://schemas.openxmlformats.org/officeDocument/2006/relationships/slideLayout" Target="../slideLayouts/slideLayout375.xml"/><Relationship Id="rId58" Type="http://schemas.openxmlformats.org/officeDocument/2006/relationships/slideLayout" Target="../slideLayouts/slideLayout380.xml"/><Relationship Id="rId66" Type="http://schemas.openxmlformats.org/officeDocument/2006/relationships/image" Target="../media/image1.emf"/><Relationship Id="rId5" Type="http://schemas.openxmlformats.org/officeDocument/2006/relationships/slideLayout" Target="../slideLayouts/slideLayout327.xml"/><Relationship Id="rId61" Type="http://schemas.openxmlformats.org/officeDocument/2006/relationships/slideLayout" Target="../slideLayouts/slideLayout383.xml"/><Relationship Id="rId19" Type="http://schemas.openxmlformats.org/officeDocument/2006/relationships/slideLayout" Target="../slideLayouts/slideLayout341.xml"/><Relationship Id="rId14" Type="http://schemas.openxmlformats.org/officeDocument/2006/relationships/slideLayout" Target="../slideLayouts/slideLayout336.xml"/><Relationship Id="rId22" Type="http://schemas.openxmlformats.org/officeDocument/2006/relationships/slideLayout" Target="../slideLayouts/slideLayout344.xml"/><Relationship Id="rId27" Type="http://schemas.openxmlformats.org/officeDocument/2006/relationships/slideLayout" Target="../slideLayouts/slideLayout349.xml"/><Relationship Id="rId30" Type="http://schemas.openxmlformats.org/officeDocument/2006/relationships/slideLayout" Target="../slideLayouts/slideLayout352.xml"/><Relationship Id="rId35" Type="http://schemas.openxmlformats.org/officeDocument/2006/relationships/slideLayout" Target="../slideLayouts/slideLayout357.xml"/><Relationship Id="rId43" Type="http://schemas.openxmlformats.org/officeDocument/2006/relationships/slideLayout" Target="../slideLayouts/slideLayout365.xml"/><Relationship Id="rId48" Type="http://schemas.openxmlformats.org/officeDocument/2006/relationships/slideLayout" Target="../slideLayouts/slideLayout370.xml"/><Relationship Id="rId56" Type="http://schemas.openxmlformats.org/officeDocument/2006/relationships/slideLayout" Target="../slideLayouts/slideLayout378.xml"/><Relationship Id="rId64" Type="http://schemas.openxmlformats.org/officeDocument/2006/relationships/tags" Target="../tags/tag7.xml"/><Relationship Id="rId8" Type="http://schemas.openxmlformats.org/officeDocument/2006/relationships/slideLayout" Target="../slideLayouts/slideLayout330.xml"/><Relationship Id="rId51" Type="http://schemas.openxmlformats.org/officeDocument/2006/relationships/slideLayout" Target="../slideLayouts/slideLayout373.xml"/><Relationship Id="rId3" Type="http://schemas.openxmlformats.org/officeDocument/2006/relationships/slideLayout" Target="../slideLayouts/slideLayout325.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5" Type="http://schemas.openxmlformats.org/officeDocument/2006/relationships/slideLayout" Target="../slideLayouts/slideLayout347.xml"/><Relationship Id="rId33" Type="http://schemas.openxmlformats.org/officeDocument/2006/relationships/slideLayout" Target="../slideLayouts/slideLayout355.xml"/><Relationship Id="rId38" Type="http://schemas.openxmlformats.org/officeDocument/2006/relationships/slideLayout" Target="../slideLayouts/slideLayout360.xml"/><Relationship Id="rId46" Type="http://schemas.openxmlformats.org/officeDocument/2006/relationships/slideLayout" Target="../slideLayouts/slideLayout368.xml"/><Relationship Id="rId59" Type="http://schemas.openxmlformats.org/officeDocument/2006/relationships/slideLayout" Target="../slideLayouts/slideLayout381.xml"/><Relationship Id="rId20" Type="http://schemas.openxmlformats.org/officeDocument/2006/relationships/slideLayout" Target="../slideLayouts/slideLayout342.xml"/><Relationship Id="rId41" Type="http://schemas.openxmlformats.org/officeDocument/2006/relationships/slideLayout" Target="../slideLayouts/slideLayout363.xml"/><Relationship Id="rId54" Type="http://schemas.openxmlformats.org/officeDocument/2006/relationships/slideLayout" Target="../slideLayouts/slideLayout376.xml"/><Relationship Id="rId62" Type="http://schemas.openxmlformats.org/officeDocument/2006/relationships/slideLayout" Target="../slideLayouts/slideLayout384.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5" Type="http://schemas.openxmlformats.org/officeDocument/2006/relationships/slideLayout" Target="../slideLayouts/slideLayout337.xml"/><Relationship Id="rId23" Type="http://schemas.openxmlformats.org/officeDocument/2006/relationships/slideLayout" Target="../slideLayouts/slideLayout345.xml"/><Relationship Id="rId28" Type="http://schemas.openxmlformats.org/officeDocument/2006/relationships/slideLayout" Target="../slideLayouts/slideLayout350.xml"/><Relationship Id="rId36" Type="http://schemas.openxmlformats.org/officeDocument/2006/relationships/slideLayout" Target="../slideLayouts/slideLayout358.xml"/><Relationship Id="rId49" Type="http://schemas.openxmlformats.org/officeDocument/2006/relationships/slideLayout" Target="../slideLayouts/slideLayout371.xml"/><Relationship Id="rId57" Type="http://schemas.openxmlformats.org/officeDocument/2006/relationships/slideLayout" Target="../slideLayouts/slideLayout379.xml"/><Relationship Id="rId10" Type="http://schemas.openxmlformats.org/officeDocument/2006/relationships/slideLayout" Target="../slideLayouts/slideLayout332.xml"/><Relationship Id="rId31" Type="http://schemas.openxmlformats.org/officeDocument/2006/relationships/slideLayout" Target="../slideLayouts/slideLayout353.xml"/><Relationship Id="rId44" Type="http://schemas.openxmlformats.org/officeDocument/2006/relationships/slideLayout" Target="../slideLayouts/slideLayout366.xml"/><Relationship Id="rId52" Type="http://schemas.openxmlformats.org/officeDocument/2006/relationships/slideLayout" Target="../slideLayouts/slideLayout374.xml"/><Relationship Id="rId60" Type="http://schemas.openxmlformats.org/officeDocument/2006/relationships/slideLayout" Target="../slideLayouts/slideLayout382.xml"/><Relationship Id="rId65" Type="http://schemas.openxmlformats.org/officeDocument/2006/relationships/oleObject" Target="../embeddings/oleObject5.bin"/><Relationship Id="rId4" Type="http://schemas.openxmlformats.org/officeDocument/2006/relationships/slideLayout" Target="../slideLayouts/slideLayout326.xml"/><Relationship Id="rId9" Type="http://schemas.openxmlformats.org/officeDocument/2006/relationships/slideLayout" Target="../slideLayouts/slideLayout331.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9" Type="http://schemas.openxmlformats.org/officeDocument/2006/relationships/slideLayout" Target="../slideLayouts/slideLayout3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oleObject" Target="../embeddings/oleObject6.bin"/><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tags" Target="../tags/tag8.xml"/><Relationship Id="rId2" Type="http://schemas.openxmlformats.org/officeDocument/2006/relationships/slideLayout" Target="../slideLayouts/slideLayout386.xml"/><Relationship Id="rId16" Type="http://schemas.openxmlformats.org/officeDocument/2006/relationships/theme" Target="../theme/theme7.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10" Type="http://schemas.openxmlformats.org/officeDocument/2006/relationships/slideLayout" Target="../slideLayouts/slideLayout394.xml"/><Relationship Id="rId19" Type="http://schemas.openxmlformats.org/officeDocument/2006/relationships/image" Target="../media/image1.emf"/><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425.xml"/><Relationship Id="rId21" Type="http://schemas.openxmlformats.org/officeDocument/2006/relationships/slideLayout" Target="../slideLayouts/slideLayout420.xml"/><Relationship Id="rId42" Type="http://schemas.openxmlformats.org/officeDocument/2006/relationships/slideLayout" Target="../slideLayouts/slideLayout441.xml"/><Relationship Id="rId47" Type="http://schemas.openxmlformats.org/officeDocument/2006/relationships/slideLayout" Target="../slideLayouts/slideLayout446.xml"/><Relationship Id="rId63" Type="http://schemas.openxmlformats.org/officeDocument/2006/relationships/slideLayout" Target="../slideLayouts/slideLayout462.xml"/><Relationship Id="rId68" Type="http://schemas.openxmlformats.org/officeDocument/2006/relationships/tags" Target="../tags/tag9.xml"/><Relationship Id="rId7" Type="http://schemas.openxmlformats.org/officeDocument/2006/relationships/slideLayout" Target="../slideLayouts/slideLayout406.xml"/><Relationship Id="rId2" Type="http://schemas.openxmlformats.org/officeDocument/2006/relationships/slideLayout" Target="../slideLayouts/slideLayout401.xml"/><Relationship Id="rId16" Type="http://schemas.openxmlformats.org/officeDocument/2006/relationships/slideLayout" Target="../slideLayouts/slideLayout415.xml"/><Relationship Id="rId29" Type="http://schemas.openxmlformats.org/officeDocument/2006/relationships/slideLayout" Target="../slideLayouts/slideLayout428.xml"/><Relationship Id="rId11" Type="http://schemas.openxmlformats.org/officeDocument/2006/relationships/slideLayout" Target="../slideLayouts/slideLayout410.xml"/><Relationship Id="rId24" Type="http://schemas.openxmlformats.org/officeDocument/2006/relationships/slideLayout" Target="../slideLayouts/slideLayout423.xml"/><Relationship Id="rId32" Type="http://schemas.openxmlformats.org/officeDocument/2006/relationships/slideLayout" Target="../slideLayouts/slideLayout431.xml"/><Relationship Id="rId37" Type="http://schemas.openxmlformats.org/officeDocument/2006/relationships/slideLayout" Target="../slideLayouts/slideLayout436.xml"/><Relationship Id="rId40" Type="http://schemas.openxmlformats.org/officeDocument/2006/relationships/slideLayout" Target="../slideLayouts/slideLayout439.xml"/><Relationship Id="rId45" Type="http://schemas.openxmlformats.org/officeDocument/2006/relationships/slideLayout" Target="../slideLayouts/slideLayout444.xml"/><Relationship Id="rId53" Type="http://schemas.openxmlformats.org/officeDocument/2006/relationships/slideLayout" Target="../slideLayouts/slideLayout452.xml"/><Relationship Id="rId58" Type="http://schemas.openxmlformats.org/officeDocument/2006/relationships/slideLayout" Target="../slideLayouts/slideLayout457.xml"/><Relationship Id="rId66" Type="http://schemas.openxmlformats.org/officeDocument/2006/relationships/slideLayout" Target="../slideLayouts/slideLayout465.xml"/><Relationship Id="rId5" Type="http://schemas.openxmlformats.org/officeDocument/2006/relationships/slideLayout" Target="../slideLayouts/slideLayout404.xml"/><Relationship Id="rId61" Type="http://schemas.openxmlformats.org/officeDocument/2006/relationships/slideLayout" Target="../slideLayouts/slideLayout460.xml"/><Relationship Id="rId19" Type="http://schemas.openxmlformats.org/officeDocument/2006/relationships/slideLayout" Target="../slideLayouts/slideLayout418.xml"/><Relationship Id="rId14" Type="http://schemas.openxmlformats.org/officeDocument/2006/relationships/slideLayout" Target="../slideLayouts/slideLayout413.xml"/><Relationship Id="rId22" Type="http://schemas.openxmlformats.org/officeDocument/2006/relationships/slideLayout" Target="../slideLayouts/slideLayout421.xml"/><Relationship Id="rId27" Type="http://schemas.openxmlformats.org/officeDocument/2006/relationships/slideLayout" Target="../slideLayouts/slideLayout426.xml"/><Relationship Id="rId30" Type="http://schemas.openxmlformats.org/officeDocument/2006/relationships/slideLayout" Target="../slideLayouts/slideLayout429.xml"/><Relationship Id="rId35" Type="http://schemas.openxmlformats.org/officeDocument/2006/relationships/slideLayout" Target="../slideLayouts/slideLayout434.xml"/><Relationship Id="rId43" Type="http://schemas.openxmlformats.org/officeDocument/2006/relationships/slideLayout" Target="../slideLayouts/slideLayout442.xml"/><Relationship Id="rId48" Type="http://schemas.openxmlformats.org/officeDocument/2006/relationships/slideLayout" Target="../slideLayouts/slideLayout447.xml"/><Relationship Id="rId56" Type="http://schemas.openxmlformats.org/officeDocument/2006/relationships/slideLayout" Target="../slideLayouts/slideLayout455.xml"/><Relationship Id="rId64" Type="http://schemas.openxmlformats.org/officeDocument/2006/relationships/slideLayout" Target="../slideLayouts/slideLayout463.xml"/><Relationship Id="rId69" Type="http://schemas.openxmlformats.org/officeDocument/2006/relationships/oleObject" Target="../embeddings/oleObject3.bin"/><Relationship Id="rId8" Type="http://schemas.openxmlformats.org/officeDocument/2006/relationships/slideLayout" Target="../slideLayouts/slideLayout407.xml"/><Relationship Id="rId51" Type="http://schemas.openxmlformats.org/officeDocument/2006/relationships/slideLayout" Target="../slideLayouts/slideLayout450.xml"/><Relationship Id="rId3" Type="http://schemas.openxmlformats.org/officeDocument/2006/relationships/slideLayout" Target="../slideLayouts/slideLayout402.xml"/><Relationship Id="rId12" Type="http://schemas.openxmlformats.org/officeDocument/2006/relationships/slideLayout" Target="../slideLayouts/slideLayout411.xml"/><Relationship Id="rId17" Type="http://schemas.openxmlformats.org/officeDocument/2006/relationships/slideLayout" Target="../slideLayouts/slideLayout416.xml"/><Relationship Id="rId25" Type="http://schemas.openxmlformats.org/officeDocument/2006/relationships/slideLayout" Target="../slideLayouts/slideLayout424.xml"/><Relationship Id="rId33" Type="http://schemas.openxmlformats.org/officeDocument/2006/relationships/slideLayout" Target="../slideLayouts/slideLayout432.xml"/><Relationship Id="rId38" Type="http://schemas.openxmlformats.org/officeDocument/2006/relationships/slideLayout" Target="../slideLayouts/slideLayout437.xml"/><Relationship Id="rId46" Type="http://schemas.openxmlformats.org/officeDocument/2006/relationships/slideLayout" Target="../slideLayouts/slideLayout445.xml"/><Relationship Id="rId59" Type="http://schemas.openxmlformats.org/officeDocument/2006/relationships/slideLayout" Target="../slideLayouts/slideLayout458.xml"/><Relationship Id="rId67" Type="http://schemas.openxmlformats.org/officeDocument/2006/relationships/theme" Target="../theme/theme8.xml"/><Relationship Id="rId20" Type="http://schemas.openxmlformats.org/officeDocument/2006/relationships/slideLayout" Target="../slideLayouts/slideLayout419.xml"/><Relationship Id="rId41" Type="http://schemas.openxmlformats.org/officeDocument/2006/relationships/slideLayout" Target="../slideLayouts/slideLayout440.xml"/><Relationship Id="rId54" Type="http://schemas.openxmlformats.org/officeDocument/2006/relationships/slideLayout" Target="../slideLayouts/slideLayout453.xml"/><Relationship Id="rId62" Type="http://schemas.openxmlformats.org/officeDocument/2006/relationships/slideLayout" Target="../slideLayouts/slideLayout461.xml"/><Relationship Id="rId70" Type="http://schemas.openxmlformats.org/officeDocument/2006/relationships/image" Target="../media/image1.emf"/><Relationship Id="rId1" Type="http://schemas.openxmlformats.org/officeDocument/2006/relationships/slideLayout" Target="../slideLayouts/slideLayout400.xml"/><Relationship Id="rId6" Type="http://schemas.openxmlformats.org/officeDocument/2006/relationships/slideLayout" Target="../slideLayouts/slideLayout405.xml"/><Relationship Id="rId15" Type="http://schemas.openxmlformats.org/officeDocument/2006/relationships/slideLayout" Target="../slideLayouts/slideLayout414.xml"/><Relationship Id="rId23" Type="http://schemas.openxmlformats.org/officeDocument/2006/relationships/slideLayout" Target="../slideLayouts/slideLayout422.xml"/><Relationship Id="rId28" Type="http://schemas.openxmlformats.org/officeDocument/2006/relationships/slideLayout" Target="../slideLayouts/slideLayout427.xml"/><Relationship Id="rId36" Type="http://schemas.openxmlformats.org/officeDocument/2006/relationships/slideLayout" Target="../slideLayouts/slideLayout435.xml"/><Relationship Id="rId49" Type="http://schemas.openxmlformats.org/officeDocument/2006/relationships/slideLayout" Target="../slideLayouts/slideLayout448.xml"/><Relationship Id="rId57" Type="http://schemas.openxmlformats.org/officeDocument/2006/relationships/slideLayout" Target="../slideLayouts/slideLayout456.xml"/><Relationship Id="rId10" Type="http://schemas.openxmlformats.org/officeDocument/2006/relationships/slideLayout" Target="../slideLayouts/slideLayout409.xml"/><Relationship Id="rId31" Type="http://schemas.openxmlformats.org/officeDocument/2006/relationships/slideLayout" Target="../slideLayouts/slideLayout430.xml"/><Relationship Id="rId44" Type="http://schemas.openxmlformats.org/officeDocument/2006/relationships/slideLayout" Target="../slideLayouts/slideLayout443.xml"/><Relationship Id="rId52" Type="http://schemas.openxmlformats.org/officeDocument/2006/relationships/slideLayout" Target="../slideLayouts/slideLayout451.xml"/><Relationship Id="rId60" Type="http://schemas.openxmlformats.org/officeDocument/2006/relationships/slideLayout" Target="../slideLayouts/slideLayout459.xml"/><Relationship Id="rId65" Type="http://schemas.openxmlformats.org/officeDocument/2006/relationships/slideLayout" Target="../slideLayouts/slideLayout464.xml"/><Relationship Id="rId4" Type="http://schemas.openxmlformats.org/officeDocument/2006/relationships/slideLayout" Target="../slideLayouts/slideLayout403.xml"/><Relationship Id="rId9" Type="http://schemas.openxmlformats.org/officeDocument/2006/relationships/slideLayout" Target="../slideLayouts/slideLayout408.xml"/><Relationship Id="rId13" Type="http://schemas.openxmlformats.org/officeDocument/2006/relationships/slideLayout" Target="../slideLayouts/slideLayout412.xml"/><Relationship Id="rId18" Type="http://schemas.openxmlformats.org/officeDocument/2006/relationships/slideLayout" Target="../slideLayouts/slideLayout417.xml"/><Relationship Id="rId39" Type="http://schemas.openxmlformats.org/officeDocument/2006/relationships/slideLayout" Target="../slideLayouts/slideLayout438.xml"/><Relationship Id="rId34" Type="http://schemas.openxmlformats.org/officeDocument/2006/relationships/slideLayout" Target="../slideLayouts/slideLayout433.xml"/><Relationship Id="rId50" Type="http://schemas.openxmlformats.org/officeDocument/2006/relationships/slideLayout" Target="../slideLayouts/slideLayout449.xml"/><Relationship Id="rId55" Type="http://schemas.openxmlformats.org/officeDocument/2006/relationships/slideLayout" Target="../slideLayouts/slideLayout45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491.xml"/><Relationship Id="rId21" Type="http://schemas.openxmlformats.org/officeDocument/2006/relationships/slideLayout" Target="../slideLayouts/slideLayout486.xml"/><Relationship Id="rId34" Type="http://schemas.openxmlformats.org/officeDocument/2006/relationships/slideLayout" Target="../slideLayouts/slideLayout499.xml"/><Relationship Id="rId42" Type="http://schemas.openxmlformats.org/officeDocument/2006/relationships/slideLayout" Target="../slideLayouts/slideLayout507.xml"/><Relationship Id="rId47" Type="http://schemas.openxmlformats.org/officeDocument/2006/relationships/slideLayout" Target="../slideLayouts/slideLayout512.xml"/><Relationship Id="rId50" Type="http://schemas.openxmlformats.org/officeDocument/2006/relationships/slideLayout" Target="../slideLayouts/slideLayout515.xml"/><Relationship Id="rId55" Type="http://schemas.openxmlformats.org/officeDocument/2006/relationships/slideLayout" Target="../slideLayouts/slideLayout520.xml"/><Relationship Id="rId63" Type="http://schemas.openxmlformats.org/officeDocument/2006/relationships/slideLayout" Target="../slideLayouts/slideLayout528.xml"/><Relationship Id="rId7" Type="http://schemas.openxmlformats.org/officeDocument/2006/relationships/slideLayout" Target="../slideLayouts/slideLayout472.xml"/><Relationship Id="rId2" Type="http://schemas.openxmlformats.org/officeDocument/2006/relationships/slideLayout" Target="../slideLayouts/slideLayout467.xml"/><Relationship Id="rId16" Type="http://schemas.openxmlformats.org/officeDocument/2006/relationships/slideLayout" Target="../slideLayouts/slideLayout481.xml"/><Relationship Id="rId29" Type="http://schemas.openxmlformats.org/officeDocument/2006/relationships/slideLayout" Target="../slideLayouts/slideLayout494.xml"/><Relationship Id="rId11" Type="http://schemas.openxmlformats.org/officeDocument/2006/relationships/slideLayout" Target="../slideLayouts/slideLayout476.xml"/><Relationship Id="rId24" Type="http://schemas.openxmlformats.org/officeDocument/2006/relationships/slideLayout" Target="../slideLayouts/slideLayout489.xml"/><Relationship Id="rId32" Type="http://schemas.openxmlformats.org/officeDocument/2006/relationships/slideLayout" Target="../slideLayouts/slideLayout497.xml"/><Relationship Id="rId37" Type="http://schemas.openxmlformats.org/officeDocument/2006/relationships/slideLayout" Target="../slideLayouts/slideLayout502.xml"/><Relationship Id="rId40" Type="http://schemas.openxmlformats.org/officeDocument/2006/relationships/slideLayout" Target="../slideLayouts/slideLayout505.xml"/><Relationship Id="rId45" Type="http://schemas.openxmlformats.org/officeDocument/2006/relationships/slideLayout" Target="../slideLayouts/slideLayout510.xml"/><Relationship Id="rId53" Type="http://schemas.openxmlformats.org/officeDocument/2006/relationships/slideLayout" Target="../slideLayouts/slideLayout518.xml"/><Relationship Id="rId58" Type="http://schemas.openxmlformats.org/officeDocument/2006/relationships/slideLayout" Target="../slideLayouts/slideLayout523.xml"/><Relationship Id="rId66" Type="http://schemas.openxmlformats.org/officeDocument/2006/relationships/oleObject" Target="../embeddings/oleObject5.bin"/><Relationship Id="rId5" Type="http://schemas.openxmlformats.org/officeDocument/2006/relationships/slideLayout" Target="../slideLayouts/slideLayout470.xml"/><Relationship Id="rId61" Type="http://schemas.openxmlformats.org/officeDocument/2006/relationships/slideLayout" Target="../slideLayouts/slideLayout526.xml"/><Relationship Id="rId19" Type="http://schemas.openxmlformats.org/officeDocument/2006/relationships/slideLayout" Target="../slideLayouts/slideLayout484.xml"/><Relationship Id="rId14" Type="http://schemas.openxmlformats.org/officeDocument/2006/relationships/slideLayout" Target="../slideLayouts/slideLayout479.xml"/><Relationship Id="rId22" Type="http://schemas.openxmlformats.org/officeDocument/2006/relationships/slideLayout" Target="../slideLayouts/slideLayout487.xml"/><Relationship Id="rId27" Type="http://schemas.openxmlformats.org/officeDocument/2006/relationships/slideLayout" Target="../slideLayouts/slideLayout492.xml"/><Relationship Id="rId30" Type="http://schemas.openxmlformats.org/officeDocument/2006/relationships/slideLayout" Target="../slideLayouts/slideLayout495.xml"/><Relationship Id="rId35" Type="http://schemas.openxmlformats.org/officeDocument/2006/relationships/slideLayout" Target="../slideLayouts/slideLayout500.xml"/><Relationship Id="rId43" Type="http://schemas.openxmlformats.org/officeDocument/2006/relationships/slideLayout" Target="../slideLayouts/slideLayout508.xml"/><Relationship Id="rId48" Type="http://schemas.openxmlformats.org/officeDocument/2006/relationships/slideLayout" Target="../slideLayouts/slideLayout513.xml"/><Relationship Id="rId56" Type="http://schemas.openxmlformats.org/officeDocument/2006/relationships/slideLayout" Target="../slideLayouts/slideLayout521.xml"/><Relationship Id="rId64" Type="http://schemas.openxmlformats.org/officeDocument/2006/relationships/theme" Target="../theme/theme9.xml"/><Relationship Id="rId8" Type="http://schemas.openxmlformats.org/officeDocument/2006/relationships/slideLayout" Target="../slideLayouts/slideLayout473.xml"/><Relationship Id="rId51" Type="http://schemas.openxmlformats.org/officeDocument/2006/relationships/slideLayout" Target="../slideLayouts/slideLayout516.xml"/><Relationship Id="rId3" Type="http://schemas.openxmlformats.org/officeDocument/2006/relationships/slideLayout" Target="../slideLayouts/slideLayout468.xml"/><Relationship Id="rId12" Type="http://schemas.openxmlformats.org/officeDocument/2006/relationships/slideLayout" Target="../slideLayouts/slideLayout477.xml"/><Relationship Id="rId17" Type="http://schemas.openxmlformats.org/officeDocument/2006/relationships/slideLayout" Target="../slideLayouts/slideLayout482.xml"/><Relationship Id="rId25" Type="http://schemas.openxmlformats.org/officeDocument/2006/relationships/slideLayout" Target="../slideLayouts/slideLayout490.xml"/><Relationship Id="rId33" Type="http://schemas.openxmlformats.org/officeDocument/2006/relationships/slideLayout" Target="../slideLayouts/slideLayout498.xml"/><Relationship Id="rId38" Type="http://schemas.openxmlformats.org/officeDocument/2006/relationships/slideLayout" Target="../slideLayouts/slideLayout503.xml"/><Relationship Id="rId46" Type="http://schemas.openxmlformats.org/officeDocument/2006/relationships/slideLayout" Target="../slideLayouts/slideLayout511.xml"/><Relationship Id="rId59" Type="http://schemas.openxmlformats.org/officeDocument/2006/relationships/slideLayout" Target="../slideLayouts/slideLayout524.xml"/><Relationship Id="rId67" Type="http://schemas.openxmlformats.org/officeDocument/2006/relationships/image" Target="../media/image1.emf"/><Relationship Id="rId20" Type="http://schemas.openxmlformats.org/officeDocument/2006/relationships/slideLayout" Target="../slideLayouts/slideLayout485.xml"/><Relationship Id="rId41" Type="http://schemas.openxmlformats.org/officeDocument/2006/relationships/slideLayout" Target="../slideLayouts/slideLayout506.xml"/><Relationship Id="rId54" Type="http://schemas.openxmlformats.org/officeDocument/2006/relationships/slideLayout" Target="../slideLayouts/slideLayout519.xml"/><Relationship Id="rId62" Type="http://schemas.openxmlformats.org/officeDocument/2006/relationships/slideLayout" Target="../slideLayouts/slideLayout527.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5" Type="http://schemas.openxmlformats.org/officeDocument/2006/relationships/slideLayout" Target="../slideLayouts/slideLayout480.xml"/><Relationship Id="rId23" Type="http://schemas.openxmlformats.org/officeDocument/2006/relationships/slideLayout" Target="../slideLayouts/slideLayout488.xml"/><Relationship Id="rId28" Type="http://schemas.openxmlformats.org/officeDocument/2006/relationships/slideLayout" Target="../slideLayouts/slideLayout493.xml"/><Relationship Id="rId36" Type="http://schemas.openxmlformats.org/officeDocument/2006/relationships/slideLayout" Target="../slideLayouts/slideLayout501.xml"/><Relationship Id="rId49" Type="http://schemas.openxmlformats.org/officeDocument/2006/relationships/slideLayout" Target="../slideLayouts/slideLayout514.xml"/><Relationship Id="rId57" Type="http://schemas.openxmlformats.org/officeDocument/2006/relationships/slideLayout" Target="../slideLayouts/slideLayout522.xml"/><Relationship Id="rId10" Type="http://schemas.openxmlformats.org/officeDocument/2006/relationships/slideLayout" Target="../slideLayouts/slideLayout475.xml"/><Relationship Id="rId31" Type="http://schemas.openxmlformats.org/officeDocument/2006/relationships/slideLayout" Target="../slideLayouts/slideLayout496.xml"/><Relationship Id="rId44" Type="http://schemas.openxmlformats.org/officeDocument/2006/relationships/slideLayout" Target="../slideLayouts/slideLayout509.xml"/><Relationship Id="rId52" Type="http://schemas.openxmlformats.org/officeDocument/2006/relationships/slideLayout" Target="../slideLayouts/slideLayout517.xml"/><Relationship Id="rId60" Type="http://schemas.openxmlformats.org/officeDocument/2006/relationships/slideLayout" Target="../slideLayouts/slideLayout525.xml"/><Relationship Id="rId65" Type="http://schemas.openxmlformats.org/officeDocument/2006/relationships/tags" Target="../tags/tag10.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3" Type="http://schemas.openxmlformats.org/officeDocument/2006/relationships/slideLayout" Target="../slideLayouts/slideLayout478.xml"/><Relationship Id="rId18" Type="http://schemas.openxmlformats.org/officeDocument/2006/relationships/slideLayout" Target="../slideLayouts/slideLayout483.xml"/><Relationship Id="rId39" Type="http://schemas.openxmlformats.org/officeDocument/2006/relationships/slideLayout" Target="../slideLayouts/slideLayout50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dirty="0"/>
              <a:t>Estatus de modernización de la aduana</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3"/>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4" imgW="270" imgH="270" progId="TCLayout.ActiveDocument.1">
                  <p:embed/>
                </p:oleObj>
              </mc:Choice>
              <mc:Fallback>
                <p:oleObj name="think-cell Slide" r:id="rId64" imgW="270" imgH="270" progId="TCLayout.ActiveDocument.1">
                  <p:embed/>
                  <p:pic>
                    <p:nvPicPr>
                      <p:cNvPr id="4" name="Object 3" hidden="1"/>
                      <p:cNvPicPr/>
                      <p:nvPr/>
                    </p:nvPicPr>
                    <p:blipFill>
                      <a:blip r:embed="rId6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1</a:t>
            </a:r>
            <a:r>
              <a:rPr lang="es-MX" sz="900" baseline="0" noProof="0" dirty="0">
                <a:solidFill>
                  <a:schemeClr val="tx1"/>
                </a:solidFill>
                <a:latin typeface="+mj-lt"/>
                <a:cs typeface="Calibri" panose="020F0502020204030204" pitchFamily="34" charset="0"/>
              </a:rPr>
              <a:t> </a:t>
            </a:r>
            <a:r>
              <a:rPr lang="es-MX" sz="900" noProof="0" dirty="0">
                <a:solidFill>
                  <a:schemeClr val="tx1"/>
                </a:solidFill>
                <a:latin typeface="+mj-lt"/>
                <a:cs typeface="Calibri" panose="020F0502020204030204" pitchFamily="34" charset="0"/>
              </a:rPr>
              <a:t>Deloitte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224630363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1" r:id="rId3"/>
    <p:sldLayoutId id="2147483762" r:id="rId4"/>
    <p:sldLayoutId id="2147483763" r:id="rId5"/>
    <p:sldLayoutId id="2147483764" r:id="rId6"/>
    <p:sldLayoutId id="2147483765" r:id="rId7"/>
    <p:sldLayoutId id="2147483766" r:id="rId8"/>
    <p:sldLayoutId id="2147483767" r:id="rId9"/>
    <p:sldLayoutId id="2147483804"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06" r:id="rId31"/>
    <p:sldLayoutId id="2147483707" r:id="rId32"/>
    <p:sldLayoutId id="2147483713" r:id="rId33"/>
    <p:sldLayoutId id="2147483753" r:id="rId34"/>
    <p:sldLayoutId id="2147483681" r:id="rId35"/>
    <p:sldLayoutId id="2147483735" r:id="rId36"/>
    <p:sldLayoutId id="2147483699" r:id="rId37"/>
    <p:sldLayoutId id="2147483714" r:id="rId38"/>
    <p:sldLayoutId id="2147483697" r:id="rId39"/>
    <p:sldLayoutId id="2147483715" r:id="rId40"/>
    <p:sldLayoutId id="2147483716" r:id="rId41"/>
    <p:sldLayoutId id="2147483717" r:id="rId42"/>
    <p:sldLayoutId id="2147483718" r:id="rId43"/>
    <p:sldLayoutId id="2147483728" r:id="rId44"/>
    <p:sldLayoutId id="2147483720" r:id="rId45"/>
    <p:sldLayoutId id="2147483721" r:id="rId46"/>
    <p:sldLayoutId id="2147483722" r:id="rId47"/>
    <p:sldLayoutId id="2147483695" r:id="rId48"/>
    <p:sldLayoutId id="2147483751" r:id="rId49"/>
    <p:sldLayoutId id="2147483724" r:id="rId50"/>
    <p:sldLayoutId id="2147483725" r:id="rId51"/>
    <p:sldLayoutId id="2147483726" r:id="rId52"/>
    <p:sldLayoutId id="2147483698" r:id="rId53"/>
    <p:sldLayoutId id="2147483752" r:id="rId54"/>
    <p:sldLayoutId id="2147483789" r:id="rId55"/>
    <p:sldLayoutId id="2147483935" r:id="rId56"/>
    <p:sldLayoutId id="2147483947" r:id="rId57"/>
    <p:sldLayoutId id="2147484086" r:id="rId58"/>
    <p:sldLayoutId id="2147484091" r:id="rId59"/>
    <p:sldLayoutId id="2147484096" r:id="rId60"/>
    <p:sldLayoutId id="2147484097" r:id="rId6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userDrawn="1">
          <p15:clr>
            <a:srgbClr val="F26B43"/>
          </p15:clr>
        </p15:guide>
        <p15:guide id="24" orient="horz" pos="2160" userDrawn="1">
          <p15:clr>
            <a:srgbClr val="F26B43"/>
          </p15:clr>
        </p15:guide>
        <p15:guide id="25" orient="horz" pos="3968" userDrawn="1">
          <p15:clr>
            <a:srgbClr val="F26B43"/>
          </p15:clr>
        </p15:guide>
        <p15:guide id="26" pos="296" userDrawn="1">
          <p15:clr>
            <a:srgbClr val="F26B43"/>
          </p15:clr>
        </p15:guide>
        <p15:guide id="27" pos="7384" userDrawn="1">
          <p15:clr>
            <a:srgbClr val="F26B43"/>
          </p15:clr>
        </p15:guide>
        <p15:guide id="28" orient="horz" pos="1071"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641" userDrawn="1">
          <p15:clr>
            <a:srgbClr val="F26B43"/>
          </p15:clr>
        </p15:guide>
        <p15:guide id="43" orient="horz" pos="28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8" imgW="270" imgH="270" progId="TCLayout.ActiveDocument.1">
                  <p:embed/>
                </p:oleObj>
              </mc:Choice>
              <mc:Fallback>
                <p:oleObj name="think-cell Slide" r:id="rId68" imgW="270" imgH="270" progId="TCLayout.ActiveDocument.1">
                  <p:embed/>
                  <p:pic>
                    <p:nvPicPr>
                      <p:cNvPr id="4" name="Object 3" hidden="1"/>
                      <p:cNvPicPr/>
                      <p:nvPr/>
                    </p:nvPicPr>
                    <p:blipFill>
                      <a:blip r:embed="rId6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2 </a:t>
            </a:r>
            <a:r>
              <a:rPr lang="es-MX" sz="900" noProof="0" dirty="0">
                <a:solidFill>
                  <a:schemeClr val="tx1"/>
                </a:solidFill>
                <a:latin typeface="Calibri" panose="020F0502020204030204" pitchFamily="34" charset="0"/>
                <a:cs typeface="Calibri" panose="020F0502020204030204" pitchFamily="34" charset="0"/>
              </a:rPr>
              <a:t>Deloitte Impuestos y Servicios Legales, S. C.</a:t>
            </a:r>
          </a:p>
        </p:txBody>
      </p:sp>
      <p:sp>
        <p:nvSpPr>
          <p:cNvPr id="7" name="TextBox 6">
            <a:extLst>
              <a:ext uri="{FF2B5EF4-FFF2-40B4-BE49-F238E27FC236}">
                <a16:creationId xmlns:a16="http://schemas.microsoft.com/office/drawing/2014/main" id="{53FA55AF-FC88-4764-A7B4-EAB928D0A99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it-IT" sz="900" noProof="0" dirty="0">
                <a:solidFill>
                  <a:schemeClr val="tx1"/>
                </a:solidFill>
                <a:latin typeface="Calibri" panose="020F0502020204030204" pitchFamily="34" charset="0"/>
                <a:cs typeface="Calibri" panose="020F0502020204030204" pitchFamily="34" charset="0"/>
              </a:rPr>
              <a:t>CFDI con Complemento “Carta Porte”</a:t>
            </a:r>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24517498"/>
      </p:ext>
    </p:extLst>
  </p:cSld>
  <p:clrMap bg1="lt1" tx1="dk1" bg2="lt2" tx2="dk2" accent1="accent1" accent2="accent2" accent3="accent3" accent4="accent4" accent5="accent5" accent6="accent6" hlink="hlink" folHlink="folHlink"/>
  <p:sldLayoutIdLst>
    <p:sldLayoutId id="2147485086" r:id="rId1"/>
    <p:sldLayoutId id="2147485087" r:id="rId2"/>
    <p:sldLayoutId id="2147485088" r:id="rId3"/>
    <p:sldLayoutId id="2147485089" r:id="rId4"/>
    <p:sldLayoutId id="2147485090" r:id="rId5"/>
    <p:sldLayoutId id="2147485091" r:id="rId6"/>
    <p:sldLayoutId id="2147485092" r:id="rId7"/>
    <p:sldLayoutId id="2147485093" r:id="rId8"/>
    <p:sldLayoutId id="2147485094" r:id="rId9"/>
    <p:sldLayoutId id="2147485095" r:id="rId10"/>
    <p:sldLayoutId id="2147485096" r:id="rId11"/>
    <p:sldLayoutId id="2147485097" r:id="rId12"/>
    <p:sldLayoutId id="2147485098" r:id="rId13"/>
    <p:sldLayoutId id="2147485099" r:id="rId14"/>
    <p:sldLayoutId id="2147485100" r:id="rId15"/>
    <p:sldLayoutId id="2147485101" r:id="rId16"/>
    <p:sldLayoutId id="2147485102" r:id="rId17"/>
    <p:sldLayoutId id="2147485103" r:id="rId18"/>
    <p:sldLayoutId id="2147485104" r:id="rId19"/>
    <p:sldLayoutId id="2147485105" r:id="rId20"/>
    <p:sldLayoutId id="2147485106" r:id="rId21"/>
    <p:sldLayoutId id="2147485107" r:id="rId22"/>
    <p:sldLayoutId id="2147485108" r:id="rId23"/>
    <p:sldLayoutId id="2147485109" r:id="rId24"/>
    <p:sldLayoutId id="2147485110" r:id="rId25"/>
    <p:sldLayoutId id="2147485111" r:id="rId26"/>
    <p:sldLayoutId id="2147485112" r:id="rId27"/>
    <p:sldLayoutId id="2147485113" r:id="rId28"/>
    <p:sldLayoutId id="2147485114" r:id="rId29"/>
    <p:sldLayoutId id="2147485115" r:id="rId30"/>
    <p:sldLayoutId id="2147485116" r:id="rId31"/>
    <p:sldLayoutId id="2147485117" r:id="rId32"/>
    <p:sldLayoutId id="2147485118" r:id="rId33"/>
    <p:sldLayoutId id="2147485119" r:id="rId34"/>
    <p:sldLayoutId id="2147485120" r:id="rId35"/>
    <p:sldLayoutId id="2147485121" r:id="rId36"/>
    <p:sldLayoutId id="2147485122" r:id="rId37"/>
    <p:sldLayoutId id="2147485123" r:id="rId38"/>
    <p:sldLayoutId id="2147485124" r:id="rId39"/>
    <p:sldLayoutId id="2147485125" r:id="rId40"/>
    <p:sldLayoutId id="2147485126" r:id="rId41"/>
    <p:sldLayoutId id="2147485127" r:id="rId42"/>
    <p:sldLayoutId id="2147485128" r:id="rId43"/>
    <p:sldLayoutId id="2147485129" r:id="rId44"/>
    <p:sldLayoutId id="2147485130" r:id="rId45"/>
    <p:sldLayoutId id="2147485131" r:id="rId46"/>
    <p:sldLayoutId id="2147485132" r:id="rId47"/>
    <p:sldLayoutId id="2147485133" r:id="rId48"/>
    <p:sldLayoutId id="2147485134" r:id="rId49"/>
    <p:sldLayoutId id="2147485135" r:id="rId50"/>
    <p:sldLayoutId id="2147485136" r:id="rId51"/>
    <p:sldLayoutId id="2147485137" r:id="rId52"/>
    <p:sldLayoutId id="2147485138" r:id="rId53"/>
    <p:sldLayoutId id="2147485139" r:id="rId54"/>
    <p:sldLayoutId id="2147485140" r:id="rId55"/>
    <p:sldLayoutId id="2147485141" r:id="rId56"/>
    <p:sldLayoutId id="2147485142" r:id="rId57"/>
    <p:sldLayoutId id="2147485143" r:id="rId58"/>
    <p:sldLayoutId id="2147485144" r:id="rId59"/>
    <p:sldLayoutId id="2147485145" r:id="rId60"/>
    <p:sldLayoutId id="2147485146" r:id="rId61"/>
    <p:sldLayoutId id="2147485147" r:id="rId62"/>
    <p:sldLayoutId id="2147485148" r:id="rId63"/>
    <p:sldLayoutId id="2147485149" r:id="rId64"/>
    <p:sldLayoutId id="2147485150" r:id="rId6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104">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88">
          <p15:clr>
            <a:srgbClr val="F26B43"/>
          </p15:clr>
        </p15:guide>
        <p15:guide id="41" orient="horz" pos="1049">
          <p15:clr>
            <a:srgbClr val="F26B43"/>
          </p15:clr>
        </p15:guide>
        <p15:guide id="42" orient="horz" pos="6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8272130" y="6477000"/>
            <a:ext cx="2959613" cy="138499"/>
          </a:xfrm>
          <a:prstGeom prst="rect">
            <a:avLst/>
          </a:prstGeom>
          <a:noFill/>
        </p:spPr>
        <p:txBody>
          <a:bodyPr wrap="square" lIns="0" tIns="0" rIns="0" bIns="0" rtlCol="0">
            <a:spAutoFit/>
          </a:bodyPr>
          <a:lstStyle/>
          <a:p>
            <a:pPr marL="0" indent="0" algn="r">
              <a:spcBef>
                <a:spcPts val="0"/>
              </a:spcBef>
              <a:buSzPct val="100000"/>
              <a:buFont typeface="Arial"/>
              <a:buNone/>
            </a:pPr>
            <a:r>
              <a:rPr lang="es-MX" sz="900" kern="0" dirty="0">
                <a:ea typeface="Verdana" panose="020B0604030504040204" pitchFamily="34" charset="0"/>
                <a:cs typeface="Verdana" panose="020B0604030504040204" pitchFamily="34" charset="0"/>
              </a:rPr>
              <a:t>Programa de Capacitación Fiscal PROCAF 2020</a:t>
            </a:r>
            <a:endParaRPr lang="en-US" sz="900" noProof="0" dirty="0">
              <a:solidFill>
                <a:schemeClr val="tx1"/>
              </a:solidFill>
              <a:latin typeface="Calibri" panose="020F0502020204030204" pitchFamily="34" charset="0"/>
              <a:cs typeface="Calibri" panose="020F0502020204030204" pitchFamily="34" charset="0"/>
            </a:endParaRPr>
          </a:p>
        </p:txBody>
      </p:sp>
      <p:graphicFrame>
        <p:nvGraphicFramePr>
          <p:cNvPr id="4" name="Object 3" hidden="1"/>
          <p:cNvGraphicFramePr>
            <a:graphicFrameLocks noChangeAspect="1"/>
          </p:cNvGraphicFramePr>
          <p:nvPr>
            <p:custDataLst>
              <p:tags r:id="rId70"/>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4" name="Object 3" hidden="1"/>
                      <p:cNvPicPr/>
                      <p:nvPr/>
                    </p:nvPicPr>
                    <p:blipFill>
                      <a:blip r:embed="rId7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8" name="TextBox 7"/>
          <p:cNvSpPr txBox="1"/>
          <p:nvPr userDrawn="1"/>
        </p:nvSpPr>
        <p:spPr>
          <a:xfrm>
            <a:off x="376237" y="6477000"/>
            <a:ext cx="4016376" cy="138499"/>
          </a:xfrm>
          <a:prstGeom prst="rect">
            <a:avLst/>
          </a:prstGeom>
          <a:noFill/>
        </p:spPr>
        <p:txBody>
          <a:bodyPr wrap="square" lIns="0" tIns="0" rIns="0" bIns="0" rtlCol="0">
            <a:spAutoFit/>
          </a:bodyPr>
          <a:lstStyle/>
          <a:p>
            <a:r>
              <a:rPr lang="en-US" sz="900" noProof="0" dirty="0">
                <a:solidFill>
                  <a:schemeClr val="tx1"/>
                </a:solidFill>
                <a:latin typeface="Calibri" panose="020F0502020204030204" pitchFamily="34" charset="0"/>
                <a:cs typeface="Calibri" panose="020F0502020204030204" pitchFamily="34" charset="0"/>
              </a:rPr>
              <a:t>© 2020 </a:t>
            </a:r>
            <a:r>
              <a:rPr lang="es-MX" sz="900" dirty="0" err="1"/>
              <a:t>Deloitte</a:t>
            </a:r>
            <a:r>
              <a:rPr lang="es-MX" sz="900" dirty="0"/>
              <a:t> Impuestos y Servicios Legales, S.C.</a:t>
            </a:r>
          </a:p>
        </p:txBody>
      </p:sp>
    </p:spTree>
    <p:extLst>
      <p:ext uri="{BB962C8B-B14F-4D97-AF65-F5344CB8AC3E}">
        <p14:creationId xmlns:p14="http://schemas.microsoft.com/office/powerpoint/2010/main" val="2643859372"/>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 id="2147483909" r:id="rId44"/>
    <p:sldLayoutId id="2147483910" r:id="rId45"/>
    <p:sldLayoutId id="2147483911" r:id="rId46"/>
    <p:sldLayoutId id="2147483912" r:id="rId47"/>
    <p:sldLayoutId id="2147483913" r:id="rId48"/>
    <p:sldLayoutId id="2147483914" r:id="rId49"/>
    <p:sldLayoutId id="2147483915" r:id="rId50"/>
    <p:sldLayoutId id="2147483916" r:id="rId51"/>
    <p:sldLayoutId id="2147483917" r:id="rId52"/>
    <p:sldLayoutId id="2147483918" r:id="rId53"/>
    <p:sldLayoutId id="2147483919" r:id="rId54"/>
    <p:sldLayoutId id="2147483920" r:id="rId55"/>
    <p:sldLayoutId id="2147483921" r:id="rId56"/>
    <p:sldLayoutId id="2147483922" r:id="rId57"/>
    <p:sldLayoutId id="2147483923" r:id="rId58"/>
    <p:sldLayoutId id="2147483924" r:id="rId59"/>
    <p:sldLayoutId id="2147483925" r:id="rId60"/>
    <p:sldLayoutId id="2147483926" r:id="rId61"/>
    <p:sldLayoutId id="2147483927" r:id="rId62"/>
    <p:sldLayoutId id="2147483928" r:id="rId63"/>
    <p:sldLayoutId id="2147483929" r:id="rId64"/>
    <p:sldLayoutId id="2147483930" r:id="rId65"/>
    <p:sldLayoutId id="2147483932" r:id="rId66"/>
    <p:sldLayoutId id="2147483933" r:id="rId67"/>
    <p:sldLayoutId id="2147483934" r:id="rId6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ysClr val="windowText" lastClr="000000"/>
                </a:solidFill>
                <a:latin typeface="+mj-lt"/>
                <a:ea typeface="+mn-ea"/>
                <a:cs typeface="+mn-cs"/>
              </a:rPr>
              <a:t>Actualización y Aspectos Relevantes de Comercio Exterior</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8"/>
            </p:custDataLst>
            <p:extLst>
              <p:ext uri="{D42A27DB-BD31-4B8C-83A1-F6EECF244321}">
                <p14:modId xmlns:p14="http://schemas.microsoft.com/office/powerpoint/2010/main" val="32624631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4" name="Object 3" hidden="1"/>
                      <p:cNvPicPr/>
                      <p:nvPr/>
                    </p:nvPicPr>
                    <p:blipFill>
                      <a:blip r:embed="rId7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856891901"/>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6" r:id="rId17"/>
    <p:sldLayoutId id="2147484187" r:id="rId18"/>
    <p:sldLayoutId id="2147484188" r:id="rId19"/>
    <p:sldLayoutId id="2147484189" r:id="rId20"/>
    <p:sldLayoutId id="2147484190" r:id="rId21"/>
    <p:sldLayoutId id="2147484191" r:id="rId22"/>
    <p:sldLayoutId id="2147484192" r:id="rId23"/>
    <p:sldLayoutId id="2147484193" r:id="rId24"/>
    <p:sldLayoutId id="2147484194" r:id="rId25"/>
    <p:sldLayoutId id="2147484195" r:id="rId26"/>
    <p:sldLayoutId id="2147484196" r:id="rId27"/>
    <p:sldLayoutId id="2147484197" r:id="rId28"/>
    <p:sldLayoutId id="2147484198" r:id="rId29"/>
    <p:sldLayoutId id="2147484199" r:id="rId30"/>
    <p:sldLayoutId id="2147484200" r:id="rId31"/>
    <p:sldLayoutId id="2147484201" r:id="rId32"/>
    <p:sldLayoutId id="2147484202" r:id="rId33"/>
    <p:sldLayoutId id="2147484203" r:id="rId34"/>
    <p:sldLayoutId id="2147484204" r:id="rId35"/>
    <p:sldLayoutId id="2147484205" r:id="rId36"/>
    <p:sldLayoutId id="2147484206" r:id="rId37"/>
    <p:sldLayoutId id="2147484207" r:id="rId38"/>
    <p:sldLayoutId id="2147484208" r:id="rId39"/>
    <p:sldLayoutId id="2147484209" r:id="rId40"/>
    <p:sldLayoutId id="2147484210" r:id="rId41"/>
    <p:sldLayoutId id="2147484211" r:id="rId42"/>
    <p:sldLayoutId id="2147484212" r:id="rId43"/>
    <p:sldLayoutId id="2147484213" r:id="rId44"/>
    <p:sldLayoutId id="2147484214" r:id="rId45"/>
    <p:sldLayoutId id="2147484215" r:id="rId46"/>
    <p:sldLayoutId id="2147484216" r:id="rId47"/>
    <p:sldLayoutId id="2147484217" r:id="rId48"/>
    <p:sldLayoutId id="2147484218" r:id="rId49"/>
    <p:sldLayoutId id="2147484219" r:id="rId50"/>
    <p:sldLayoutId id="2147484220" r:id="rId51"/>
    <p:sldLayoutId id="2147484221" r:id="rId52"/>
    <p:sldLayoutId id="2147484222" r:id="rId53"/>
    <p:sldLayoutId id="2147484223" r:id="rId54"/>
    <p:sldLayoutId id="2147484224" r:id="rId55"/>
    <p:sldLayoutId id="2147484225" r:id="rId56"/>
    <p:sldLayoutId id="2147484226" r:id="rId57"/>
    <p:sldLayoutId id="2147484227" r:id="rId58"/>
    <p:sldLayoutId id="2147484228" r:id="rId59"/>
    <p:sldLayoutId id="2147484229" r:id="rId60"/>
    <p:sldLayoutId id="2147484230" r:id="rId61"/>
    <p:sldLayoutId id="2147484231" r:id="rId62"/>
    <p:sldLayoutId id="2147484232" r:id="rId63"/>
    <p:sldLayoutId id="2147484233" r:id="rId64"/>
    <p:sldLayoutId id="2147484234" r:id="rId65"/>
    <p:sldLayoutId id="2147484235" r:id="rId6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5"/>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4" name="Object 3" hidden="1"/>
                      <p:cNvPicPr/>
                      <p:nvPr/>
                    </p:nvPicPr>
                    <p:blipFill>
                      <a:blip r:embed="rId6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0"/>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
        <p:nvSpPr>
          <p:cNvPr id="9" name="TextBox 8"/>
          <p:cNvSpPr txBox="1"/>
          <p:nvPr userDrawn="1"/>
        </p:nvSpPr>
        <p:spPr>
          <a:xfrm>
            <a:off x="376237" y="6477000"/>
            <a:ext cx="4016376"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a:t>
            </a:r>
            <a:r>
              <a:rPr lang="es-MX" sz="900" noProof="0" dirty="0">
                <a:solidFill>
                  <a:schemeClr val="tx1"/>
                </a:solidFill>
                <a:latin typeface="Calibri" panose="020F0502020204030204" pitchFamily="34" charset="0"/>
                <a:cs typeface="Calibri" panose="020F0502020204030204" pitchFamily="34" charset="0"/>
              </a:rPr>
              <a:t>Deloitte Impuestos y Servicios Legales, S. C.</a:t>
            </a:r>
          </a:p>
        </p:txBody>
      </p:sp>
    </p:spTree>
    <p:extLst>
      <p:ext uri="{BB962C8B-B14F-4D97-AF65-F5344CB8AC3E}">
        <p14:creationId xmlns:p14="http://schemas.microsoft.com/office/powerpoint/2010/main" val="1234636487"/>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 id="2147484312" r:id="rId9"/>
    <p:sldLayoutId id="2147484313" r:id="rId10"/>
    <p:sldLayoutId id="2147484314" r:id="rId11"/>
    <p:sldLayoutId id="2147484315" r:id="rId12"/>
    <p:sldLayoutId id="2147484316" r:id="rId13"/>
    <p:sldLayoutId id="2147484317" r:id="rId14"/>
    <p:sldLayoutId id="2147484318" r:id="rId15"/>
    <p:sldLayoutId id="2147484319" r:id="rId16"/>
    <p:sldLayoutId id="2147484320" r:id="rId17"/>
    <p:sldLayoutId id="2147484321" r:id="rId18"/>
    <p:sldLayoutId id="2147484322" r:id="rId19"/>
    <p:sldLayoutId id="2147484323" r:id="rId20"/>
    <p:sldLayoutId id="2147484324" r:id="rId21"/>
    <p:sldLayoutId id="2147484325" r:id="rId22"/>
    <p:sldLayoutId id="2147484326" r:id="rId23"/>
    <p:sldLayoutId id="2147484327" r:id="rId24"/>
    <p:sldLayoutId id="2147484328" r:id="rId25"/>
    <p:sldLayoutId id="2147484329" r:id="rId26"/>
    <p:sldLayoutId id="2147484330" r:id="rId27"/>
    <p:sldLayoutId id="2147484331" r:id="rId28"/>
    <p:sldLayoutId id="2147484332" r:id="rId29"/>
    <p:sldLayoutId id="2147484333" r:id="rId30"/>
    <p:sldLayoutId id="2147484334" r:id="rId31"/>
    <p:sldLayoutId id="2147484335" r:id="rId32"/>
    <p:sldLayoutId id="2147484336" r:id="rId33"/>
    <p:sldLayoutId id="2147484337" r:id="rId34"/>
    <p:sldLayoutId id="2147484338" r:id="rId35"/>
    <p:sldLayoutId id="2147484339" r:id="rId36"/>
    <p:sldLayoutId id="2147484340" r:id="rId37"/>
    <p:sldLayoutId id="2147484341" r:id="rId38"/>
    <p:sldLayoutId id="2147484342" r:id="rId39"/>
    <p:sldLayoutId id="2147484343" r:id="rId40"/>
    <p:sldLayoutId id="2147484344" r:id="rId41"/>
    <p:sldLayoutId id="2147484345" r:id="rId42"/>
    <p:sldLayoutId id="2147484346" r:id="rId43"/>
    <p:sldLayoutId id="2147484347" r:id="rId44"/>
    <p:sldLayoutId id="2147484348" r:id="rId45"/>
    <p:sldLayoutId id="2147484349" r:id="rId46"/>
    <p:sldLayoutId id="2147484350" r:id="rId47"/>
    <p:sldLayoutId id="2147484351" r:id="rId48"/>
    <p:sldLayoutId id="2147484352" r:id="rId49"/>
    <p:sldLayoutId id="2147484353" r:id="rId50"/>
    <p:sldLayoutId id="2147484354" r:id="rId51"/>
    <p:sldLayoutId id="2147484355" r:id="rId52"/>
    <p:sldLayoutId id="2147484356" r:id="rId53"/>
    <p:sldLayoutId id="2147484357" r:id="rId54"/>
    <p:sldLayoutId id="2147484358" r:id="rId55"/>
    <p:sldLayoutId id="2147484359" r:id="rId56"/>
    <p:sldLayoutId id="2147484360" r:id="rId57"/>
    <p:sldLayoutId id="2147484361" r:id="rId58"/>
    <p:sldLayoutId id="2147484362" r:id="rId59"/>
    <p:sldLayoutId id="2147484363" r:id="rId60"/>
    <p:sldLayoutId id="2147484364" r:id="rId61"/>
    <p:sldLayoutId id="2147484365" r:id="rId62"/>
    <p:sldLayoutId id="2147484366" r:id="rId6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ysClr val="windowText" lastClr="000000"/>
                </a:solidFill>
                <a:latin typeface="+mj-lt"/>
                <a:ea typeface="+mn-ea"/>
                <a:cs typeface="+mn-cs"/>
              </a:rPr>
              <a:t>Programa de capacitación PROCAF 2020</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6"/>
            </p:custDataLst>
            <p:extLst>
              <p:ext uri="{D42A27DB-BD31-4B8C-83A1-F6EECF244321}">
                <p14:modId xmlns:p14="http://schemas.microsoft.com/office/powerpoint/2010/main" val="37702493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7" imgW="270" imgH="270" progId="TCLayout.ActiveDocument.1">
                  <p:embed/>
                </p:oleObj>
              </mc:Choice>
              <mc:Fallback>
                <p:oleObj name="think-cell Slide" r:id="rId67" imgW="270" imgH="270" progId="TCLayout.ActiveDocument.1">
                  <p:embed/>
                  <p:pic>
                    <p:nvPicPr>
                      <p:cNvPr id="4" name="Object 3" hidden="1"/>
                      <p:cNvPicPr/>
                      <p:nvPr/>
                    </p:nvPicPr>
                    <p:blipFill>
                      <a:blip r:embed="rId6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3828483868"/>
      </p:ext>
    </p:extLst>
  </p:cSld>
  <p:clrMap bg1="lt1" tx1="dk1" bg2="lt2" tx2="dk2" accent1="accent1" accent2="accent2" accent3="accent3" accent4="accent4" accent5="accent5" accent6="accent6" hlink="hlink" folHlink="folHlink"/>
  <p:sldLayoutIdLst>
    <p:sldLayoutId id="2147484743" r:id="rId1"/>
    <p:sldLayoutId id="2147484744" r:id="rId2"/>
    <p:sldLayoutId id="2147484745" r:id="rId3"/>
    <p:sldLayoutId id="2147484746" r:id="rId4"/>
    <p:sldLayoutId id="2147484747" r:id="rId5"/>
    <p:sldLayoutId id="2147484748" r:id="rId6"/>
    <p:sldLayoutId id="2147484749" r:id="rId7"/>
    <p:sldLayoutId id="2147484750" r:id="rId8"/>
    <p:sldLayoutId id="2147484751" r:id="rId9"/>
    <p:sldLayoutId id="2147484752" r:id="rId10"/>
    <p:sldLayoutId id="2147484753" r:id="rId11"/>
    <p:sldLayoutId id="2147484754" r:id="rId12"/>
    <p:sldLayoutId id="2147484755" r:id="rId13"/>
    <p:sldLayoutId id="2147484756" r:id="rId14"/>
    <p:sldLayoutId id="2147484757" r:id="rId15"/>
    <p:sldLayoutId id="2147484758" r:id="rId16"/>
    <p:sldLayoutId id="2147484759" r:id="rId17"/>
    <p:sldLayoutId id="2147484760" r:id="rId18"/>
    <p:sldLayoutId id="2147484761" r:id="rId19"/>
    <p:sldLayoutId id="2147484762" r:id="rId20"/>
    <p:sldLayoutId id="2147484763" r:id="rId21"/>
    <p:sldLayoutId id="2147484764" r:id="rId22"/>
    <p:sldLayoutId id="2147484765" r:id="rId23"/>
    <p:sldLayoutId id="2147484766" r:id="rId24"/>
    <p:sldLayoutId id="2147484767" r:id="rId25"/>
    <p:sldLayoutId id="2147484768" r:id="rId26"/>
    <p:sldLayoutId id="2147484769" r:id="rId27"/>
    <p:sldLayoutId id="2147484770" r:id="rId28"/>
    <p:sldLayoutId id="2147484771" r:id="rId29"/>
    <p:sldLayoutId id="2147484772" r:id="rId30"/>
    <p:sldLayoutId id="2147484773" r:id="rId31"/>
    <p:sldLayoutId id="2147484774" r:id="rId32"/>
    <p:sldLayoutId id="2147484775" r:id="rId33"/>
    <p:sldLayoutId id="2147484776" r:id="rId34"/>
    <p:sldLayoutId id="2147484777" r:id="rId35"/>
    <p:sldLayoutId id="2147484778" r:id="rId36"/>
    <p:sldLayoutId id="2147484779" r:id="rId37"/>
    <p:sldLayoutId id="2147484780" r:id="rId38"/>
    <p:sldLayoutId id="2147484781" r:id="rId39"/>
    <p:sldLayoutId id="2147484782" r:id="rId40"/>
    <p:sldLayoutId id="2147484783" r:id="rId41"/>
    <p:sldLayoutId id="2147484784" r:id="rId42"/>
    <p:sldLayoutId id="2147484785" r:id="rId43"/>
    <p:sldLayoutId id="2147484786" r:id="rId44"/>
    <p:sldLayoutId id="2147484787" r:id="rId45"/>
    <p:sldLayoutId id="2147484788" r:id="rId46"/>
    <p:sldLayoutId id="2147484789" r:id="rId47"/>
    <p:sldLayoutId id="2147484790" r:id="rId48"/>
    <p:sldLayoutId id="2147484791" r:id="rId49"/>
    <p:sldLayoutId id="2147484792" r:id="rId50"/>
    <p:sldLayoutId id="2147484793" r:id="rId51"/>
    <p:sldLayoutId id="2147484794" r:id="rId52"/>
    <p:sldLayoutId id="2147484795" r:id="rId53"/>
    <p:sldLayoutId id="2147484796" r:id="rId54"/>
    <p:sldLayoutId id="2147484797" r:id="rId55"/>
    <p:sldLayoutId id="2147484798" r:id="rId56"/>
    <p:sldLayoutId id="2147484799" r:id="rId57"/>
    <p:sldLayoutId id="2147484800" r:id="rId58"/>
    <p:sldLayoutId id="2147484801" r:id="rId59"/>
    <p:sldLayoutId id="2147484802" r:id="rId60"/>
    <p:sldLayoutId id="2147484803" r:id="rId61"/>
    <p:sldLayoutId id="2147484804" r:id="rId62"/>
    <p:sldLayoutId id="2147484805" r:id="rId63"/>
    <p:sldLayoutId id="2147484806" r:id="rId6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ysClr val="windowText" lastClr="000000"/>
                </a:solidFill>
                <a:latin typeface="+mj-lt"/>
                <a:ea typeface="+mn-ea"/>
                <a:cs typeface="+mn-cs"/>
              </a:rPr>
              <a:t>Programa de capacitación PROCAF 2020</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4"/>
            </p:custDataLst>
            <p:extLst>
              <p:ext uri="{D42A27DB-BD31-4B8C-83A1-F6EECF244321}">
                <p14:modId xmlns:p14="http://schemas.microsoft.com/office/powerpoint/2010/main" val="18213352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4" name="Object 3" hidden="1"/>
                      <p:cNvPicPr/>
                      <p:nvPr/>
                    </p:nvPicPr>
                    <p:blipFill>
                      <a:blip r:embed="rId6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1443559103"/>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 id="2147484918" r:id="rId44"/>
    <p:sldLayoutId id="2147484919" r:id="rId45"/>
    <p:sldLayoutId id="2147484920" r:id="rId46"/>
    <p:sldLayoutId id="2147484921" r:id="rId47"/>
    <p:sldLayoutId id="2147484922" r:id="rId48"/>
    <p:sldLayoutId id="2147484923" r:id="rId49"/>
    <p:sldLayoutId id="2147484924" r:id="rId50"/>
    <p:sldLayoutId id="2147484925" r:id="rId51"/>
    <p:sldLayoutId id="2147484926" r:id="rId52"/>
    <p:sldLayoutId id="2147484927" r:id="rId53"/>
    <p:sldLayoutId id="2147484928" r:id="rId54"/>
    <p:sldLayoutId id="2147484929" r:id="rId55"/>
    <p:sldLayoutId id="2147484930" r:id="rId56"/>
    <p:sldLayoutId id="2147484931" r:id="rId57"/>
    <p:sldLayoutId id="2147484932" r:id="rId58"/>
    <p:sldLayoutId id="2147484933" r:id="rId59"/>
    <p:sldLayoutId id="2147484934" r:id="rId60"/>
    <p:sldLayoutId id="2147484935" r:id="rId61"/>
    <p:sldLayoutId id="2147484936" r:id="rId62"/>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3423802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86111471"/>
      </p:ext>
    </p:extLst>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2" r:id="rId4"/>
    <p:sldLayoutId id="2147484943" r:id="rId5"/>
    <p:sldLayoutId id="2147484944" r:id="rId6"/>
    <p:sldLayoutId id="2147484945" r:id="rId7"/>
    <p:sldLayoutId id="2147484946" r:id="rId8"/>
    <p:sldLayoutId id="2147484947" r:id="rId9"/>
    <p:sldLayoutId id="2147484948" r:id="rId10"/>
    <p:sldLayoutId id="2147484949" r:id="rId11"/>
    <p:sldLayoutId id="2147484950" r:id="rId12"/>
    <p:sldLayoutId id="2147484951" r:id="rId13"/>
    <p:sldLayoutId id="2147484952" r:id="rId14"/>
    <p:sldLayoutId id="2147485084" r:id="rId1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ysClr val="windowText" lastClr="000000"/>
                </a:solidFill>
                <a:latin typeface="+mj-lt"/>
                <a:ea typeface="+mn-ea"/>
                <a:cs typeface="+mn-cs"/>
              </a:rPr>
              <a:t>Actualización y Aspectos Relevantes de Comercio Exterior</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8"/>
            </p:custDataLst>
            <p:extLst>
              <p:ext uri="{D42A27DB-BD31-4B8C-83A1-F6EECF244321}">
                <p14:modId xmlns:p14="http://schemas.microsoft.com/office/powerpoint/2010/main" val="41127273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4" name="Object 3" hidden="1"/>
                      <p:cNvPicPr/>
                      <p:nvPr/>
                    </p:nvPicPr>
                    <p:blipFill>
                      <a:blip r:embed="rId7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2622452998"/>
      </p:ext>
    </p:extLst>
  </p:cSld>
  <p:clrMap bg1="lt1" tx1="dk1" bg2="lt2" tx2="dk2" accent1="accent1" accent2="accent2" accent3="accent3" accent4="accent4" accent5="accent5" accent6="accent6" hlink="hlink" folHlink="folHlink"/>
  <p:sldLayoutIdLst>
    <p:sldLayoutId id="2147484954" r:id="rId1"/>
    <p:sldLayoutId id="2147484955" r:id="rId2"/>
    <p:sldLayoutId id="2147484956" r:id="rId3"/>
    <p:sldLayoutId id="2147484957" r:id="rId4"/>
    <p:sldLayoutId id="2147484958" r:id="rId5"/>
    <p:sldLayoutId id="2147484959" r:id="rId6"/>
    <p:sldLayoutId id="2147484960" r:id="rId7"/>
    <p:sldLayoutId id="2147484961" r:id="rId8"/>
    <p:sldLayoutId id="2147484962" r:id="rId9"/>
    <p:sldLayoutId id="2147484963" r:id="rId10"/>
    <p:sldLayoutId id="2147484964" r:id="rId11"/>
    <p:sldLayoutId id="2147484965" r:id="rId12"/>
    <p:sldLayoutId id="2147484966" r:id="rId13"/>
    <p:sldLayoutId id="2147484967" r:id="rId14"/>
    <p:sldLayoutId id="2147484968" r:id="rId15"/>
    <p:sldLayoutId id="2147484969" r:id="rId16"/>
    <p:sldLayoutId id="2147484970" r:id="rId17"/>
    <p:sldLayoutId id="2147484971" r:id="rId18"/>
    <p:sldLayoutId id="2147484972" r:id="rId19"/>
    <p:sldLayoutId id="2147484973" r:id="rId20"/>
    <p:sldLayoutId id="2147484974" r:id="rId21"/>
    <p:sldLayoutId id="2147484975" r:id="rId22"/>
    <p:sldLayoutId id="2147484976" r:id="rId23"/>
    <p:sldLayoutId id="2147484977" r:id="rId24"/>
    <p:sldLayoutId id="2147484978" r:id="rId25"/>
    <p:sldLayoutId id="2147484979" r:id="rId26"/>
    <p:sldLayoutId id="2147484980" r:id="rId27"/>
    <p:sldLayoutId id="2147484981" r:id="rId28"/>
    <p:sldLayoutId id="2147484982" r:id="rId29"/>
    <p:sldLayoutId id="2147484983" r:id="rId30"/>
    <p:sldLayoutId id="2147484984" r:id="rId31"/>
    <p:sldLayoutId id="2147484985" r:id="rId32"/>
    <p:sldLayoutId id="2147484986" r:id="rId33"/>
    <p:sldLayoutId id="2147484987" r:id="rId34"/>
    <p:sldLayoutId id="2147484988" r:id="rId35"/>
    <p:sldLayoutId id="2147484989" r:id="rId36"/>
    <p:sldLayoutId id="2147484990" r:id="rId37"/>
    <p:sldLayoutId id="2147484991" r:id="rId38"/>
    <p:sldLayoutId id="2147484992" r:id="rId39"/>
    <p:sldLayoutId id="2147484993" r:id="rId40"/>
    <p:sldLayoutId id="2147484994" r:id="rId41"/>
    <p:sldLayoutId id="2147484995" r:id="rId42"/>
    <p:sldLayoutId id="2147484996" r:id="rId43"/>
    <p:sldLayoutId id="2147484997" r:id="rId44"/>
    <p:sldLayoutId id="2147484998" r:id="rId45"/>
    <p:sldLayoutId id="2147484999" r:id="rId46"/>
    <p:sldLayoutId id="2147485000" r:id="rId47"/>
    <p:sldLayoutId id="2147485001" r:id="rId48"/>
    <p:sldLayoutId id="2147485002" r:id="rId49"/>
    <p:sldLayoutId id="2147485003" r:id="rId50"/>
    <p:sldLayoutId id="2147485004" r:id="rId51"/>
    <p:sldLayoutId id="2147485005" r:id="rId52"/>
    <p:sldLayoutId id="2147485006" r:id="rId53"/>
    <p:sldLayoutId id="2147485007" r:id="rId54"/>
    <p:sldLayoutId id="2147485008" r:id="rId55"/>
    <p:sldLayoutId id="2147485009" r:id="rId56"/>
    <p:sldLayoutId id="2147485010" r:id="rId57"/>
    <p:sldLayoutId id="2147485011" r:id="rId58"/>
    <p:sldLayoutId id="2147485012" r:id="rId59"/>
    <p:sldLayoutId id="2147485013" r:id="rId60"/>
    <p:sldLayoutId id="2147485014" r:id="rId61"/>
    <p:sldLayoutId id="2147485015" r:id="rId62"/>
    <p:sldLayoutId id="2147485016" r:id="rId63"/>
    <p:sldLayoutId id="2147485017" r:id="rId64"/>
    <p:sldLayoutId id="2147485018" r:id="rId65"/>
    <p:sldLayoutId id="2147485019" r:id="rId6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Box 14"/>
          <p:cNvSpPr txBox="1"/>
          <p:nvPr/>
        </p:nvSpPr>
        <p:spPr>
          <a:xfrm>
            <a:off x="6335184" y="6477000"/>
            <a:ext cx="4896560" cy="138499"/>
          </a:xfrm>
          <a:prstGeom prst="rect">
            <a:avLst/>
          </a:prstGeom>
          <a:noFill/>
        </p:spPr>
        <p:txBody>
          <a:bodyPr wrap="square" lIns="0" tIns="0" rIns="0" bIns="0" rtlCol="0">
            <a:spAutoFit/>
          </a:bodyPr>
          <a:lstStyle/>
          <a:p>
            <a:pPr marL="0" indent="0" algn="r" defTabSz="1219170" rtl="0" eaLnBrk="1" latinLnBrk="0" hangingPunct="1">
              <a:spcBef>
                <a:spcPts val="800"/>
              </a:spcBef>
              <a:buSzPct val="100000"/>
              <a:buFont typeface="Arial"/>
              <a:buNone/>
            </a:pPr>
            <a:r>
              <a:rPr lang="es-MX" sz="900" kern="1200" dirty="0">
                <a:solidFill>
                  <a:sysClr val="windowText" lastClr="000000"/>
                </a:solidFill>
                <a:latin typeface="+mj-lt"/>
                <a:ea typeface="+mn-ea"/>
                <a:cs typeface="+mn-cs"/>
              </a:rPr>
              <a:t>Programa de capacitación PROCAF 2020</a:t>
            </a:r>
            <a:endParaRPr lang="en-US" sz="900" kern="1200" noProof="0" dirty="0">
              <a:solidFill>
                <a:sysClr val="windowText" lastClr="000000"/>
              </a:solidFill>
              <a:latin typeface="+mj-lt"/>
              <a:ea typeface="+mn-ea"/>
              <a:cs typeface="+mn-cs"/>
            </a:endParaRPr>
          </a:p>
        </p:txBody>
      </p:sp>
      <p:graphicFrame>
        <p:nvGraphicFramePr>
          <p:cNvPr id="4" name="Object 3" hidden="1"/>
          <p:cNvGraphicFramePr>
            <a:graphicFrameLocks noChangeAspect="1"/>
          </p:cNvGraphicFramePr>
          <p:nvPr>
            <p:custDataLst>
              <p:tags r:id="rId65"/>
            </p:custDataLst>
            <p:extLst>
              <p:ext uri="{D42A27DB-BD31-4B8C-83A1-F6EECF244321}">
                <p14:modId xmlns:p14="http://schemas.microsoft.com/office/powerpoint/2010/main" val="18213352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4" name="Object 3" hidden="1"/>
                      <p:cNvPicPr/>
                      <p:nvPr/>
                    </p:nvPicPr>
                    <p:blipFill>
                      <a:blip r:embed="rId6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TextBox 17"/>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s-MX" sz="900" noProof="0" dirty="0">
                <a:solidFill>
                  <a:schemeClr val="tx1"/>
                </a:solidFill>
                <a:latin typeface="+mj-lt"/>
                <a:cs typeface="Calibri" panose="020F0502020204030204" pitchFamily="34" charset="0"/>
              </a:rPr>
              <a:t>© 2020 </a:t>
            </a:r>
            <a:r>
              <a:rPr lang="es-MX" sz="900" noProof="0" dirty="0" err="1">
                <a:solidFill>
                  <a:schemeClr val="tx1"/>
                </a:solidFill>
                <a:latin typeface="+mj-lt"/>
                <a:cs typeface="Calibri" panose="020F0502020204030204" pitchFamily="34" charset="0"/>
              </a:rPr>
              <a:t>Deloitte</a:t>
            </a:r>
            <a:r>
              <a:rPr lang="es-MX" sz="900" noProof="0" dirty="0">
                <a:solidFill>
                  <a:schemeClr val="tx1"/>
                </a:solidFill>
                <a:latin typeface="+mj-lt"/>
                <a:cs typeface="Calibri" panose="020F0502020204030204" pitchFamily="34" charset="0"/>
              </a:rPr>
              <a:t> Impuestos y Servicios Legales, S.C.</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mj-lt"/>
                <a:cs typeface="Calibri" panose="020F0502020204030204" pitchFamily="34" charset="0"/>
              </a:rPr>
              <a:pPr marL="0" indent="0" algn="r">
                <a:spcBef>
                  <a:spcPts val="600"/>
                </a:spcBef>
                <a:buSzPct val="100000"/>
                <a:buFont typeface="Arial"/>
                <a:buNone/>
              </a:pPr>
              <a:t>‹Nº›</a:t>
            </a:fld>
            <a:endParaRPr lang="en-US" sz="900" noProof="0" dirty="0">
              <a:solidFill>
                <a:schemeClr val="tx1"/>
              </a:solidFill>
              <a:latin typeface="+mj-lt"/>
              <a:cs typeface="Calibri" panose="020F0502020204030204" pitchFamily="34" charset="0"/>
            </a:endParaRPr>
          </a:p>
        </p:txBody>
      </p:sp>
    </p:spTree>
    <p:extLst>
      <p:ext uri="{BB962C8B-B14F-4D97-AF65-F5344CB8AC3E}">
        <p14:creationId xmlns:p14="http://schemas.microsoft.com/office/powerpoint/2010/main" val="1640942295"/>
      </p:ext>
    </p:extLst>
  </p:cSld>
  <p:clrMap bg1="lt1" tx1="dk1" bg2="lt2" tx2="dk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 id="2147485030" r:id="rId10"/>
    <p:sldLayoutId id="2147485031" r:id="rId11"/>
    <p:sldLayoutId id="2147485032" r:id="rId12"/>
    <p:sldLayoutId id="2147485033" r:id="rId13"/>
    <p:sldLayoutId id="2147485034" r:id="rId14"/>
    <p:sldLayoutId id="2147485035" r:id="rId15"/>
    <p:sldLayoutId id="2147485036" r:id="rId16"/>
    <p:sldLayoutId id="2147485037" r:id="rId17"/>
    <p:sldLayoutId id="2147485038" r:id="rId18"/>
    <p:sldLayoutId id="2147485039" r:id="rId19"/>
    <p:sldLayoutId id="2147485040" r:id="rId20"/>
    <p:sldLayoutId id="2147485041" r:id="rId21"/>
    <p:sldLayoutId id="2147485042" r:id="rId22"/>
    <p:sldLayoutId id="2147485043" r:id="rId23"/>
    <p:sldLayoutId id="2147485044" r:id="rId24"/>
    <p:sldLayoutId id="2147485045" r:id="rId25"/>
    <p:sldLayoutId id="2147485046" r:id="rId26"/>
    <p:sldLayoutId id="2147485047" r:id="rId27"/>
    <p:sldLayoutId id="2147485048" r:id="rId28"/>
    <p:sldLayoutId id="2147485049" r:id="rId29"/>
    <p:sldLayoutId id="2147485050" r:id="rId30"/>
    <p:sldLayoutId id="2147485051" r:id="rId31"/>
    <p:sldLayoutId id="2147485052" r:id="rId32"/>
    <p:sldLayoutId id="2147485053" r:id="rId33"/>
    <p:sldLayoutId id="2147485054" r:id="rId34"/>
    <p:sldLayoutId id="2147485055" r:id="rId35"/>
    <p:sldLayoutId id="2147485056" r:id="rId36"/>
    <p:sldLayoutId id="2147485057" r:id="rId37"/>
    <p:sldLayoutId id="2147485058" r:id="rId38"/>
    <p:sldLayoutId id="2147485059" r:id="rId39"/>
    <p:sldLayoutId id="2147485060" r:id="rId40"/>
    <p:sldLayoutId id="2147485061" r:id="rId41"/>
    <p:sldLayoutId id="2147485062" r:id="rId42"/>
    <p:sldLayoutId id="2147485063" r:id="rId43"/>
    <p:sldLayoutId id="2147485064" r:id="rId44"/>
    <p:sldLayoutId id="2147485065" r:id="rId45"/>
    <p:sldLayoutId id="2147485066" r:id="rId46"/>
    <p:sldLayoutId id="2147485067" r:id="rId47"/>
    <p:sldLayoutId id="2147485068" r:id="rId48"/>
    <p:sldLayoutId id="2147485069" r:id="rId49"/>
    <p:sldLayoutId id="2147485070" r:id="rId50"/>
    <p:sldLayoutId id="2147485071" r:id="rId51"/>
    <p:sldLayoutId id="2147485072" r:id="rId52"/>
    <p:sldLayoutId id="2147485073" r:id="rId53"/>
    <p:sldLayoutId id="2147485074" r:id="rId54"/>
    <p:sldLayoutId id="2147485075" r:id="rId55"/>
    <p:sldLayoutId id="2147485076" r:id="rId56"/>
    <p:sldLayoutId id="2147485077" r:id="rId57"/>
    <p:sldLayoutId id="2147485078" r:id="rId58"/>
    <p:sldLayoutId id="2147485079" r:id="rId59"/>
    <p:sldLayoutId id="2147485080" r:id="rId60"/>
    <p:sldLayoutId id="2147485081" r:id="rId61"/>
    <p:sldLayoutId id="2147485082" r:id="rId62"/>
    <p:sldLayoutId id="2147485083" r:id="rId6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39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5.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395.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395.xml"/><Relationship Id="rId6" Type="http://schemas.openxmlformats.org/officeDocument/2006/relationships/hyperlink" Target="http://databaseconsulting.mx/Bases/tigie2017.nsf/d58945443a3d19d886256bab00510b2e/2388224678e06464862585f400769bdd?OpenDocument" TargetMode="External"/><Relationship Id="rId5" Type="http://schemas.openxmlformats.org/officeDocument/2006/relationships/hyperlink" Target="http://databaseconsulting.mx/Bases/tigie2017.nsf/d58945443a3d19d886256bab00510b2e/c40eb3c57c803671862585f40075ce49?OpenDocument" TargetMode="External"/><Relationship Id="rId4" Type="http://schemas.openxmlformats.org/officeDocument/2006/relationships/hyperlink" Target="http://databaseconsulting.mx/Bases/tigie2017.nsf/d58945443a3d19d886256bab00510b2e/8581c8ada87a70cc862585f4007590fb?OpenDocument"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39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9.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395.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95.xml"/></Relationships>
</file>

<file path=ppt/slides/_rels/slide2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39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4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9.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6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95.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39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5.xml"/></Relationships>
</file>

<file path=ppt/slides/_rels/slide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4.xml"/><Relationship Id="rId1" Type="http://schemas.openxmlformats.org/officeDocument/2006/relationships/slideLayout" Target="../slideLayouts/slideLayout16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52.xml"/></Relationships>
</file>

<file path=ppt/slides/_rels/slide3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7.xml"/><Relationship Id="rId1" Type="http://schemas.openxmlformats.org/officeDocument/2006/relationships/slideLayout" Target="../slideLayouts/slideLayout35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52.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5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5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52.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5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52.xml"/></Relationships>
</file>

<file path=ppt/slides/_rels/slide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52.xml"/></Relationships>
</file>

<file path=ppt/slides/_rels/slide52.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1.xml"/><Relationship Id="rId1" Type="http://schemas.openxmlformats.org/officeDocument/2006/relationships/slideLayout" Target="../slideLayouts/slideLayout315.xml"/></Relationships>
</file>

<file path=ppt/slides/_rels/slide5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54.xml"/><Relationship Id="rId4" Type="http://schemas.openxmlformats.org/officeDocument/2006/relationships/hyperlink" Target="mailto:cmontanohernandez@deloittemx.com" TargetMode="External"/></Relationships>
</file>

<file path=ppt/slides/_rels/slide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5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3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2">
            <a:extLst>
              <a:ext uri="{FF2B5EF4-FFF2-40B4-BE49-F238E27FC236}">
                <a16:creationId xmlns:a16="http://schemas.microsoft.com/office/drawing/2014/main" id="{DE5B9CEA-5E73-4E22-8C75-E8D43059FFC7}"/>
              </a:ext>
            </a:extLst>
          </p:cNvPr>
          <p:cNvSpPr>
            <a:spLocks noGrp="1"/>
          </p:cNvSpPr>
          <p:nvPr>
            <p:ph type="ctrTitle"/>
          </p:nvPr>
        </p:nvSpPr>
        <p:spPr>
          <a:xfrm>
            <a:off x="434912" y="6301379"/>
            <a:ext cx="6977742" cy="485433"/>
          </a:xfrm>
        </p:spPr>
        <p:txBody>
          <a:bodyPr/>
          <a:lstStyle/>
          <a:p>
            <a:r>
              <a:rPr lang="es-MX" sz="2400" b="1" dirty="0"/>
              <a:t>Actualidades Aduaneras para Compañías Mineras</a:t>
            </a:r>
            <a:endParaRPr lang="en-US" sz="2400" b="1" dirty="0"/>
          </a:p>
        </p:txBody>
      </p:sp>
      <p:sp>
        <p:nvSpPr>
          <p:cNvPr id="8" name="Text Placeholder 14">
            <a:extLst>
              <a:ext uri="{FF2B5EF4-FFF2-40B4-BE49-F238E27FC236}">
                <a16:creationId xmlns:a16="http://schemas.microsoft.com/office/drawing/2014/main" id="{E22672E0-7693-4B5C-8331-DE3495FB6BB0}"/>
              </a:ext>
            </a:extLst>
          </p:cNvPr>
          <p:cNvSpPr>
            <a:spLocks noGrp="1"/>
          </p:cNvSpPr>
          <p:nvPr>
            <p:ph type="body" sz="quarter" idx="10"/>
          </p:nvPr>
        </p:nvSpPr>
        <p:spPr>
          <a:xfrm>
            <a:off x="434912" y="6595502"/>
            <a:ext cx="4446269" cy="273050"/>
          </a:xfrm>
        </p:spPr>
        <p:txBody>
          <a:bodyPr/>
          <a:lstStyle/>
          <a:p>
            <a:r>
              <a:rPr lang="es-ES_tradnl" dirty="0"/>
              <a:t>Noviembre, 2022</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50340" y="254880"/>
            <a:ext cx="2462523" cy="1020569"/>
          </a:xfrm>
          <a:prstGeom prst="rect">
            <a:avLst/>
          </a:prstGeom>
        </p:spPr>
      </p:pic>
      <p:pic>
        <p:nvPicPr>
          <p:cNvPr id="4" name="Picture 3" descr="A picture containing yellow, toilet&#10;&#10;Description automatically generated">
            <a:extLst>
              <a:ext uri="{FF2B5EF4-FFF2-40B4-BE49-F238E27FC236}">
                <a16:creationId xmlns:a16="http://schemas.microsoft.com/office/drawing/2014/main" id="{15A37D72-0A52-41A7-AB62-7F3C107417D6}"/>
              </a:ext>
            </a:extLst>
          </p:cNvPr>
          <p:cNvPicPr>
            <a:picLocks noChangeAspect="1"/>
          </p:cNvPicPr>
          <p:nvPr/>
        </p:nvPicPr>
        <p:blipFill>
          <a:blip r:embed="rId4"/>
          <a:stretch>
            <a:fillRect/>
          </a:stretch>
        </p:blipFill>
        <p:spPr>
          <a:xfrm>
            <a:off x="2667000" y="118753"/>
            <a:ext cx="6858000" cy="6858000"/>
          </a:xfrm>
          <a:prstGeom prst="rect">
            <a:avLst/>
          </a:prstGeom>
        </p:spPr>
      </p:pic>
    </p:spTree>
    <p:extLst>
      <p:ext uri="{BB962C8B-B14F-4D97-AF65-F5344CB8AC3E}">
        <p14:creationId xmlns:p14="http://schemas.microsoft.com/office/powerpoint/2010/main" val="179094704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11295" y="1780096"/>
            <a:ext cx="10570815" cy="4209534"/>
            <a:chOff x="1728597" y="1905241"/>
            <a:chExt cx="8736211" cy="3478954"/>
          </a:xfrm>
        </p:grpSpPr>
        <p:sp>
          <p:nvSpPr>
            <p:cNvPr id="207" name="Arc 206">
              <a:extLst>
                <a:ext uri="{FF2B5EF4-FFF2-40B4-BE49-F238E27FC236}">
                  <a16:creationId xmlns:a16="http://schemas.microsoft.com/office/drawing/2014/main" id="{C5E8A21A-C674-476C-A0E9-41947BB38F18}"/>
                </a:ext>
              </a:extLst>
            </p:cNvPr>
            <p:cNvSpPr/>
            <p:nvPr/>
          </p:nvSpPr>
          <p:spPr>
            <a:xfrm>
              <a:off x="1728597" y="2075065"/>
              <a:ext cx="3066034" cy="3066034"/>
            </a:xfrm>
            <a:prstGeom prst="arc">
              <a:avLst>
                <a:gd name="adj1" fmla="val 16812435"/>
                <a:gd name="adj2" fmla="val 4781030"/>
              </a:avLst>
            </a:prstGeom>
            <a:ln w="25400" cap="rnd">
              <a:solidFill>
                <a:srgbClr val="0070C0"/>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08" name="Arc 207">
              <a:extLst>
                <a:ext uri="{FF2B5EF4-FFF2-40B4-BE49-F238E27FC236}">
                  <a16:creationId xmlns:a16="http://schemas.microsoft.com/office/drawing/2014/main" id="{3B27D4D6-F06F-4941-9B1D-99559099373C}"/>
                </a:ext>
              </a:extLst>
            </p:cNvPr>
            <p:cNvSpPr/>
            <p:nvPr/>
          </p:nvSpPr>
          <p:spPr>
            <a:xfrm flipH="1">
              <a:off x="1747660" y="2075065"/>
              <a:ext cx="3066034" cy="3066034"/>
            </a:xfrm>
            <a:prstGeom prst="arc">
              <a:avLst>
                <a:gd name="adj1" fmla="val 16812435"/>
                <a:gd name="adj2" fmla="val 4781841"/>
              </a:avLst>
            </a:prstGeom>
            <a:ln w="25400" cap="rnd">
              <a:solidFill>
                <a:srgbClr val="0070C0"/>
              </a:solidFill>
              <a:prstDash val="sysDot"/>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09" name="Oval 208">
              <a:extLst>
                <a:ext uri="{FF2B5EF4-FFF2-40B4-BE49-F238E27FC236}">
                  <a16:creationId xmlns:a16="http://schemas.microsoft.com/office/drawing/2014/main" id="{0CE2C832-D59F-44DD-BDE0-C7857C106B53}"/>
                </a:ext>
              </a:extLst>
            </p:cNvPr>
            <p:cNvSpPr/>
            <p:nvPr/>
          </p:nvSpPr>
          <p:spPr bwMode="gray">
            <a:xfrm>
              <a:off x="1906878" y="2230169"/>
              <a:ext cx="2755826" cy="2755826"/>
            </a:xfrm>
            <a:prstGeom prst="ellipse">
              <a:avLst/>
            </a:prstGeom>
            <a:solidFill>
              <a:schemeClr val="accent3">
                <a:lumMod val="75000"/>
                <a:alpha val="3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0" name="Oval 209">
              <a:extLst>
                <a:ext uri="{FF2B5EF4-FFF2-40B4-BE49-F238E27FC236}">
                  <a16:creationId xmlns:a16="http://schemas.microsoft.com/office/drawing/2014/main" id="{7677C067-F953-407E-A85D-174799984A63}"/>
                </a:ext>
              </a:extLst>
            </p:cNvPr>
            <p:cNvSpPr/>
            <p:nvPr/>
          </p:nvSpPr>
          <p:spPr bwMode="gray">
            <a:xfrm>
              <a:off x="2028030" y="2348493"/>
              <a:ext cx="2505296" cy="2505296"/>
            </a:xfrm>
            <a:prstGeom prst="ellipse">
              <a:avLst/>
            </a:prstGeom>
            <a:solidFill>
              <a:schemeClr val="accent3">
                <a:lumMod val="75000"/>
                <a:alpha val="3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1" name="Oval 210">
              <a:extLst>
                <a:ext uri="{FF2B5EF4-FFF2-40B4-BE49-F238E27FC236}">
                  <a16:creationId xmlns:a16="http://schemas.microsoft.com/office/drawing/2014/main" id="{06740C1A-0E95-4951-B5B8-844414A4D899}"/>
                </a:ext>
              </a:extLst>
            </p:cNvPr>
            <p:cNvSpPr/>
            <p:nvPr/>
          </p:nvSpPr>
          <p:spPr bwMode="gray">
            <a:xfrm>
              <a:off x="2146020" y="2446943"/>
              <a:ext cx="2277542" cy="2277542"/>
            </a:xfrm>
            <a:prstGeom prst="ellipse">
              <a:avLst/>
            </a:prstGeom>
            <a:solidFill>
              <a:schemeClr val="accent3">
                <a:lumMod val="75000"/>
                <a:alpha val="3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2" name="Oval 211">
              <a:extLst>
                <a:ext uri="{FF2B5EF4-FFF2-40B4-BE49-F238E27FC236}">
                  <a16:creationId xmlns:a16="http://schemas.microsoft.com/office/drawing/2014/main" id="{60C773DD-9BE7-4FD8-ADE8-9249676B4DAC}"/>
                </a:ext>
              </a:extLst>
            </p:cNvPr>
            <p:cNvSpPr/>
            <p:nvPr/>
          </p:nvSpPr>
          <p:spPr bwMode="gray">
            <a:xfrm>
              <a:off x="2249547" y="2572838"/>
              <a:ext cx="2070493" cy="2070493"/>
            </a:xfrm>
            <a:prstGeom prst="ellipse">
              <a:avLst/>
            </a:prstGeom>
            <a:solidFill>
              <a:schemeClr val="tx1">
                <a:alpha val="20000"/>
              </a:schemeClr>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13" name="Group 212">
              <a:extLst>
                <a:ext uri="{FF2B5EF4-FFF2-40B4-BE49-F238E27FC236}">
                  <a16:creationId xmlns:a16="http://schemas.microsoft.com/office/drawing/2014/main" id="{FD4822F1-D35A-4529-B33C-5058B2AB54C4}"/>
                </a:ext>
              </a:extLst>
            </p:cNvPr>
            <p:cNvGrpSpPr/>
            <p:nvPr/>
          </p:nvGrpSpPr>
          <p:grpSpPr>
            <a:xfrm>
              <a:off x="2673109" y="2628793"/>
              <a:ext cx="1223366" cy="1054625"/>
              <a:chOff x="1669172" y="2745620"/>
              <a:chExt cx="1794269" cy="1546785"/>
            </a:xfrm>
          </p:grpSpPr>
          <p:sp>
            <p:nvSpPr>
              <p:cNvPr id="214" name="Isosceles Triangle 213">
                <a:extLst>
                  <a:ext uri="{FF2B5EF4-FFF2-40B4-BE49-F238E27FC236}">
                    <a16:creationId xmlns:a16="http://schemas.microsoft.com/office/drawing/2014/main" id="{C3A8CFA0-6085-4DD3-A77E-2D5168F1AA48}"/>
                  </a:ext>
                </a:extLst>
              </p:cNvPr>
              <p:cNvSpPr/>
              <p:nvPr/>
            </p:nvSpPr>
            <p:spPr bwMode="gray">
              <a:xfrm>
                <a:off x="1669172" y="2745620"/>
                <a:ext cx="1794269" cy="1546785"/>
              </a:xfrm>
              <a:prstGeom prst="triangle">
                <a:avLst/>
              </a:prstGeom>
              <a:noFill/>
              <a:ln w="25400" algn="ctr">
                <a:solidFill>
                  <a:srgbClr val="E3E48D"/>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15" name="Group 214">
                <a:extLst>
                  <a:ext uri="{FF2B5EF4-FFF2-40B4-BE49-F238E27FC236}">
                    <a16:creationId xmlns:a16="http://schemas.microsoft.com/office/drawing/2014/main" id="{507358F6-4FF9-48E9-9ED0-8491AA14F01D}"/>
                  </a:ext>
                </a:extLst>
              </p:cNvPr>
              <p:cNvGrpSpPr/>
              <p:nvPr/>
            </p:nvGrpSpPr>
            <p:grpSpPr>
              <a:xfrm>
                <a:off x="2498918" y="3171435"/>
                <a:ext cx="134776" cy="907081"/>
                <a:chOff x="6005513" y="2095423"/>
                <a:chExt cx="179387" cy="1207325"/>
              </a:xfrm>
            </p:grpSpPr>
            <p:sp>
              <p:nvSpPr>
                <p:cNvPr id="216" name="Trapezoid 215">
                  <a:extLst>
                    <a:ext uri="{FF2B5EF4-FFF2-40B4-BE49-F238E27FC236}">
                      <a16:creationId xmlns:a16="http://schemas.microsoft.com/office/drawing/2014/main" id="{5536512C-43CB-40CD-94B3-085713923BE7}"/>
                    </a:ext>
                  </a:extLst>
                </p:cNvPr>
                <p:cNvSpPr/>
                <p:nvPr/>
              </p:nvSpPr>
              <p:spPr bwMode="gray">
                <a:xfrm flipV="1">
                  <a:off x="6005513" y="2095423"/>
                  <a:ext cx="179387" cy="1007483"/>
                </a:xfrm>
                <a:prstGeom prst="trapezoid">
                  <a:avLst/>
                </a:prstGeom>
                <a:noFill/>
                <a:ln w="25400" algn="ctr">
                  <a:solidFill>
                    <a:srgbClr val="E3E48D"/>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17" name="Rectangle 216">
                  <a:extLst>
                    <a:ext uri="{FF2B5EF4-FFF2-40B4-BE49-F238E27FC236}">
                      <a16:creationId xmlns:a16="http://schemas.microsoft.com/office/drawing/2014/main" id="{B4FFEFF4-0F7D-4EA5-BB18-9E5FFF5774D2}"/>
                    </a:ext>
                  </a:extLst>
                </p:cNvPr>
                <p:cNvSpPr/>
                <p:nvPr/>
              </p:nvSpPr>
              <p:spPr bwMode="gray">
                <a:xfrm>
                  <a:off x="6049961" y="3202734"/>
                  <a:ext cx="90487" cy="100014"/>
                </a:xfrm>
                <a:prstGeom prst="rect">
                  <a:avLst/>
                </a:prstGeom>
                <a:noFill/>
                <a:ln w="25400" algn="ctr">
                  <a:solidFill>
                    <a:srgbClr val="E3E48D"/>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grpSp>
        <p:sp>
          <p:nvSpPr>
            <p:cNvPr id="218" name="Rectangle 217">
              <a:extLst>
                <a:ext uri="{FF2B5EF4-FFF2-40B4-BE49-F238E27FC236}">
                  <a16:creationId xmlns:a16="http://schemas.microsoft.com/office/drawing/2014/main" id="{6F4B5722-2CDC-4CC6-B138-D8EDB141AE62}"/>
                </a:ext>
              </a:extLst>
            </p:cNvPr>
            <p:cNvSpPr/>
            <p:nvPr/>
          </p:nvSpPr>
          <p:spPr>
            <a:xfrm>
              <a:off x="6217487" y="3184557"/>
              <a:ext cx="3652233" cy="6740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Esquema Integral de Certificación</a:t>
              </a:r>
            </a:p>
            <a:p>
              <a:pPr marL="0" marR="0" lvl="0" indent="0" algn="l" defTabSz="856957" rtl="0" eaLnBrk="1" fontAlgn="auto" latinLnBrk="0" hangingPunct="1">
                <a:lnSpc>
                  <a:spcPct val="100000"/>
                </a:lnSpc>
                <a:spcBef>
                  <a:spcPts val="422"/>
                </a:spcBef>
                <a:spcAft>
                  <a:spcPts val="0"/>
                </a:spcAft>
                <a:buClrTx/>
                <a:buSzPct val="100000"/>
                <a:buFontTx/>
                <a:buNone/>
                <a:tabLst/>
                <a:defRPr/>
              </a:pPr>
              <a:r>
                <a:rPr kumimoji="0" lang="es-MX" sz="105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sym typeface="Gotham Book" charset="0"/>
                </a:rPr>
                <a:t>Requerimientos en relación al Pago de Derechos retroactivo de CIVA (art. 40, inciso m, LFD) – Requiriendo lo mas nuevo 2015.</a:t>
              </a:r>
            </a:p>
          </p:txBody>
        </p:sp>
        <p:sp>
          <p:nvSpPr>
            <p:cNvPr id="219" name="TextBox 218">
              <a:extLst>
                <a:ext uri="{FF2B5EF4-FFF2-40B4-BE49-F238E27FC236}">
                  <a16:creationId xmlns:a16="http://schemas.microsoft.com/office/drawing/2014/main" id="{BB417DA9-D89D-4B3F-A131-0462D93B4E68}"/>
                </a:ext>
              </a:extLst>
            </p:cNvPr>
            <p:cNvSpPr txBox="1"/>
            <p:nvPr/>
          </p:nvSpPr>
          <p:spPr>
            <a:xfrm>
              <a:off x="6208547" y="4645531"/>
              <a:ext cx="4134215" cy="738664"/>
            </a:xfrm>
            <a:prstGeom prst="rect">
              <a:avLst/>
            </a:prstGeom>
          </p:spPr>
          <p:txBody>
            <a:bodyPr wrap="square">
              <a:spAutoFit/>
            </a:bodyPr>
            <a:lstStyle>
              <a:defPPr>
                <a:defRPr lang="en-US"/>
              </a:defPPr>
              <a:lvl1pPr>
                <a:spcAft>
                  <a:spcPts val="225"/>
                </a:spcAft>
                <a:defRPr sz="1050" b="1">
                  <a:solidFill>
                    <a:schemeClr val="accent6">
                      <a:lumMod val="75000"/>
                    </a:schemeClr>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Beneficios aplicables en 2019 para CIVA fueron derogados y actualmente se encuentran exclusivamente para las Empresas Certificadas Operador Económico Autorizado (“OEA”)</a:t>
              </a:r>
            </a:p>
          </p:txBody>
        </p:sp>
        <p:sp>
          <p:nvSpPr>
            <p:cNvPr id="220" name="TextBox 219">
              <a:extLst>
                <a:ext uri="{FF2B5EF4-FFF2-40B4-BE49-F238E27FC236}">
                  <a16:creationId xmlns:a16="http://schemas.microsoft.com/office/drawing/2014/main" id="{071F6CF4-79C8-4CC2-8527-96D8F97ED4DA}"/>
                </a:ext>
              </a:extLst>
            </p:cNvPr>
            <p:cNvSpPr txBox="1"/>
            <p:nvPr/>
          </p:nvSpPr>
          <p:spPr>
            <a:xfrm>
              <a:off x="6202333" y="3942139"/>
              <a:ext cx="4262475" cy="602729"/>
            </a:xfrm>
            <a:prstGeom prst="rect">
              <a:avLst/>
            </a:prstGeom>
          </p:spPr>
          <p:txBody>
            <a:bodyPr wrap="square">
              <a:spAutoFit/>
            </a:bodyPr>
            <a:lstStyle>
              <a:defPPr>
                <a:defRPr lang="en-US"/>
              </a:defPPr>
              <a:lvl1pPr>
                <a:spcAft>
                  <a:spcPts val="225"/>
                </a:spcAft>
                <a:defRPr sz="1050" b="1">
                  <a:solidFill>
                    <a:schemeClr val="accent6">
                      <a:lumMod val="75000"/>
                    </a:schemeClr>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Obligación del 60% de retornos en 12 meses previos</a:t>
              </a:r>
            </a:p>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sym typeface="Gotham Book" charset="0"/>
                </a:rPr>
                <a:t>Establece que se determina en función del valor de la mercancía importada temporalmente</a:t>
              </a:r>
            </a:p>
          </p:txBody>
        </p:sp>
        <p:sp>
          <p:nvSpPr>
            <p:cNvPr id="221" name="TextBox 220">
              <a:extLst>
                <a:ext uri="{FF2B5EF4-FFF2-40B4-BE49-F238E27FC236}">
                  <a16:creationId xmlns:a16="http://schemas.microsoft.com/office/drawing/2014/main" id="{5C61A11C-C01A-4F64-9A2B-A7776ABA120C}"/>
                </a:ext>
              </a:extLst>
            </p:cNvPr>
            <p:cNvSpPr txBox="1"/>
            <p:nvPr/>
          </p:nvSpPr>
          <p:spPr>
            <a:xfrm>
              <a:off x="6202334" y="2563067"/>
              <a:ext cx="3981156" cy="498123"/>
            </a:xfrm>
            <a:prstGeom prst="rect">
              <a:avLst/>
            </a:prstGeom>
          </p:spPr>
          <p:txBody>
            <a:bodyPr wrap="square">
              <a:spAutoFit/>
            </a:bodyPr>
            <a:lstStyle>
              <a:defPPr>
                <a:defRPr lang="en-US"/>
              </a:defPPr>
              <a:lvl1pPr>
                <a:spcAft>
                  <a:spcPts val="225"/>
                </a:spcAft>
                <a:defRPr sz="1050" b="1">
                  <a:solidFill>
                    <a:schemeClr val="accent6">
                      <a:lumMod val="75000"/>
                    </a:schemeClr>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Sistema de Control de Inventarios y obligaciones (Anexo 24)</a:t>
              </a:r>
            </a:p>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sym typeface="Gotham Book" charset="0"/>
                </a:rPr>
                <a:t>Requerimientos en relación a los registros y controles automatizados de importaciones temporales</a:t>
              </a:r>
              <a:r>
                <a:rPr kumimoji="0" lang="es-MX" sz="1050" b="0" i="0" u="none" strike="noStrike" kern="1200" cap="none" spc="0" normalizeH="0" baseline="0" noProof="0" dirty="0">
                  <a:ln>
                    <a:noFill/>
                  </a:ln>
                  <a:solidFill>
                    <a:srgbClr val="007CB0">
                      <a:lumMod val="75000"/>
                    </a:srgbClr>
                  </a:solidFill>
                  <a:effectLst/>
                  <a:uLnTx/>
                  <a:uFillTx/>
                  <a:latin typeface="Verdana" panose="020B0604030504040204" pitchFamily="34" charset="0"/>
                  <a:ea typeface="Verdana" panose="020B0604030504040204" pitchFamily="34" charset="0"/>
                  <a:cs typeface="+mn-cs"/>
                  <a:sym typeface="Gotham Book" charset="0"/>
                </a:rPr>
                <a:t>.</a:t>
              </a:r>
            </a:p>
          </p:txBody>
        </p:sp>
        <p:sp>
          <p:nvSpPr>
            <p:cNvPr id="222" name="TextBox 221">
              <a:extLst>
                <a:ext uri="{FF2B5EF4-FFF2-40B4-BE49-F238E27FC236}">
                  <a16:creationId xmlns:a16="http://schemas.microsoft.com/office/drawing/2014/main" id="{6CF5C9AA-2CAE-430A-9770-0A854565AACD}"/>
                </a:ext>
              </a:extLst>
            </p:cNvPr>
            <p:cNvSpPr txBox="1"/>
            <p:nvPr/>
          </p:nvSpPr>
          <p:spPr>
            <a:xfrm>
              <a:off x="6232162" y="1905241"/>
              <a:ext cx="4086984" cy="602729"/>
            </a:xfrm>
            <a:prstGeom prst="rect">
              <a:avLst/>
            </a:prstGeom>
          </p:spPr>
          <p:txBody>
            <a:bodyPr wrap="square">
              <a:spAutoFit/>
            </a:bodyPr>
            <a:lstStyle>
              <a:defPPr>
                <a:defRPr lang="en-US"/>
              </a:defPPr>
              <a:lvl1pPr>
                <a:spcAft>
                  <a:spcPts val="225"/>
                </a:spcAft>
                <a:defRPr sz="1050" b="1">
                  <a:solidFill>
                    <a:schemeClr val="accent6">
                      <a:lumMod val="75000"/>
                    </a:schemeClr>
                  </a:solidFill>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Sistema de Control de Cuentas Créditos y Garantías (</a:t>
              </a:r>
              <a:r>
                <a:rPr kumimoji="0" lang="es-MX" sz="1050" b="1" i="0" u="none" strike="noStrike" kern="1200" cap="none" spc="0" normalizeH="0" baseline="0" noProof="0" dirty="0" err="1">
                  <a:ln>
                    <a:noFill/>
                  </a:ln>
                  <a:solidFill>
                    <a:srgbClr val="0D8390">
                      <a:lumMod val="50000"/>
                    </a:srgbClr>
                  </a:solidFill>
                  <a:effectLst/>
                  <a:uLnTx/>
                  <a:uFillTx/>
                  <a:latin typeface="Verdana" panose="020B0604030504040204" pitchFamily="34" charset="0"/>
                  <a:ea typeface="Verdana" panose="020B0604030504040204" pitchFamily="34" charset="0"/>
                  <a:cs typeface="+mn-cs"/>
                </a:rPr>
                <a:t>SCCCyG</a:t>
              </a:r>
              <a:r>
                <a:rPr kumimoji="0" lang="es-MX" sz="1050" b="1" i="0" u="none" strike="noStrike" kern="1200" cap="none" spc="0" normalizeH="0" baseline="0" noProof="0" dirty="0">
                  <a:ln>
                    <a:noFill/>
                  </a:ln>
                  <a:solidFill>
                    <a:srgbClr val="0D8390">
                      <a:lumMod val="50000"/>
                    </a:srgbClr>
                  </a:solidFill>
                  <a:effectLst/>
                  <a:uLnTx/>
                  <a:uFillTx/>
                  <a:latin typeface="Verdana" panose="020B0604030504040204" pitchFamily="34" charset="0"/>
                  <a:ea typeface="Verdana" panose="020B0604030504040204" pitchFamily="34" charset="0"/>
                  <a:cs typeface="+mn-cs"/>
                </a:rPr>
                <a:t> – Anexo 31)</a:t>
              </a:r>
            </a:p>
            <a:p>
              <a:pPr marL="0" marR="0" lvl="0" indent="0" algn="l" defTabSz="914400" rtl="0" eaLnBrk="1" fontAlgn="auto" latinLnBrk="0" hangingPunct="1">
                <a:lnSpc>
                  <a:spcPct val="100000"/>
                </a:lnSpc>
                <a:spcBef>
                  <a:spcPts val="0"/>
                </a:spcBef>
                <a:spcAft>
                  <a:spcPts val="225"/>
                </a:spcAft>
                <a:buClrTx/>
                <a:buSzTx/>
                <a:buFontTx/>
                <a:buNone/>
                <a:tabLst/>
                <a:defRPr/>
              </a:pPr>
              <a:r>
                <a:rPr kumimoji="0" lang="es-MX" sz="10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sym typeface="Gotham Book" charset="0"/>
                </a:rPr>
                <a:t>Requerimientos en relación a los saldos abiertos</a:t>
              </a:r>
            </a:p>
          </p:txBody>
        </p:sp>
        <p:cxnSp>
          <p:nvCxnSpPr>
            <p:cNvPr id="223" name="Straight Connector 222">
              <a:extLst>
                <a:ext uri="{FF2B5EF4-FFF2-40B4-BE49-F238E27FC236}">
                  <a16:creationId xmlns:a16="http://schemas.microsoft.com/office/drawing/2014/main" id="{C0B86FC4-2DE4-4A25-87BC-F32109C3457F}"/>
                </a:ext>
              </a:extLst>
            </p:cNvPr>
            <p:cNvCxnSpPr>
              <a:cxnSpLocks/>
            </p:cNvCxnSpPr>
            <p:nvPr/>
          </p:nvCxnSpPr>
          <p:spPr>
            <a:xfrm>
              <a:off x="6270178" y="2478202"/>
              <a:ext cx="3913313"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chemeClr val="accent6">
                      <a:lumMod val="75000"/>
                    </a:schemeClr>
                  </a:gs>
                </a:gsLst>
                <a:lin ang="0" scaled="1"/>
                <a:tileRect/>
              </a:gradFill>
              <a:miter lim="800000"/>
              <a:headEnd/>
              <a:tailEnd type="none" w="lg" len="lg"/>
            </a:ln>
          </p:spPr>
        </p:cxnSp>
        <p:cxnSp>
          <p:nvCxnSpPr>
            <p:cNvPr id="224" name="Straight Connector 223">
              <a:extLst>
                <a:ext uri="{FF2B5EF4-FFF2-40B4-BE49-F238E27FC236}">
                  <a16:creationId xmlns:a16="http://schemas.microsoft.com/office/drawing/2014/main" id="{E8228A18-081A-4834-BEC0-ADB2CF894D6E}"/>
                </a:ext>
              </a:extLst>
            </p:cNvPr>
            <p:cNvCxnSpPr>
              <a:cxnSpLocks/>
            </p:cNvCxnSpPr>
            <p:nvPr/>
          </p:nvCxnSpPr>
          <p:spPr>
            <a:xfrm>
              <a:off x="6270178" y="3172357"/>
              <a:ext cx="3913313"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chemeClr val="accent6">
                      <a:lumMod val="75000"/>
                    </a:schemeClr>
                  </a:gs>
                </a:gsLst>
                <a:lin ang="0" scaled="1"/>
                <a:tileRect/>
              </a:gradFill>
              <a:miter lim="800000"/>
              <a:headEnd/>
              <a:tailEnd type="none" w="lg" len="lg"/>
            </a:ln>
          </p:spPr>
        </p:cxnSp>
        <p:cxnSp>
          <p:nvCxnSpPr>
            <p:cNvPr id="225" name="Straight Connector 224">
              <a:extLst>
                <a:ext uri="{FF2B5EF4-FFF2-40B4-BE49-F238E27FC236}">
                  <a16:creationId xmlns:a16="http://schemas.microsoft.com/office/drawing/2014/main" id="{0AC8A759-E312-45DB-8B8F-7A5AE70F0F1A}"/>
                </a:ext>
              </a:extLst>
            </p:cNvPr>
            <p:cNvCxnSpPr>
              <a:cxnSpLocks/>
            </p:cNvCxnSpPr>
            <p:nvPr/>
          </p:nvCxnSpPr>
          <p:spPr>
            <a:xfrm>
              <a:off x="6270178" y="3866512"/>
              <a:ext cx="3913313"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chemeClr val="accent6">
                      <a:lumMod val="75000"/>
                    </a:schemeClr>
                  </a:gs>
                </a:gsLst>
                <a:lin ang="0" scaled="1"/>
                <a:tileRect/>
              </a:gradFill>
              <a:miter lim="800000"/>
              <a:headEnd/>
              <a:tailEnd type="none" w="lg" len="lg"/>
            </a:ln>
          </p:spPr>
        </p:cxnSp>
        <p:cxnSp>
          <p:nvCxnSpPr>
            <p:cNvPr id="226" name="Straight Connector 225">
              <a:extLst>
                <a:ext uri="{FF2B5EF4-FFF2-40B4-BE49-F238E27FC236}">
                  <a16:creationId xmlns:a16="http://schemas.microsoft.com/office/drawing/2014/main" id="{1DB27507-FF8D-4DEE-B972-E5BD9DB82664}"/>
                </a:ext>
              </a:extLst>
            </p:cNvPr>
            <p:cNvCxnSpPr>
              <a:cxnSpLocks/>
            </p:cNvCxnSpPr>
            <p:nvPr/>
          </p:nvCxnSpPr>
          <p:spPr>
            <a:xfrm>
              <a:off x="6270178" y="4560667"/>
              <a:ext cx="3913313"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chemeClr val="accent6">
                      <a:lumMod val="75000"/>
                    </a:schemeClr>
                  </a:gs>
                </a:gsLst>
                <a:lin ang="0" scaled="1"/>
                <a:tileRect/>
              </a:gradFill>
              <a:miter lim="800000"/>
              <a:headEnd/>
              <a:tailEnd type="none" w="lg" len="lg"/>
            </a:ln>
          </p:spPr>
        </p:cxnSp>
        <p:grpSp>
          <p:nvGrpSpPr>
            <p:cNvPr id="227" name="Group 74">
              <a:extLst>
                <a:ext uri="{FF2B5EF4-FFF2-40B4-BE49-F238E27FC236}">
                  <a16:creationId xmlns:a16="http://schemas.microsoft.com/office/drawing/2014/main" id="{7847FEF3-EC51-48C0-984F-0A3935FD0361}"/>
                </a:ext>
              </a:extLst>
            </p:cNvPr>
            <p:cNvGrpSpPr>
              <a:grpSpLocks noChangeAspect="1"/>
            </p:cNvGrpSpPr>
            <p:nvPr/>
          </p:nvGrpSpPr>
          <p:grpSpPr bwMode="auto">
            <a:xfrm>
              <a:off x="5693704" y="2752682"/>
              <a:ext cx="433619" cy="419963"/>
              <a:chOff x="2417" y="4694"/>
              <a:chExt cx="1143" cy="1107"/>
            </a:xfrm>
            <a:solidFill>
              <a:srgbClr val="00A3E0"/>
            </a:solidFill>
          </p:grpSpPr>
          <p:sp>
            <p:nvSpPr>
              <p:cNvPr id="228" name="Freeform 75">
                <a:extLst>
                  <a:ext uri="{FF2B5EF4-FFF2-40B4-BE49-F238E27FC236}">
                    <a16:creationId xmlns:a16="http://schemas.microsoft.com/office/drawing/2014/main" id="{F70F5629-21BD-4FE4-BC7D-F3E73A74FABD}"/>
                  </a:ext>
                </a:extLst>
              </p:cNvPr>
              <p:cNvSpPr>
                <a:spLocks noEditPoints="1"/>
              </p:cNvSpPr>
              <p:nvPr/>
            </p:nvSpPr>
            <p:spPr bwMode="auto">
              <a:xfrm>
                <a:off x="2855" y="5044"/>
                <a:ext cx="113"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1" y="0"/>
                      <a:pt x="0" y="11"/>
                      <a:pt x="0" y="25"/>
                    </a:cubicBezTo>
                    <a:cubicBezTo>
                      <a:pt x="17" y="25"/>
                      <a:pt x="17" y="25"/>
                      <a:pt x="17" y="25"/>
                    </a:cubicBezTo>
                    <a:cubicBezTo>
                      <a:pt x="17" y="21"/>
                      <a:pt x="21" y="17"/>
                      <a:pt x="26" y="17"/>
                    </a:cubicBezTo>
                    <a:cubicBezTo>
                      <a:pt x="30"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29" name="Freeform 76">
                <a:extLst>
                  <a:ext uri="{FF2B5EF4-FFF2-40B4-BE49-F238E27FC236}">
                    <a16:creationId xmlns:a16="http://schemas.microsoft.com/office/drawing/2014/main" id="{09A91123-6DCB-47D3-895B-1B52B034CCD3}"/>
                  </a:ext>
                </a:extLst>
              </p:cNvPr>
              <p:cNvSpPr>
                <a:spLocks noEditPoints="1"/>
              </p:cNvSpPr>
              <p:nvPr/>
            </p:nvSpPr>
            <p:spPr bwMode="auto">
              <a:xfrm>
                <a:off x="3006" y="5044"/>
                <a:ext cx="114" cy="54"/>
              </a:xfrm>
              <a:custGeom>
                <a:avLst/>
                <a:gdLst>
                  <a:gd name="T0" fmla="*/ 26 w 51"/>
                  <a:gd name="T1" fmla="*/ 0 h 25"/>
                  <a:gd name="T2" fmla="*/ 0 w 51"/>
                  <a:gd name="T3" fmla="*/ 25 h 25"/>
                  <a:gd name="T4" fmla="*/ 17 w 51"/>
                  <a:gd name="T5" fmla="*/ 25 h 25"/>
                  <a:gd name="T6" fmla="*/ 26 w 51"/>
                  <a:gd name="T7" fmla="*/ 17 h 25"/>
                  <a:gd name="T8" fmla="*/ 34 w 51"/>
                  <a:gd name="T9" fmla="*/ 25 h 25"/>
                  <a:gd name="T10" fmla="*/ 51 w 51"/>
                  <a:gd name="T11" fmla="*/ 25 h 25"/>
                  <a:gd name="T12" fmla="*/ 26 w 51"/>
                  <a:gd name="T13" fmla="*/ 0 h 25"/>
                  <a:gd name="T14" fmla="*/ 26 w 51"/>
                  <a:gd name="T15" fmla="*/ 0 h 25"/>
                  <a:gd name="T16" fmla="*/ 26 w 5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25">
                    <a:moveTo>
                      <a:pt x="26" y="0"/>
                    </a:moveTo>
                    <a:cubicBezTo>
                      <a:pt x="12" y="0"/>
                      <a:pt x="0" y="11"/>
                      <a:pt x="0" y="25"/>
                    </a:cubicBezTo>
                    <a:cubicBezTo>
                      <a:pt x="17" y="25"/>
                      <a:pt x="17" y="25"/>
                      <a:pt x="17" y="25"/>
                    </a:cubicBezTo>
                    <a:cubicBezTo>
                      <a:pt x="17" y="21"/>
                      <a:pt x="21" y="17"/>
                      <a:pt x="26" y="17"/>
                    </a:cubicBezTo>
                    <a:cubicBezTo>
                      <a:pt x="31" y="17"/>
                      <a:pt x="34" y="21"/>
                      <a:pt x="34" y="25"/>
                    </a:cubicBezTo>
                    <a:cubicBezTo>
                      <a:pt x="51" y="25"/>
                      <a:pt x="51" y="25"/>
                      <a:pt x="51" y="25"/>
                    </a:cubicBezTo>
                    <a:cubicBezTo>
                      <a:pt x="51" y="11"/>
                      <a:pt x="40" y="0"/>
                      <a:pt x="26" y="0"/>
                    </a:cubicBezTo>
                    <a:close/>
                    <a:moveTo>
                      <a:pt x="26" y="0"/>
                    </a:moveTo>
                    <a:cubicBezTo>
                      <a:pt x="26" y="0"/>
                      <a:pt x="26" y="0"/>
                      <a:pt x="26"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0" name="Freeform 77">
                <a:extLst>
                  <a:ext uri="{FF2B5EF4-FFF2-40B4-BE49-F238E27FC236}">
                    <a16:creationId xmlns:a16="http://schemas.microsoft.com/office/drawing/2014/main" id="{58A17C57-0F33-4F72-946D-ED4EC9BC1A02}"/>
                  </a:ext>
                </a:extLst>
              </p:cNvPr>
              <p:cNvSpPr>
                <a:spLocks noEditPoints="1"/>
              </p:cNvSpPr>
              <p:nvPr/>
            </p:nvSpPr>
            <p:spPr bwMode="auto">
              <a:xfrm>
                <a:off x="2913" y="5542"/>
                <a:ext cx="151" cy="147"/>
              </a:xfrm>
              <a:custGeom>
                <a:avLst/>
                <a:gdLst>
                  <a:gd name="T0" fmla="*/ 34 w 68"/>
                  <a:gd name="T1" fmla="*/ 0 h 68"/>
                  <a:gd name="T2" fmla="*/ 0 w 68"/>
                  <a:gd name="T3" fmla="*/ 34 h 68"/>
                  <a:gd name="T4" fmla="*/ 34 w 68"/>
                  <a:gd name="T5" fmla="*/ 68 h 68"/>
                  <a:gd name="T6" fmla="*/ 68 w 68"/>
                  <a:gd name="T7" fmla="*/ 34 h 68"/>
                  <a:gd name="T8" fmla="*/ 34 w 68"/>
                  <a:gd name="T9" fmla="*/ 0 h 68"/>
                  <a:gd name="T10" fmla="*/ 34 w 68"/>
                  <a:gd name="T11" fmla="*/ 51 h 68"/>
                  <a:gd name="T12" fmla="*/ 17 w 68"/>
                  <a:gd name="T13" fmla="*/ 34 h 68"/>
                  <a:gd name="T14" fmla="*/ 34 w 68"/>
                  <a:gd name="T15" fmla="*/ 17 h 68"/>
                  <a:gd name="T16" fmla="*/ 51 w 68"/>
                  <a:gd name="T17" fmla="*/ 34 h 68"/>
                  <a:gd name="T18" fmla="*/ 34 w 68"/>
                  <a:gd name="T19" fmla="*/ 51 h 68"/>
                  <a:gd name="T20" fmla="*/ 34 w 68"/>
                  <a:gd name="T21" fmla="*/ 51 h 68"/>
                  <a:gd name="T22" fmla="*/ 34 w 68"/>
                  <a:gd name="T23"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 h="68">
                    <a:moveTo>
                      <a:pt x="34" y="0"/>
                    </a:moveTo>
                    <a:cubicBezTo>
                      <a:pt x="15" y="0"/>
                      <a:pt x="0" y="16"/>
                      <a:pt x="0" y="34"/>
                    </a:cubicBezTo>
                    <a:cubicBezTo>
                      <a:pt x="0" y="53"/>
                      <a:pt x="15" y="68"/>
                      <a:pt x="34" y="68"/>
                    </a:cubicBezTo>
                    <a:cubicBezTo>
                      <a:pt x="52" y="68"/>
                      <a:pt x="68" y="53"/>
                      <a:pt x="68" y="34"/>
                    </a:cubicBezTo>
                    <a:cubicBezTo>
                      <a:pt x="68" y="16"/>
                      <a:pt x="52" y="0"/>
                      <a:pt x="34" y="0"/>
                    </a:cubicBezTo>
                    <a:close/>
                    <a:moveTo>
                      <a:pt x="34" y="51"/>
                    </a:moveTo>
                    <a:cubicBezTo>
                      <a:pt x="24" y="51"/>
                      <a:pt x="17" y="44"/>
                      <a:pt x="17" y="34"/>
                    </a:cubicBezTo>
                    <a:cubicBezTo>
                      <a:pt x="17" y="25"/>
                      <a:pt x="24" y="17"/>
                      <a:pt x="34" y="17"/>
                    </a:cubicBezTo>
                    <a:cubicBezTo>
                      <a:pt x="43" y="17"/>
                      <a:pt x="51" y="25"/>
                      <a:pt x="51" y="34"/>
                    </a:cubicBezTo>
                    <a:cubicBezTo>
                      <a:pt x="51" y="44"/>
                      <a:pt x="43" y="51"/>
                      <a:pt x="34" y="51"/>
                    </a:cubicBezTo>
                    <a:close/>
                    <a:moveTo>
                      <a:pt x="34" y="51"/>
                    </a:moveTo>
                    <a:cubicBezTo>
                      <a:pt x="34" y="51"/>
                      <a:pt x="34" y="51"/>
                      <a:pt x="34" y="51"/>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1" name="Freeform 78">
                <a:extLst>
                  <a:ext uri="{FF2B5EF4-FFF2-40B4-BE49-F238E27FC236}">
                    <a16:creationId xmlns:a16="http://schemas.microsoft.com/office/drawing/2014/main" id="{DFE9CEE0-1091-4142-8736-3D86E0B81938}"/>
                  </a:ext>
                </a:extLst>
              </p:cNvPr>
              <p:cNvSpPr>
                <a:spLocks noEditPoints="1"/>
              </p:cNvSpPr>
              <p:nvPr/>
            </p:nvSpPr>
            <p:spPr bwMode="auto">
              <a:xfrm>
                <a:off x="2417" y="4694"/>
                <a:ext cx="1143" cy="1107"/>
              </a:xfrm>
              <a:custGeom>
                <a:avLst/>
                <a:gdLst>
                  <a:gd name="T0" fmla="*/ 460 w 512"/>
                  <a:gd name="T1" fmla="*/ 384 h 512"/>
                  <a:gd name="T2" fmla="*/ 323 w 512"/>
                  <a:gd name="T3" fmla="*/ 256 h 512"/>
                  <a:gd name="T4" fmla="*/ 341 w 512"/>
                  <a:gd name="T5" fmla="*/ 247 h 512"/>
                  <a:gd name="T6" fmla="*/ 384 w 512"/>
                  <a:gd name="T7" fmla="*/ 189 h 512"/>
                  <a:gd name="T8" fmla="*/ 384 w 512"/>
                  <a:gd name="T9" fmla="*/ 126 h 512"/>
                  <a:gd name="T10" fmla="*/ 128 w 512"/>
                  <a:gd name="T11" fmla="*/ 126 h 512"/>
                  <a:gd name="T12" fmla="*/ 149 w 512"/>
                  <a:gd name="T13" fmla="*/ 196 h 512"/>
                  <a:gd name="T14" fmla="*/ 188 w 512"/>
                  <a:gd name="T15" fmla="*/ 256 h 512"/>
                  <a:gd name="T16" fmla="*/ 51 w 512"/>
                  <a:gd name="T17" fmla="*/ 384 h 512"/>
                  <a:gd name="T18" fmla="*/ 0 w 512"/>
                  <a:gd name="T19" fmla="*/ 495 h 512"/>
                  <a:gd name="T20" fmla="*/ 512 w 512"/>
                  <a:gd name="T21" fmla="*/ 512 h 512"/>
                  <a:gd name="T22" fmla="*/ 460 w 512"/>
                  <a:gd name="T23" fmla="*/ 495 h 512"/>
                  <a:gd name="T24" fmla="*/ 344 w 512"/>
                  <a:gd name="T25" fmla="*/ 230 h 512"/>
                  <a:gd name="T26" fmla="*/ 362 w 512"/>
                  <a:gd name="T27" fmla="*/ 196 h 512"/>
                  <a:gd name="T28" fmla="*/ 367 w 512"/>
                  <a:gd name="T29" fmla="*/ 204 h 512"/>
                  <a:gd name="T30" fmla="*/ 362 w 512"/>
                  <a:gd name="T31" fmla="*/ 179 h 512"/>
                  <a:gd name="T32" fmla="*/ 358 w 512"/>
                  <a:gd name="T33" fmla="*/ 136 h 512"/>
                  <a:gd name="T34" fmla="*/ 384 w 512"/>
                  <a:gd name="T35" fmla="*/ 158 h 512"/>
                  <a:gd name="T36" fmla="*/ 149 w 512"/>
                  <a:gd name="T37" fmla="*/ 179 h 512"/>
                  <a:gd name="T38" fmla="*/ 149 w 512"/>
                  <a:gd name="T39" fmla="*/ 136 h 512"/>
                  <a:gd name="T40" fmla="*/ 153 w 512"/>
                  <a:gd name="T41" fmla="*/ 179 h 512"/>
                  <a:gd name="T42" fmla="*/ 145 w 512"/>
                  <a:gd name="T43" fmla="*/ 120 h 512"/>
                  <a:gd name="T44" fmla="*/ 366 w 512"/>
                  <a:gd name="T45" fmla="*/ 120 h 512"/>
                  <a:gd name="T46" fmla="*/ 357 w 512"/>
                  <a:gd name="T47" fmla="*/ 119 h 512"/>
                  <a:gd name="T48" fmla="*/ 155 w 512"/>
                  <a:gd name="T49" fmla="*/ 119 h 512"/>
                  <a:gd name="T50" fmla="*/ 341 w 512"/>
                  <a:gd name="T51" fmla="*/ 136 h 512"/>
                  <a:gd name="T52" fmla="*/ 230 w 512"/>
                  <a:gd name="T53" fmla="*/ 76 h 512"/>
                  <a:gd name="T54" fmla="*/ 171 w 512"/>
                  <a:gd name="T55" fmla="*/ 127 h 512"/>
                  <a:gd name="T56" fmla="*/ 341 w 512"/>
                  <a:gd name="T57" fmla="*/ 136 h 512"/>
                  <a:gd name="T58" fmla="*/ 170 w 512"/>
                  <a:gd name="T59" fmla="*/ 144 h 512"/>
                  <a:gd name="T60" fmla="*/ 341 w 512"/>
                  <a:gd name="T61" fmla="*/ 153 h 512"/>
                  <a:gd name="T62" fmla="*/ 324 w 512"/>
                  <a:gd name="T63" fmla="*/ 230 h 512"/>
                  <a:gd name="T64" fmla="*/ 256 w 512"/>
                  <a:gd name="T65" fmla="*/ 247 h 512"/>
                  <a:gd name="T66" fmla="*/ 291 w 512"/>
                  <a:gd name="T67" fmla="*/ 257 h 512"/>
                  <a:gd name="T68" fmla="*/ 170 w 512"/>
                  <a:gd name="T69" fmla="*/ 179 h 512"/>
                  <a:gd name="T70" fmla="*/ 256 w 512"/>
                  <a:gd name="T71" fmla="*/ 281 h 512"/>
                  <a:gd name="T72" fmla="*/ 256 w 512"/>
                  <a:gd name="T73" fmla="*/ 330 h 512"/>
                  <a:gd name="T74" fmla="*/ 242 w 512"/>
                  <a:gd name="T75" fmla="*/ 341 h 512"/>
                  <a:gd name="T76" fmla="*/ 193 w 512"/>
                  <a:gd name="T77" fmla="*/ 273 h 512"/>
                  <a:gd name="T78" fmla="*/ 242 w 512"/>
                  <a:gd name="T79" fmla="*/ 341 h 512"/>
                  <a:gd name="T80" fmla="*/ 319 w 512"/>
                  <a:gd name="T81" fmla="*/ 273 h 512"/>
                  <a:gd name="T82" fmla="*/ 269 w 512"/>
                  <a:gd name="T83" fmla="*/ 341 h 512"/>
                  <a:gd name="T84" fmla="*/ 94 w 512"/>
                  <a:gd name="T85" fmla="*/ 384 h 512"/>
                  <a:gd name="T86" fmla="*/ 68 w 512"/>
                  <a:gd name="T87" fmla="*/ 495 h 512"/>
                  <a:gd name="T88" fmla="*/ 174 w 512"/>
                  <a:gd name="T89" fmla="*/ 273 h 512"/>
                  <a:gd name="T90" fmla="*/ 136 w 512"/>
                  <a:gd name="T91" fmla="*/ 341 h 512"/>
                  <a:gd name="T92" fmla="*/ 401 w 512"/>
                  <a:gd name="T93" fmla="*/ 495 h 512"/>
                  <a:gd name="T94" fmla="*/ 111 w 512"/>
                  <a:gd name="T95" fmla="*/ 384 h 512"/>
                  <a:gd name="T96" fmla="*/ 375 w 512"/>
                  <a:gd name="T97" fmla="*/ 358 h 512"/>
                  <a:gd name="T98" fmla="*/ 401 w 512"/>
                  <a:gd name="T99" fmla="*/ 495 h 512"/>
                  <a:gd name="T100" fmla="*/ 418 w 512"/>
                  <a:gd name="T101" fmla="*/ 495 h 512"/>
                  <a:gd name="T102" fmla="*/ 375 w 512"/>
                  <a:gd name="T103" fmla="*/ 341 h 512"/>
                  <a:gd name="T104" fmla="*/ 338 w 512"/>
                  <a:gd name="T105" fmla="*/ 273 h 512"/>
                  <a:gd name="T106" fmla="*/ 443 w 512"/>
                  <a:gd name="T107" fmla="*/ 495 h 512"/>
                  <a:gd name="T108" fmla="*/ 443 w 512"/>
                  <a:gd name="T109" fmla="*/ 4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460" y="495"/>
                    </a:moveTo>
                    <a:cubicBezTo>
                      <a:pt x="460" y="384"/>
                      <a:pt x="460" y="384"/>
                      <a:pt x="460" y="384"/>
                    </a:cubicBezTo>
                    <a:cubicBezTo>
                      <a:pt x="460" y="313"/>
                      <a:pt x="403" y="256"/>
                      <a:pt x="332" y="256"/>
                    </a:cubicBezTo>
                    <a:cubicBezTo>
                      <a:pt x="323" y="256"/>
                      <a:pt x="323" y="256"/>
                      <a:pt x="323" y="256"/>
                    </a:cubicBezTo>
                    <a:cubicBezTo>
                      <a:pt x="326" y="253"/>
                      <a:pt x="329" y="250"/>
                      <a:pt x="332" y="247"/>
                    </a:cubicBezTo>
                    <a:cubicBezTo>
                      <a:pt x="341" y="247"/>
                      <a:pt x="341" y="247"/>
                      <a:pt x="341" y="247"/>
                    </a:cubicBezTo>
                    <a:cubicBezTo>
                      <a:pt x="365" y="247"/>
                      <a:pt x="384" y="228"/>
                      <a:pt x="384" y="204"/>
                    </a:cubicBezTo>
                    <a:cubicBezTo>
                      <a:pt x="384" y="189"/>
                      <a:pt x="384" y="189"/>
                      <a:pt x="384" y="189"/>
                    </a:cubicBezTo>
                    <a:cubicBezTo>
                      <a:pt x="394" y="183"/>
                      <a:pt x="401" y="171"/>
                      <a:pt x="401" y="158"/>
                    </a:cubicBezTo>
                    <a:cubicBezTo>
                      <a:pt x="401" y="144"/>
                      <a:pt x="394" y="132"/>
                      <a:pt x="384" y="126"/>
                    </a:cubicBezTo>
                    <a:cubicBezTo>
                      <a:pt x="382" y="56"/>
                      <a:pt x="326" y="0"/>
                      <a:pt x="256" y="0"/>
                    </a:cubicBezTo>
                    <a:cubicBezTo>
                      <a:pt x="186" y="0"/>
                      <a:pt x="129" y="56"/>
                      <a:pt x="128" y="126"/>
                    </a:cubicBezTo>
                    <a:cubicBezTo>
                      <a:pt x="117" y="132"/>
                      <a:pt x="111" y="144"/>
                      <a:pt x="111" y="158"/>
                    </a:cubicBezTo>
                    <a:cubicBezTo>
                      <a:pt x="111" y="179"/>
                      <a:pt x="128" y="196"/>
                      <a:pt x="149" y="196"/>
                    </a:cubicBezTo>
                    <a:cubicBezTo>
                      <a:pt x="155" y="196"/>
                      <a:pt x="155" y="196"/>
                      <a:pt x="155" y="196"/>
                    </a:cubicBezTo>
                    <a:cubicBezTo>
                      <a:pt x="159" y="220"/>
                      <a:pt x="171" y="240"/>
                      <a:pt x="188" y="256"/>
                    </a:cubicBezTo>
                    <a:cubicBezTo>
                      <a:pt x="179" y="256"/>
                      <a:pt x="179" y="256"/>
                      <a:pt x="179" y="256"/>
                    </a:cubicBezTo>
                    <a:cubicBezTo>
                      <a:pt x="108" y="256"/>
                      <a:pt x="51" y="313"/>
                      <a:pt x="51" y="384"/>
                    </a:cubicBezTo>
                    <a:cubicBezTo>
                      <a:pt x="51" y="495"/>
                      <a:pt x="51" y="495"/>
                      <a:pt x="51" y="495"/>
                    </a:cubicBezTo>
                    <a:cubicBezTo>
                      <a:pt x="0" y="495"/>
                      <a:pt x="0" y="495"/>
                      <a:pt x="0" y="495"/>
                    </a:cubicBezTo>
                    <a:cubicBezTo>
                      <a:pt x="0" y="512"/>
                      <a:pt x="0" y="512"/>
                      <a:pt x="0" y="512"/>
                    </a:cubicBezTo>
                    <a:cubicBezTo>
                      <a:pt x="512" y="512"/>
                      <a:pt x="512" y="512"/>
                      <a:pt x="512" y="512"/>
                    </a:cubicBezTo>
                    <a:cubicBezTo>
                      <a:pt x="512" y="495"/>
                      <a:pt x="512" y="495"/>
                      <a:pt x="512" y="495"/>
                    </a:cubicBezTo>
                    <a:lnTo>
                      <a:pt x="460" y="495"/>
                    </a:lnTo>
                    <a:close/>
                    <a:moveTo>
                      <a:pt x="367" y="204"/>
                    </a:moveTo>
                    <a:cubicBezTo>
                      <a:pt x="367" y="217"/>
                      <a:pt x="357" y="228"/>
                      <a:pt x="344" y="230"/>
                    </a:cubicBezTo>
                    <a:cubicBezTo>
                      <a:pt x="350" y="219"/>
                      <a:pt x="354" y="208"/>
                      <a:pt x="357" y="196"/>
                    </a:cubicBezTo>
                    <a:cubicBezTo>
                      <a:pt x="362" y="196"/>
                      <a:pt x="362" y="196"/>
                      <a:pt x="362" y="196"/>
                    </a:cubicBezTo>
                    <a:cubicBezTo>
                      <a:pt x="364" y="196"/>
                      <a:pt x="365" y="196"/>
                      <a:pt x="367" y="196"/>
                    </a:cubicBezTo>
                    <a:lnTo>
                      <a:pt x="367" y="204"/>
                    </a:lnTo>
                    <a:close/>
                    <a:moveTo>
                      <a:pt x="384" y="158"/>
                    </a:moveTo>
                    <a:cubicBezTo>
                      <a:pt x="384" y="169"/>
                      <a:pt x="374" y="179"/>
                      <a:pt x="362" y="179"/>
                    </a:cubicBezTo>
                    <a:cubicBezTo>
                      <a:pt x="358" y="179"/>
                      <a:pt x="358" y="179"/>
                      <a:pt x="358" y="179"/>
                    </a:cubicBezTo>
                    <a:cubicBezTo>
                      <a:pt x="358" y="136"/>
                      <a:pt x="358" y="136"/>
                      <a:pt x="358" y="136"/>
                    </a:cubicBezTo>
                    <a:cubicBezTo>
                      <a:pt x="362" y="136"/>
                      <a:pt x="362" y="136"/>
                      <a:pt x="362" y="136"/>
                    </a:cubicBezTo>
                    <a:cubicBezTo>
                      <a:pt x="374" y="136"/>
                      <a:pt x="384" y="146"/>
                      <a:pt x="384" y="158"/>
                    </a:cubicBezTo>
                    <a:close/>
                    <a:moveTo>
                      <a:pt x="153" y="179"/>
                    </a:moveTo>
                    <a:cubicBezTo>
                      <a:pt x="149" y="179"/>
                      <a:pt x="149" y="179"/>
                      <a:pt x="149" y="179"/>
                    </a:cubicBezTo>
                    <a:cubicBezTo>
                      <a:pt x="137" y="179"/>
                      <a:pt x="128" y="169"/>
                      <a:pt x="128" y="158"/>
                    </a:cubicBezTo>
                    <a:cubicBezTo>
                      <a:pt x="128" y="146"/>
                      <a:pt x="137" y="136"/>
                      <a:pt x="149" y="136"/>
                    </a:cubicBezTo>
                    <a:cubicBezTo>
                      <a:pt x="153" y="136"/>
                      <a:pt x="153" y="136"/>
                      <a:pt x="153" y="136"/>
                    </a:cubicBezTo>
                    <a:lnTo>
                      <a:pt x="153" y="179"/>
                    </a:lnTo>
                    <a:close/>
                    <a:moveTo>
                      <a:pt x="149" y="119"/>
                    </a:moveTo>
                    <a:cubicBezTo>
                      <a:pt x="148" y="119"/>
                      <a:pt x="146" y="119"/>
                      <a:pt x="145" y="120"/>
                    </a:cubicBezTo>
                    <a:cubicBezTo>
                      <a:pt x="149" y="62"/>
                      <a:pt x="197" y="17"/>
                      <a:pt x="256" y="17"/>
                    </a:cubicBezTo>
                    <a:cubicBezTo>
                      <a:pt x="314" y="17"/>
                      <a:pt x="362" y="62"/>
                      <a:pt x="366" y="120"/>
                    </a:cubicBezTo>
                    <a:cubicBezTo>
                      <a:pt x="365" y="119"/>
                      <a:pt x="364" y="119"/>
                      <a:pt x="362" y="119"/>
                    </a:cubicBezTo>
                    <a:cubicBezTo>
                      <a:pt x="357" y="119"/>
                      <a:pt x="357" y="119"/>
                      <a:pt x="357" y="119"/>
                    </a:cubicBezTo>
                    <a:cubicBezTo>
                      <a:pt x="348" y="71"/>
                      <a:pt x="306" y="34"/>
                      <a:pt x="256" y="34"/>
                    </a:cubicBezTo>
                    <a:cubicBezTo>
                      <a:pt x="205" y="34"/>
                      <a:pt x="163" y="71"/>
                      <a:pt x="155" y="119"/>
                    </a:cubicBezTo>
                    <a:lnTo>
                      <a:pt x="149" y="119"/>
                    </a:lnTo>
                    <a:close/>
                    <a:moveTo>
                      <a:pt x="341" y="136"/>
                    </a:moveTo>
                    <a:cubicBezTo>
                      <a:pt x="279" y="134"/>
                      <a:pt x="239" y="109"/>
                      <a:pt x="239" y="85"/>
                    </a:cubicBezTo>
                    <a:cubicBezTo>
                      <a:pt x="239" y="80"/>
                      <a:pt x="235" y="76"/>
                      <a:pt x="230" y="76"/>
                    </a:cubicBezTo>
                    <a:cubicBezTo>
                      <a:pt x="225" y="76"/>
                      <a:pt x="222" y="80"/>
                      <a:pt x="222" y="85"/>
                    </a:cubicBezTo>
                    <a:cubicBezTo>
                      <a:pt x="222" y="106"/>
                      <a:pt x="199" y="124"/>
                      <a:pt x="171" y="127"/>
                    </a:cubicBezTo>
                    <a:cubicBezTo>
                      <a:pt x="175" y="84"/>
                      <a:pt x="212" y="51"/>
                      <a:pt x="256" y="51"/>
                    </a:cubicBezTo>
                    <a:cubicBezTo>
                      <a:pt x="303" y="51"/>
                      <a:pt x="341" y="89"/>
                      <a:pt x="341" y="136"/>
                    </a:cubicBezTo>
                    <a:close/>
                    <a:moveTo>
                      <a:pt x="170" y="179"/>
                    </a:moveTo>
                    <a:cubicBezTo>
                      <a:pt x="170" y="144"/>
                      <a:pt x="170" y="144"/>
                      <a:pt x="170" y="144"/>
                    </a:cubicBezTo>
                    <a:cubicBezTo>
                      <a:pt x="197" y="142"/>
                      <a:pt x="220" y="129"/>
                      <a:pt x="231" y="111"/>
                    </a:cubicBezTo>
                    <a:cubicBezTo>
                      <a:pt x="249" y="135"/>
                      <a:pt x="290" y="151"/>
                      <a:pt x="341" y="153"/>
                    </a:cubicBezTo>
                    <a:cubicBezTo>
                      <a:pt x="341" y="179"/>
                      <a:pt x="341" y="179"/>
                      <a:pt x="341" y="179"/>
                    </a:cubicBezTo>
                    <a:cubicBezTo>
                      <a:pt x="341" y="198"/>
                      <a:pt x="335" y="216"/>
                      <a:pt x="324" y="230"/>
                    </a:cubicBezTo>
                    <a:cubicBezTo>
                      <a:pt x="256" y="230"/>
                      <a:pt x="256" y="230"/>
                      <a:pt x="256" y="230"/>
                    </a:cubicBezTo>
                    <a:cubicBezTo>
                      <a:pt x="256" y="247"/>
                      <a:pt x="256" y="247"/>
                      <a:pt x="256" y="247"/>
                    </a:cubicBezTo>
                    <a:cubicBezTo>
                      <a:pt x="307" y="247"/>
                      <a:pt x="307" y="247"/>
                      <a:pt x="307" y="247"/>
                    </a:cubicBezTo>
                    <a:cubicBezTo>
                      <a:pt x="302" y="251"/>
                      <a:pt x="296" y="254"/>
                      <a:pt x="291" y="257"/>
                    </a:cubicBezTo>
                    <a:cubicBezTo>
                      <a:pt x="268" y="267"/>
                      <a:pt x="243" y="267"/>
                      <a:pt x="220" y="257"/>
                    </a:cubicBezTo>
                    <a:cubicBezTo>
                      <a:pt x="191" y="243"/>
                      <a:pt x="170" y="213"/>
                      <a:pt x="170" y="179"/>
                    </a:cubicBezTo>
                    <a:close/>
                    <a:moveTo>
                      <a:pt x="229" y="278"/>
                    </a:moveTo>
                    <a:cubicBezTo>
                      <a:pt x="238" y="280"/>
                      <a:pt x="247" y="281"/>
                      <a:pt x="256" y="281"/>
                    </a:cubicBezTo>
                    <a:cubicBezTo>
                      <a:pt x="265" y="281"/>
                      <a:pt x="274" y="280"/>
                      <a:pt x="282" y="278"/>
                    </a:cubicBezTo>
                    <a:cubicBezTo>
                      <a:pt x="256" y="330"/>
                      <a:pt x="256" y="330"/>
                      <a:pt x="256" y="330"/>
                    </a:cubicBezTo>
                    <a:lnTo>
                      <a:pt x="229" y="278"/>
                    </a:lnTo>
                    <a:close/>
                    <a:moveTo>
                      <a:pt x="242" y="341"/>
                    </a:moveTo>
                    <a:cubicBezTo>
                      <a:pt x="227" y="341"/>
                      <a:pt x="227" y="341"/>
                      <a:pt x="227" y="341"/>
                    </a:cubicBezTo>
                    <a:cubicBezTo>
                      <a:pt x="193" y="273"/>
                      <a:pt x="193" y="273"/>
                      <a:pt x="193" y="273"/>
                    </a:cubicBezTo>
                    <a:cubicBezTo>
                      <a:pt x="208" y="273"/>
                      <a:pt x="208" y="273"/>
                      <a:pt x="208" y="273"/>
                    </a:cubicBezTo>
                    <a:lnTo>
                      <a:pt x="242" y="341"/>
                    </a:lnTo>
                    <a:close/>
                    <a:moveTo>
                      <a:pt x="304" y="273"/>
                    </a:moveTo>
                    <a:cubicBezTo>
                      <a:pt x="319" y="273"/>
                      <a:pt x="319" y="273"/>
                      <a:pt x="319" y="273"/>
                    </a:cubicBezTo>
                    <a:cubicBezTo>
                      <a:pt x="285" y="341"/>
                      <a:pt x="285" y="341"/>
                      <a:pt x="285" y="341"/>
                    </a:cubicBezTo>
                    <a:cubicBezTo>
                      <a:pt x="269" y="341"/>
                      <a:pt x="269" y="341"/>
                      <a:pt x="269" y="341"/>
                    </a:cubicBezTo>
                    <a:lnTo>
                      <a:pt x="304" y="273"/>
                    </a:lnTo>
                    <a:close/>
                    <a:moveTo>
                      <a:pt x="94" y="384"/>
                    </a:moveTo>
                    <a:cubicBezTo>
                      <a:pt x="94" y="495"/>
                      <a:pt x="94" y="495"/>
                      <a:pt x="94" y="495"/>
                    </a:cubicBezTo>
                    <a:cubicBezTo>
                      <a:pt x="68" y="495"/>
                      <a:pt x="68" y="495"/>
                      <a:pt x="68" y="495"/>
                    </a:cubicBezTo>
                    <a:cubicBezTo>
                      <a:pt x="68" y="384"/>
                      <a:pt x="68" y="384"/>
                      <a:pt x="68" y="384"/>
                    </a:cubicBezTo>
                    <a:cubicBezTo>
                      <a:pt x="68" y="324"/>
                      <a:pt x="115" y="276"/>
                      <a:pt x="174" y="273"/>
                    </a:cubicBezTo>
                    <a:cubicBezTo>
                      <a:pt x="208" y="341"/>
                      <a:pt x="208" y="341"/>
                      <a:pt x="208" y="341"/>
                    </a:cubicBezTo>
                    <a:cubicBezTo>
                      <a:pt x="136" y="341"/>
                      <a:pt x="136" y="341"/>
                      <a:pt x="136" y="341"/>
                    </a:cubicBezTo>
                    <a:cubicBezTo>
                      <a:pt x="113" y="341"/>
                      <a:pt x="94" y="360"/>
                      <a:pt x="94" y="384"/>
                    </a:cubicBezTo>
                    <a:close/>
                    <a:moveTo>
                      <a:pt x="401" y="495"/>
                    </a:moveTo>
                    <a:cubicBezTo>
                      <a:pt x="111" y="495"/>
                      <a:pt x="111" y="495"/>
                      <a:pt x="111" y="495"/>
                    </a:cubicBezTo>
                    <a:cubicBezTo>
                      <a:pt x="111" y="384"/>
                      <a:pt x="111" y="384"/>
                      <a:pt x="111" y="384"/>
                    </a:cubicBezTo>
                    <a:cubicBezTo>
                      <a:pt x="111" y="370"/>
                      <a:pt x="122" y="358"/>
                      <a:pt x="136" y="358"/>
                    </a:cubicBezTo>
                    <a:cubicBezTo>
                      <a:pt x="375" y="358"/>
                      <a:pt x="375" y="358"/>
                      <a:pt x="375" y="358"/>
                    </a:cubicBezTo>
                    <a:cubicBezTo>
                      <a:pt x="389" y="358"/>
                      <a:pt x="401" y="370"/>
                      <a:pt x="401" y="384"/>
                    </a:cubicBezTo>
                    <a:lnTo>
                      <a:pt x="401" y="495"/>
                    </a:lnTo>
                    <a:close/>
                    <a:moveTo>
                      <a:pt x="443" y="495"/>
                    </a:moveTo>
                    <a:cubicBezTo>
                      <a:pt x="418" y="495"/>
                      <a:pt x="418" y="495"/>
                      <a:pt x="418" y="495"/>
                    </a:cubicBezTo>
                    <a:cubicBezTo>
                      <a:pt x="418" y="384"/>
                      <a:pt x="418" y="384"/>
                      <a:pt x="418" y="384"/>
                    </a:cubicBezTo>
                    <a:cubicBezTo>
                      <a:pt x="418" y="360"/>
                      <a:pt x="399" y="341"/>
                      <a:pt x="375" y="341"/>
                    </a:cubicBezTo>
                    <a:cubicBezTo>
                      <a:pt x="304" y="341"/>
                      <a:pt x="304" y="341"/>
                      <a:pt x="304" y="341"/>
                    </a:cubicBezTo>
                    <a:cubicBezTo>
                      <a:pt x="338" y="273"/>
                      <a:pt x="338" y="273"/>
                      <a:pt x="338" y="273"/>
                    </a:cubicBezTo>
                    <a:cubicBezTo>
                      <a:pt x="396" y="276"/>
                      <a:pt x="443" y="324"/>
                      <a:pt x="443" y="384"/>
                    </a:cubicBezTo>
                    <a:lnTo>
                      <a:pt x="443" y="495"/>
                    </a:lnTo>
                    <a:close/>
                    <a:moveTo>
                      <a:pt x="443" y="495"/>
                    </a:moveTo>
                    <a:cubicBezTo>
                      <a:pt x="443" y="495"/>
                      <a:pt x="443" y="495"/>
                      <a:pt x="443" y="495"/>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2" name="Rectangle 79">
                <a:extLst>
                  <a:ext uri="{FF2B5EF4-FFF2-40B4-BE49-F238E27FC236}">
                    <a16:creationId xmlns:a16="http://schemas.microsoft.com/office/drawing/2014/main" id="{FB3BC415-6923-47CB-A92F-BAB7FDCBF272}"/>
                  </a:ext>
                </a:extLst>
              </p:cNvPr>
              <p:cNvSpPr>
                <a:spLocks noChangeArrowheads="1"/>
              </p:cNvSpPr>
              <p:nvPr/>
            </p:nvSpPr>
            <p:spPr bwMode="auto">
              <a:xfrm>
                <a:off x="3236" y="5598"/>
                <a:ext cx="38" cy="129"/>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3" name="Rectangle 80">
                <a:extLst>
                  <a:ext uri="{FF2B5EF4-FFF2-40B4-BE49-F238E27FC236}">
                    <a16:creationId xmlns:a16="http://schemas.microsoft.com/office/drawing/2014/main" id="{D7D88654-7716-487A-81AA-5D203078038A}"/>
                  </a:ext>
                </a:extLst>
              </p:cNvPr>
              <p:cNvSpPr>
                <a:spLocks noChangeArrowheads="1"/>
              </p:cNvSpPr>
              <p:nvPr/>
            </p:nvSpPr>
            <p:spPr bwMode="auto">
              <a:xfrm>
                <a:off x="3236" y="5524"/>
                <a:ext cx="38"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4" name="Rectangle 81">
                <a:extLst>
                  <a:ext uri="{FF2B5EF4-FFF2-40B4-BE49-F238E27FC236}">
                    <a16:creationId xmlns:a16="http://schemas.microsoft.com/office/drawing/2014/main" id="{3AE879D5-8173-4E0D-9474-C07E424B0D70}"/>
                  </a:ext>
                </a:extLst>
              </p:cNvPr>
              <p:cNvSpPr>
                <a:spLocks noChangeArrowheads="1"/>
              </p:cNvSpPr>
              <p:nvPr/>
            </p:nvSpPr>
            <p:spPr bwMode="auto">
              <a:xfrm>
                <a:off x="3406" y="4858"/>
                <a:ext cx="38" cy="39"/>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5" name="Rectangle 82">
                <a:extLst>
                  <a:ext uri="{FF2B5EF4-FFF2-40B4-BE49-F238E27FC236}">
                    <a16:creationId xmlns:a16="http://schemas.microsoft.com/office/drawing/2014/main" id="{62809CE3-16C4-4613-AF2B-D59BCA66443F}"/>
                  </a:ext>
                </a:extLst>
              </p:cNvPr>
              <p:cNvSpPr>
                <a:spLocks noChangeArrowheads="1"/>
              </p:cNvSpPr>
              <p:nvPr/>
            </p:nvSpPr>
            <p:spPr bwMode="auto">
              <a:xfrm>
                <a:off x="3406" y="4934"/>
                <a:ext cx="38"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6" name="Rectangle 83">
                <a:extLst>
                  <a:ext uri="{FF2B5EF4-FFF2-40B4-BE49-F238E27FC236}">
                    <a16:creationId xmlns:a16="http://schemas.microsoft.com/office/drawing/2014/main" id="{31625862-846D-4832-A5A1-ED8CE3D8DD89}"/>
                  </a:ext>
                </a:extLst>
              </p:cNvPr>
              <p:cNvSpPr>
                <a:spLocks noChangeArrowheads="1"/>
              </p:cNvSpPr>
              <p:nvPr/>
            </p:nvSpPr>
            <p:spPr bwMode="auto">
              <a:xfrm>
                <a:off x="3406" y="5008"/>
                <a:ext cx="38" cy="36"/>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7" name="Rectangle 84">
                <a:extLst>
                  <a:ext uri="{FF2B5EF4-FFF2-40B4-BE49-F238E27FC236}">
                    <a16:creationId xmlns:a16="http://schemas.microsoft.com/office/drawing/2014/main" id="{E98DEBD4-DF16-4987-94D7-3BB915716A9C}"/>
                  </a:ext>
                </a:extLst>
              </p:cNvPr>
              <p:cNvSpPr>
                <a:spLocks noChangeArrowheads="1"/>
              </p:cNvSpPr>
              <p:nvPr/>
            </p:nvSpPr>
            <p:spPr bwMode="auto">
              <a:xfrm>
                <a:off x="2531" y="5081"/>
                <a:ext cx="38"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8" name="Rectangle 85">
                <a:extLst>
                  <a:ext uri="{FF2B5EF4-FFF2-40B4-BE49-F238E27FC236}">
                    <a16:creationId xmlns:a16="http://schemas.microsoft.com/office/drawing/2014/main" id="{62DDE55A-9FD7-4F57-8E62-E1439213FFDC}"/>
                  </a:ext>
                </a:extLst>
              </p:cNvPr>
              <p:cNvSpPr>
                <a:spLocks noChangeArrowheads="1"/>
              </p:cNvSpPr>
              <p:nvPr/>
            </p:nvSpPr>
            <p:spPr bwMode="auto">
              <a:xfrm>
                <a:off x="2531" y="5155"/>
                <a:ext cx="38" cy="36"/>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39" name="Rectangle 86">
                <a:extLst>
                  <a:ext uri="{FF2B5EF4-FFF2-40B4-BE49-F238E27FC236}">
                    <a16:creationId xmlns:a16="http://schemas.microsoft.com/office/drawing/2014/main" id="{99A9F315-9363-480B-A0FF-CB03372861A2}"/>
                  </a:ext>
                </a:extLst>
              </p:cNvPr>
              <p:cNvSpPr>
                <a:spLocks noChangeArrowheads="1"/>
              </p:cNvSpPr>
              <p:nvPr/>
            </p:nvSpPr>
            <p:spPr bwMode="auto">
              <a:xfrm>
                <a:off x="2531" y="5228"/>
                <a:ext cx="38"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40" name="Group 239">
              <a:extLst>
                <a:ext uri="{FF2B5EF4-FFF2-40B4-BE49-F238E27FC236}">
                  <a16:creationId xmlns:a16="http://schemas.microsoft.com/office/drawing/2014/main" id="{95DB733D-4977-4D52-B56D-3F4B549E0100}"/>
                </a:ext>
              </a:extLst>
            </p:cNvPr>
            <p:cNvGrpSpPr/>
            <p:nvPr/>
          </p:nvGrpSpPr>
          <p:grpSpPr>
            <a:xfrm rot="5400000">
              <a:off x="5691478" y="4839159"/>
              <a:ext cx="438069" cy="438069"/>
              <a:chOff x="5125249" y="5746282"/>
              <a:chExt cx="398943" cy="398943"/>
            </a:xfrm>
          </p:grpSpPr>
          <p:cxnSp>
            <p:nvCxnSpPr>
              <p:cNvPr id="241" name="Straight Connector 240">
                <a:extLst>
                  <a:ext uri="{FF2B5EF4-FFF2-40B4-BE49-F238E27FC236}">
                    <a16:creationId xmlns:a16="http://schemas.microsoft.com/office/drawing/2014/main" id="{332A49EC-9ADD-43E9-9428-80DEEBC26266}"/>
                  </a:ext>
                </a:extLst>
              </p:cNvPr>
              <p:cNvCxnSpPr>
                <a:cxnSpLocks/>
              </p:cNvCxnSpPr>
              <p:nvPr/>
            </p:nvCxnSpPr>
            <p:spPr>
              <a:xfrm>
                <a:off x="5324720" y="5746282"/>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B81BF5E-331C-4878-8D3B-F45ECD892BF8}"/>
                  </a:ext>
                </a:extLst>
              </p:cNvPr>
              <p:cNvCxnSpPr>
                <a:cxnSpLocks/>
              </p:cNvCxnSpPr>
              <p:nvPr/>
            </p:nvCxnSpPr>
            <p:spPr>
              <a:xfrm>
                <a:off x="5324720" y="604790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954147BF-096A-4672-974C-926590BBDC3F}"/>
                  </a:ext>
                </a:extLst>
              </p:cNvPr>
              <p:cNvCxnSpPr>
                <a:cxnSpLocks/>
              </p:cNvCxnSpPr>
              <p:nvPr/>
            </p:nvCxnSpPr>
            <p:spPr>
              <a:xfrm rot="5400000">
                <a:off x="5475533"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687A2E01-C053-4E1C-BD8A-3B2725227120}"/>
                  </a:ext>
                </a:extLst>
              </p:cNvPr>
              <p:cNvCxnSpPr>
                <a:cxnSpLocks/>
              </p:cNvCxnSpPr>
              <p:nvPr/>
            </p:nvCxnSpPr>
            <p:spPr>
              <a:xfrm rot="5400000">
                <a:off x="5173908" y="5897095"/>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C7B7D694-1F19-405E-914E-9CA3569B47AD}"/>
                  </a:ext>
                </a:extLst>
              </p:cNvPr>
              <p:cNvCxnSpPr>
                <a:cxnSpLocks/>
              </p:cNvCxnSpPr>
              <p:nvPr/>
            </p:nvCxnSpPr>
            <p:spPr>
              <a:xfrm rot="2733160">
                <a:off x="5436868" y="5785877"/>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1DF5D175-D2A9-44FF-8F8D-FF46E35C5C1F}"/>
                  </a:ext>
                </a:extLst>
              </p:cNvPr>
              <p:cNvCxnSpPr>
                <a:cxnSpLocks/>
              </p:cNvCxnSpPr>
              <p:nvPr/>
            </p:nvCxnSpPr>
            <p:spPr>
              <a:xfrm rot="8133160">
                <a:off x="5424443" y="6008301"/>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518C1BE0-F999-4DB2-A325-D818B85B0ED5}"/>
                  </a:ext>
                </a:extLst>
              </p:cNvPr>
              <p:cNvCxnSpPr>
                <a:cxnSpLocks/>
              </p:cNvCxnSpPr>
              <p:nvPr/>
            </p:nvCxnSpPr>
            <p:spPr>
              <a:xfrm rot="8133160">
                <a:off x="5213230" y="5792973"/>
                <a:ext cx="0" cy="9731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248" name="Straight Connector 247">
              <a:extLst>
                <a:ext uri="{FF2B5EF4-FFF2-40B4-BE49-F238E27FC236}">
                  <a16:creationId xmlns:a16="http://schemas.microsoft.com/office/drawing/2014/main" id="{1E8CFD2D-8AB4-4AD3-959F-9DB5264F40AA}"/>
                </a:ext>
              </a:extLst>
            </p:cNvPr>
            <p:cNvCxnSpPr>
              <a:cxnSpLocks/>
            </p:cNvCxnSpPr>
            <p:nvPr/>
          </p:nvCxnSpPr>
          <p:spPr>
            <a:xfrm>
              <a:off x="6270178" y="5377427"/>
              <a:ext cx="3913313" cy="0"/>
            </a:xfrm>
            <a:prstGeom prst="line">
              <a:avLst/>
            </a:prstGeom>
            <a:gradFill>
              <a:gsLst>
                <a:gs pos="93000">
                  <a:schemeClr val="tx1">
                    <a:alpha val="50000"/>
                  </a:schemeClr>
                </a:gs>
                <a:gs pos="37000">
                  <a:schemeClr val="accent3">
                    <a:lumMod val="75000"/>
                  </a:schemeClr>
                </a:gs>
              </a:gsLst>
              <a:lin ang="5400000" scaled="1"/>
            </a:gradFill>
            <a:ln w="19050" algn="ctr">
              <a:gradFill flip="none" rotWithShape="1">
                <a:gsLst>
                  <a:gs pos="87000">
                    <a:schemeClr val="tx1"/>
                  </a:gs>
                  <a:gs pos="45000">
                    <a:schemeClr val="accent6">
                      <a:lumMod val="75000"/>
                    </a:schemeClr>
                  </a:gs>
                </a:gsLst>
                <a:lin ang="0" scaled="1"/>
                <a:tileRect/>
              </a:gradFill>
              <a:miter lim="800000"/>
              <a:headEnd/>
              <a:tailEnd type="none" w="lg" len="lg"/>
            </a:ln>
          </p:spPr>
        </p:cxnSp>
        <p:grpSp>
          <p:nvGrpSpPr>
            <p:cNvPr id="249" name="Group 4">
              <a:extLst>
                <a:ext uri="{FF2B5EF4-FFF2-40B4-BE49-F238E27FC236}">
                  <a16:creationId xmlns:a16="http://schemas.microsoft.com/office/drawing/2014/main" id="{C217140D-72AA-4321-8210-1F681B4DA127}"/>
                </a:ext>
              </a:extLst>
            </p:cNvPr>
            <p:cNvGrpSpPr>
              <a:grpSpLocks noChangeAspect="1"/>
            </p:cNvGrpSpPr>
            <p:nvPr/>
          </p:nvGrpSpPr>
          <p:grpSpPr bwMode="auto">
            <a:xfrm>
              <a:off x="5672743" y="1963676"/>
              <a:ext cx="475541" cy="419963"/>
              <a:chOff x="2686" y="4998"/>
              <a:chExt cx="1523" cy="1345"/>
            </a:xfrm>
            <a:solidFill>
              <a:srgbClr val="00A3E0"/>
            </a:solidFill>
          </p:grpSpPr>
          <p:sp>
            <p:nvSpPr>
              <p:cNvPr id="250" name="Freeform 5">
                <a:extLst>
                  <a:ext uri="{FF2B5EF4-FFF2-40B4-BE49-F238E27FC236}">
                    <a16:creationId xmlns:a16="http://schemas.microsoft.com/office/drawing/2014/main" id="{372B270B-6C61-4773-B8A0-DC50A87532CD}"/>
                  </a:ext>
                </a:extLst>
              </p:cNvPr>
              <p:cNvSpPr>
                <a:spLocks noEditPoints="1"/>
              </p:cNvSpPr>
              <p:nvPr/>
            </p:nvSpPr>
            <p:spPr bwMode="auto">
              <a:xfrm>
                <a:off x="2686" y="4998"/>
                <a:ext cx="1523" cy="1345"/>
              </a:xfrm>
              <a:custGeom>
                <a:avLst/>
                <a:gdLst>
                  <a:gd name="T0" fmla="*/ 640 w 683"/>
                  <a:gd name="T1" fmla="*/ 156 h 622"/>
                  <a:gd name="T2" fmla="*/ 407 w 683"/>
                  <a:gd name="T3" fmla="*/ 86 h 622"/>
                  <a:gd name="T4" fmla="*/ 342 w 683"/>
                  <a:gd name="T5" fmla="*/ 34 h 622"/>
                  <a:gd name="T6" fmla="*/ 276 w 683"/>
                  <a:gd name="T7" fmla="*/ 86 h 622"/>
                  <a:gd name="T8" fmla="*/ 107 w 683"/>
                  <a:gd name="T9" fmla="*/ 92 h 622"/>
                  <a:gd name="T10" fmla="*/ 54 w 683"/>
                  <a:gd name="T11" fmla="*/ 413 h 622"/>
                  <a:gd name="T12" fmla="*/ 107 w 683"/>
                  <a:gd name="T13" fmla="*/ 112 h 622"/>
                  <a:gd name="T14" fmla="*/ 259 w 683"/>
                  <a:gd name="T15" fmla="*/ 132 h 622"/>
                  <a:gd name="T16" fmla="*/ 84 w 683"/>
                  <a:gd name="T17" fmla="*/ 156 h 622"/>
                  <a:gd name="T18" fmla="*/ 181 w 683"/>
                  <a:gd name="T19" fmla="*/ 495 h 622"/>
                  <a:gd name="T20" fmla="*/ 64 w 683"/>
                  <a:gd name="T21" fmla="*/ 516 h 622"/>
                  <a:gd name="T22" fmla="*/ 44 w 683"/>
                  <a:gd name="T23" fmla="*/ 437 h 622"/>
                  <a:gd name="T24" fmla="*/ 0 w 683"/>
                  <a:gd name="T25" fmla="*/ 526 h 622"/>
                  <a:gd name="T26" fmla="*/ 601 w 683"/>
                  <a:gd name="T27" fmla="*/ 622 h 622"/>
                  <a:gd name="T28" fmla="*/ 673 w 683"/>
                  <a:gd name="T29" fmla="*/ 516 h 622"/>
                  <a:gd name="T30" fmla="*/ 472 w 683"/>
                  <a:gd name="T31" fmla="*/ 516 h 622"/>
                  <a:gd name="T32" fmla="*/ 589 w 683"/>
                  <a:gd name="T33" fmla="*/ 495 h 622"/>
                  <a:gd name="T34" fmla="*/ 576 w 683"/>
                  <a:gd name="T35" fmla="*/ 133 h 622"/>
                  <a:gd name="T36" fmla="*/ 432 w 683"/>
                  <a:gd name="T37" fmla="*/ 114 h 622"/>
                  <a:gd name="T38" fmla="*/ 619 w 683"/>
                  <a:gd name="T39" fmla="*/ 156 h 622"/>
                  <a:gd name="T40" fmla="*/ 303 w 683"/>
                  <a:gd name="T41" fmla="*/ 556 h 622"/>
                  <a:gd name="T42" fmla="*/ 286 w 683"/>
                  <a:gd name="T43" fmla="*/ 24 h 622"/>
                  <a:gd name="T44" fmla="*/ 342 w 683"/>
                  <a:gd name="T45" fmla="*/ 61 h 622"/>
                  <a:gd name="T46" fmla="*/ 391 w 683"/>
                  <a:gd name="T47" fmla="*/ 21 h 622"/>
                  <a:gd name="T48" fmla="*/ 299 w 683"/>
                  <a:gd name="T49" fmla="*/ 86 h 622"/>
                  <a:gd name="T50" fmla="*/ 404 w 683"/>
                  <a:gd name="T51" fmla="*/ 107 h 622"/>
                  <a:gd name="T52" fmla="*/ 279 w 683"/>
                  <a:gd name="T53" fmla="*/ 121 h 622"/>
                  <a:gd name="T54" fmla="*/ 104 w 683"/>
                  <a:gd name="T55" fmla="*/ 156 h 622"/>
                  <a:gd name="T56" fmla="*/ 180 w 683"/>
                  <a:gd name="T57" fmla="*/ 217 h 622"/>
                  <a:gd name="T58" fmla="*/ 104 w 683"/>
                  <a:gd name="T59" fmla="*/ 475 h 622"/>
                  <a:gd name="T60" fmla="*/ 198 w 683"/>
                  <a:gd name="T61" fmla="*/ 226 h 622"/>
                  <a:gd name="T62" fmla="*/ 461 w 683"/>
                  <a:gd name="T63" fmla="*/ 191 h 622"/>
                  <a:gd name="T64" fmla="*/ 477 w 683"/>
                  <a:gd name="T65" fmla="*/ 178 h 622"/>
                  <a:gd name="T66" fmla="*/ 579 w 683"/>
                  <a:gd name="T67" fmla="*/ 156 h 622"/>
                  <a:gd name="T68" fmla="*/ 543 w 683"/>
                  <a:gd name="T69" fmla="*/ 374 h 622"/>
                  <a:gd name="T70" fmla="*/ 479 w 683"/>
                  <a:gd name="T71" fmla="*/ 216 h 622"/>
                  <a:gd name="T72" fmla="*/ 342 w 683"/>
                  <a:gd name="T73" fmla="*/ 515 h 622"/>
                  <a:gd name="T74" fmla="*/ 663 w 683"/>
                  <a:gd name="T75" fmla="*/ 540 h 622"/>
                  <a:gd name="T76" fmla="*/ 21 w 683"/>
                  <a:gd name="T77" fmla="*/ 540 h 622"/>
                  <a:gd name="T78" fmla="*/ 303 w 683"/>
                  <a:gd name="T79" fmla="*/ 577 h 622"/>
                  <a:gd name="T80" fmla="*/ 630 w 683"/>
                  <a:gd name="T81" fmla="*/ 536 h 622"/>
                  <a:gd name="T82" fmla="*/ 663 w 683"/>
                  <a:gd name="T83" fmla="*/ 54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22">
                    <a:moveTo>
                      <a:pt x="673" y="516"/>
                    </a:moveTo>
                    <a:cubicBezTo>
                      <a:pt x="640" y="516"/>
                      <a:pt x="640" y="516"/>
                      <a:pt x="640" y="516"/>
                    </a:cubicBezTo>
                    <a:cubicBezTo>
                      <a:pt x="640" y="156"/>
                      <a:pt x="640" y="156"/>
                      <a:pt x="640" y="156"/>
                    </a:cubicBezTo>
                    <a:cubicBezTo>
                      <a:pt x="640" y="120"/>
                      <a:pt x="611" y="92"/>
                      <a:pt x="576" y="92"/>
                    </a:cubicBezTo>
                    <a:cubicBezTo>
                      <a:pt x="421" y="92"/>
                      <a:pt x="421" y="92"/>
                      <a:pt x="421" y="92"/>
                    </a:cubicBezTo>
                    <a:cubicBezTo>
                      <a:pt x="417" y="89"/>
                      <a:pt x="412" y="87"/>
                      <a:pt x="407" y="86"/>
                    </a:cubicBezTo>
                    <a:cubicBezTo>
                      <a:pt x="424" y="49"/>
                      <a:pt x="425" y="23"/>
                      <a:pt x="412" y="9"/>
                    </a:cubicBezTo>
                    <a:cubicBezTo>
                      <a:pt x="406" y="3"/>
                      <a:pt x="398" y="0"/>
                      <a:pt x="390" y="1"/>
                    </a:cubicBezTo>
                    <a:cubicBezTo>
                      <a:pt x="371" y="3"/>
                      <a:pt x="352" y="22"/>
                      <a:pt x="342" y="34"/>
                    </a:cubicBezTo>
                    <a:cubicBezTo>
                      <a:pt x="331" y="22"/>
                      <a:pt x="312" y="3"/>
                      <a:pt x="294" y="1"/>
                    </a:cubicBezTo>
                    <a:cubicBezTo>
                      <a:pt x="285" y="0"/>
                      <a:pt x="278" y="3"/>
                      <a:pt x="272" y="9"/>
                    </a:cubicBezTo>
                    <a:cubicBezTo>
                      <a:pt x="258" y="23"/>
                      <a:pt x="260" y="49"/>
                      <a:pt x="276" y="86"/>
                    </a:cubicBezTo>
                    <a:cubicBezTo>
                      <a:pt x="271" y="87"/>
                      <a:pt x="266" y="89"/>
                      <a:pt x="262" y="92"/>
                    </a:cubicBezTo>
                    <a:cubicBezTo>
                      <a:pt x="262" y="92"/>
                      <a:pt x="262" y="92"/>
                      <a:pt x="262" y="92"/>
                    </a:cubicBezTo>
                    <a:cubicBezTo>
                      <a:pt x="107" y="92"/>
                      <a:pt x="107" y="92"/>
                      <a:pt x="107" y="92"/>
                    </a:cubicBezTo>
                    <a:cubicBezTo>
                      <a:pt x="72" y="92"/>
                      <a:pt x="44" y="120"/>
                      <a:pt x="44" y="156"/>
                    </a:cubicBezTo>
                    <a:cubicBezTo>
                      <a:pt x="44" y="403"/>
                      <a:pt x="44" y="403"/>
                      <a:pt x="44" y="403"/>
                    </a:cubicBezTo>
                    <a:cubicBezTo>
                      <a:pt x="44" y="409"/>
                      <a:pt x="48" y="413"/>
                      <a:pt x="54" y="413"/>
                    </a:cubicBezTo>
                    <a:cubicBezTo>
                      <a:pt x="59" y="413"/>
                      <a:pt x="64" y="409"/>
                      <a:pt x="64" y="403"/>
                    </a:cubicBezTo>
                    <a:cubicBezTo>
                      <a:pt x="64" y="156"/>
                      <a:pt x="64" y="156"/>
                      <a:pt x="64" y="156"/>
                    </a:cubicBezTo>
                    <a:cubicBezTo>
                      <a:pt x="64" y="132"/>
                      <a:pt x="83" y="112"/>
                      <a:pt x="107" y="112"/>
                    </a:cubicBezTo>
                    <a:cubicBezTo>
                      <a:pt x="252" y="112"/>
                      <a:pt x="252" y="112"/>
                      <a:pt x="252" y="112"/>
                    </a:cubicBezTo>
                    <a:cubicBezTo>
                      <a:pt x="252" y="113"/>
                      <a:pt x="252" y="113"/>
                      <a:pt x="252" y="114"/>
                    </a:cubicBezTo>
                    <a:cubicBezTo>
                      <a:pt x="252" y="121"/>
                      <a:pt x="255" y="127"/>
                      <a:pt x="259" y="132"/>
                    </a:cubicBezTo>
                    <a:cubicBezTo>
                      <a:pt x="259" y="132"/>
                      <a:pt x="259" y="132"/>
                      <a:pt x="258" y="133"/>
                    </a:cubicBezTo>
                    <a:cubicBezTo>
                      <a:pt x="107" y="133"/>
                      <a:pt x="107" y="133"/>
                      <a:pt x="107" y="133"/>
                    </a:cubicBezTo>
                    <a:cubicBezTo>
                      <a:pt x="94" y="133"/>
                      <a:pt x="84" y="143"/>
                      <a:pt x="84" y="156"/>
                    </a:cubicBezTo>
                    <a:cubicBezTo>
                      <a:pt x="84" y="485"/>
                      <a:pt x="84" y="485"/>
                      <a:pt x="84" y="485"/>
                    </a:cubicBezTo>
                    <a:cubicBezTo>
                      <a:pt x="84" y="491"/>
                      <a:pt x="89" y="495"/>
                      <a:pt x="94" y="495"/>
                    </a:cubicBezTo>
                    <a:cubicBezTo>
                      <a:pt x="181" y="495"/>
                      <a:pt x="181" y="495"/>
                      <a:pt x="181" y="495"/>
                    </a:cubicBezTo>
                    <a:cubicBezTo>
                      <a:pt x="187" y="501"/>
                      <a:pt x="194" y="506"/>
                      <a:pt x="202" y="511"/>
                    </a:cubicBezTo>
                    <a:cubicBezTo>
                      <a:pt x="205" y="513"/>
                      <a:pt x="208" y="514"/>
                      <a:pt x="211" y="516"/>
                    </a:cubicBezTo>
                    <a:cubicBezTo>
                      <a:pt x="64" y="516"/>
                      <a:pt x="64" y="516"/>
                      <a:pt x="64" y="516"/>
                    </a:cubicBezTo>
                    <a:cubicBezTo>
                      <a:pt x="64" y="437"/>
                      <a:pt x="64" y="437"/>
                      <a:pt x="64" y="437"/>
                    </a:cubicBezTo>
                    <a:cubicBezTo>
                      <a:pt x="64" y="431"/>
                      <a:pt x="59" y="427"/>
                      <a:pt x="54" y="427"/>
                    </a:cubicBezTo>
                    <a:cubicBezTo>
                      <a:pt x="48" y="427"/>
                      <a:pt x="44" y="431"/>
                      <a:pt x="44" y="437"/>
                    </a:cubicBezTo>
                    <a:cubicBezTo>
                      <a:pt x="44" y="516"/>
                      <a:pt x="44" y="516"/>
                      <a:pt x="44" y="516"/>
                    </a:cubicBezTo>
                    <a:cubicBezTo>
                      <a:pt x="10" y="516"/>
                      <a:pt x="10" y="516"/>
                      <a:pt x="10" y="516"/>
                    </a:cubicBezTo>
                    <a:cubicBezTo>
                      <a:pt x="5" y="516"/>
                      <a:pt x="0" y="520"/>
                      <a:pt x="0" y="526"/>
                    </a:cubicBezTo>
                    <a:cubicBezTo>
                      <a:pt x="0" y="540"/>
                      <a:pt x="0" y="540"/>
                      <a:pt x="0" y="540"/>
                    </a:cubicBezTo>
                    <a:cubicBezTo>
                      <a:pt x="0" y="585"/>
                      <a:pt x="37" y="622"/>
                      <a:pt x="82" y="622"/>
                    </a:cubicBezTo>
                    <a:cubicBezTo>
                      <a:pt x="601" y="622"/>
                      <a:pt x="601" y="622"/>
                      <a:pt x="601" y="622"/>
                    </a:cubicBezTo>
                    <a:cubicBezTo>
                      <a:pt x="646" y="622"/>
                      <a:pt x="683" y="585"/>
                      <a:pt x="683" y="540"/>
                    </a:cubicBezTo>
                    <a:cubicBezTo>
                      <a:pt x="683" y="526"/>
                      <a:pt x="683" y="526"/>
                      <a:pt x="683" y="526"/>
                    </a:cubicBezTo>
                    <a:cubicBezTo>
                      <a:pt x="683" y="520"/>
                      <a:pt x="678" y="516"/>
                      <a:pt x="673" y="516"/>
                    </a:cubicBezTo>
                    <a:close/>
                    <a:moveTo>
                      <a:pt x="619" y="156"/>
                    </a:moveTo>
                    <a:cubicBezTo>
                      <a:pt x="619" y="516"/>
                      <a:pt x="619" y="516"/>
                      <a:pt x="619" y="516"/>
                    </a:cubicBezTo>
                    <a:cubicBezTo>
                      <a:pt x="472" y="516"/>
                      <a:pt x="472" y="516"/>
                      <a:pt x="472" y="516"/>
                    </a:cubicBezTo>
                    <a:cubicBezTo>
                      <a:pt x="476" y="514"/>
                      <a:pt x="479" y="513"/>
                      <a:pt x="482" y="511"/>
                    </a:cubicBezTo>
                    <a:cubicBezTo>
                      <a:pt x="489" y="506"/>
                      <a:pt x="496" y="501"/>
                      <a:pt x="502" y="495"/>
                    </a:cubicBezTo>
                    <a:cubicBezTo>
                      <a:pt x="589" y="495"/>
                      <a:pt x="589" y="495"/>
                      <a:pt x="589" y="495"/>
                    </a:cubicBezTo>
                    <a:cubicBezTo>
                      <a:pt x="595" y="495"/>
                      <a:pt x="599" y="491"/>
                      <a:pt x="599" y="485"/>
                    </a:cubicBezTo>
                    <a:cubicBezTo>
                      <a:pt x="599" y="156"/>
                      <a:pt x="599" y="156"/>
                      <a:pt x="599" y="156"/>
                    </a:cubicBezTo>
                    <a:cubicBezTo>
                      <a:pt x="599" y="143"/>
                      <a:pt x="589" y="133"/>
                      <a:pt x="576" y="133"/>
                    </a:cubicBezTo>
                    <a:cubicBezTo>
                      <a:pt x="425" y="133"/>
                      <a:pt x="425" y="133"/>
                      <a:pt x="425" y="133"/>
                    </a:cubicBezTo>
                    <a:cubicBezTo>
                      <a:pt x="425" y="132"/>
                      <a:pt x="424" y="132"/>
                      <a:pt x="424" y="132"/>
                    </a:cubicBezTo>
                    <a:cubicBezTo>
                      <a:pt x="429" y="127"/>
                      <a:pt x="432" y="121"/>
                      <a:pt x="432" y="114"/>
                    </a:cubicBezTo>
                    <a:cubicBezTo>
                      <a:pt x="432" y="113"/>
                      <a:pt x="431" y="113"/>
                      <a:pt x="431" y="112"/>
                    </a:cubicBezTo>
                    <a:cubicBezTo>
                      <a:pt x="576" y="112"/>
                      <a:pt x="576" y="112"/>
                      <a:pt x="576" y="112"/>
                    </a:cubicBezTo>
                    <a:cubicBezTo>
                      <a:pt x="600" y="112"/>
                      <a:pt x="619" y="132"/>
                      <a:pt x="619" y="156"/>
                    </a:cubicBezTo>
                    <a:close/>
                    <a:moveTo>
                      <a:pt x="403" y="536"/>
                    </a:moveTo>
                    <a:cubicBezTo>
                      <a:pt x="402" y="547"/>
                      <a:pt x="392" y="556"/>
                      <a:pt x="380" y="556"/>
                    </a:cubicBezTo>
                    <a:cubicBezTo>
                      <a:pt x="303" y="556"/>
                      <a:pt x="303" y="556"/>
                      <a:pt x="303" y="556"/>
                    </a:cubicBezTo>
                    <a:cubicBezTo>
                      <a:pt x="292" y="556"/>
                      <a:pt x="282" y="547"/>
                      <a:pt x="280" y="536"/>
                    </a:cubicBezTo>
                    <a:lnTo>
                      <a:pt x="403" y="536"/>
                    </a:lnTo>
                    <a:close/>
                    <a:moveTo>
                      <a:pt x="286" y="24"/>
                    </a:moveTo>
                    <a:cubicBezTo>
                      <a:pt x="288" y="22"/>
                      <a:pt x="290" y="21"/>
                      <a:pt x="292" y="21"/>
                    </a:cubicBezTo>
                    <a:cubicBezTo>
                      <a:pt x="304" y="22"/>
                      <a:pt x="323" y="43"/>
                      <a:pt x="333" y="57"/>
                    </a:cubicBezTo>
                    <a:cubicBezTo>
                      <a:pt x="335" y="59"/>
                      <a:pt x="338" y="61"/>
                      <a:pt x="342" y="61"/>
                    </a:cubicBezTo>
                    <a:cubicBezTo>
                      <a:pt x="342" y="61"/>
                      <a:pt x="342" y="61"/>
                      <a:pt x="342" y="61"/>
                    </a:cubicBezTo>
                    <a:cubicBezTo>
                      <a:pt x="345" y="61"/>
                      <a:pt x="348" y="59"/>
                      <a:pt x="350" y="57"/>
                    </a:cubicBezTo>
                    <a:cubicBezTo>
                      <a:pt x="360" y="43"/>
                      <a:pt x="379" y="22"/>
                      <a:pt x="391" y="21"/>
                    </a:cubicBezTo>
                    <a:cubicBezTo>
                      <a:pt x="394" y="21"/>
                      <a:pt x="395" y="22"/>
                      <a:pt x="397" y="24"/>
                    </a:cubicBezTo>
                    <a:cubicBezTo>
                      <a:pt x="403" y="29"/>
                      <a:pt x="403" y="49"/>
                      <a:pt x="385" y="86"/>
                    </a:cubicBezTo>
                    <a:cubicBezTo>
                      <a:pt x="299" y="86"/>
                      <a:pt x="299" y="86"/>
                      <a:pt x="299" y="86"/>
                    </a:cubicBezTo>
                    <a:cubicBezTo>
                      <a:pt x="281" y="49"/>
                      <a:pt x="280" y="29"/>
                      <a:pt x="286" y="24"/>
                    </a:cubicBezTo>
                    <a:close/>
                    <a:moveTo>
                      <a:pt x="279" y="107"/>
                    </a:moveTo>
                    <a:cubicBezTo>
                      <a:pt x="404" y="107"/>
                      <a:pt x="404" y="107"/>
                      <a:pt x="404" y="107"/>
                    </a:cubicBezTo>
                    <a:cubicBezTo>
                      <a:pt x="408" y="107"/>
                      <a:pt x="411" y="110"/>
                      <a:pt x="411" y="114"/>
                    </a:cubicBezTo>
                    <a:cubicBezTo>
                      <a:pt x="411" y="117"/>
                      <a:pt x="408" y="121"/>
                      <a:pt x="404" y="121"/>
                    </a:cubicBezTo>
                    <a:cubicBezTo>
                      <a:pt x="279" y="121"/>
                      <a:pt x="279" y="121"/>
                      <a:pt x="279" y="121"/>
                    </a:cubicBezTo>
                    <a:cubicBezTo>
                      <a:pt x="275" y="121"/>
                      <a:pt x="272" y="117"/>
                      <a:pt x="272" y="114"/>
                    </a:cubicBezTo>
                    <a:cubicBezTo>
                      <a:pt x="272" y="110"/>
                      <a:pt x="275" y="107"/>
                      <a:pt x="279" y="107"/>
                    </a:cubicBezTo>
                    <a:close/>
                    <a:moveTo>
                      <a:pt x="104" y="156"/>
                    </a:moveTo>
                    <a:cubicBezTo>
                      <a:pt x="104" y="154"/>
                      <a:pt x="106" y="153"/>
                      <a:pt x="107" y="153"/>
                    </a:cubicBezTo>
                    <a:cubicBezTo>
                      <a:pt x="231" y="153"/>
                      <a:pt x="231" y="153"/>
                      <a:pt x="231" y="153"/>
                    </a:cubicBezTo>
                    <a:cubicBezTo>
                      <a:pt x="211" y="170"/>
                      <a:pt x="194" y="191"/>
                      <a:pt x="180" y="217"/>
                    </a:cubicBezTo>
                    <a:cubicBezTo>
                      <a:pt x="154" y="262"/>
                      <a:pt x="141" y="317"/>
                      <a:pt x="141" y="374"/>
                    </a:cubicBezTo>
                    <a:cubicBezTo>
                      <a:pt x="141" y="416"/>
                      <a:pt x="149" y="450"/>
                      <a:pt x="165" y="475"/>
                    </a:cubicBezTo>
                    <a:cubicBezTo>
                      <a:pt x="104" y="475"/>
                      <a:pt x="104" y="475"/>
                      <a:pt x="104" y="475"/>
                    </a:cubicBezTo>
                    <a:lnTo>
                      <a:pt x="104" y="156"/>
                    </a:lnTo>
                    <a:close/>
                    <a:moveTo>
                      <a:pt x="161" y="374"/>
                    </a:moveTo>
                    <a:cubicBezTo>
                      <a:pt x="161" y="320"/>
                      <a:pt x="174" y="269"/>
                      <a:pt x="198" y="226"/>
                    </a:cubicBezTo>
                    <a:cubicBezTo>
                      <a:pt x="220" y="186"/>
                      <a:pt x="251" y="156"/>
                      <a:pt x="287" y="141"/>
                    </a:cubicBezTo>
                    <a:cubicBezTo>
                      <a:pt x="397" y="141"/>
                      <a:pt x="397" y="141"/>
                      <a:pt x="397" y="141"/>
                    </a:cubicBezTo>
                    <a:cubicBezTo>
                      <a:pt x="421" y="151"/>
                      <a:pt x="442" y="168"/>
                      <a:pt x="461" y="191"/>
                    </a:cubicBezTo>
                    <a:cubicBezTo>
                      <a:pt x="463" y="193"/>
                      <a:pt x="466" y="194"/>
                      <a:pt x="469" y="194"/>
                    </a:cubicBezTo>
                    <a:cubicBezTo>
                      <a:pt x="471" y="194"/>
                      <a:pt x="474" y="194"/>
                      <a:pt x="476" y="192"/>
                    </a:cubicBezTo>
                    <a:cubicBezTo>
                      <a:pt x="480" y="188"/>
                      <a:pt x="481" y="182"/>
                      <a:pt x="477" y="178"/>
                    </a:cubicBezTo>
                    <a:cubicBezTo>
                      <a:pt x="469" y="169"/>
                      <a:pt x="461" y="160"/>
                      <a:pt x="453" y="153"/>
                    </a:cubicBezTo>
                    <a:cubicBezTo>
                      <a:pt x="576" y="153"/>
                      <a:pt x="576" y="153"/>
                      <a:pt x="576" y="153"/>
                    </a:cubicBezTo>
                    <a:cubicBezTo>
                      <a:pt x="578" y="153"/>
                      <a:pt x="579" y="154"/>
                      <a:pt x="579" y="156"/>
                    </a:cubicBezTo>
                    <a:cubicBezTo>
                      <a:pt x="579" y="475"/>
                      <a:pt x="579" y="475"/>
                      <a:pt x="579" y="475"/>
                    </a:cubicBezTo>
                    <a:cubicBezTo>
                      <a:pt x="519" y="475"/>
                      <a:pt x="519" y="475"/>
                      <a:pt x="519" y="475"/>
                    </a:cubicBezTo>
                    <a:cubicBezTo>
                      <a:pt x="535" y="450"/>
                      <a:pt x="543" y="416"/>
                      <a:pt x="543" y="374"/>
                    </a:cubicBezTo>
                    <a:cubicBezTo>
                      <a:pt x="543" y="312"/>
                      <a:pt x="526" y="252"/>
                      <a:pt x="496" y="205"/>
                    </a:cubicBezTo>
                    <a:cubicBezTo>
                      <a:pt x="493" y="200"/>
                      <a:pt x="487" y="199"/>
                      <a:pt x="482" y="202"/>
                    </a:cubicBezTo>
                    <a:cubicBezTo>
                      <a:pt x="478" y="205"/>
                      <a:pt x="476" y="211"/>
                      <a:pt x="479" y="216"/>
                    </a:cubicBezTo>
                    <a:cubicBezTo>
                      <a:pt x="507" y="260"/>
                      <a:pt x="522" y="316"/>
                      <a:pt x="522" y="374"/>
                    </a:cubicBezTo>
                    <a:cubicBezTo>
                      <a:pt x="522" y="435"/>
                      <a:pt x="506" y="473"/>
                      <a:pt x="471" y="493"/>
                    </a:cubicBezTo>
                    <a:cubicBezTo>
                      <a:pt x="449" y="506"/>
                      <a:pt x="419" y="515"/>
                      <a:pt x="342" y="515"/>
                    </a:cubicBezTo>
                    <a:cubicBezTo>
                      <a:pt x="286" y="515"/>
                      <a:pt x="243" y="511"/>
                      <a:pt x="212" y="493"/>
                    </a:cubicBezTo>
                    <a:cubicBezTo>
                      <a:pt x="177" y="473"/>
                      <a:pt x="161" y="435"/>
                      <a:pt x="161" y="374"/>
                    </a:cubicBezTo>
                    <a:close/>
                    <a:moveTo>
                      <a:pt x="663" y="540"/>
                    </a:moveTo>
                    <a:cubicBezTo>
                      <a:pt x="663" y="574"/>
                      <a:pt x="635" y="602"/>
                      <a:pt x="601" y="602"/>
                    </a:cubicBezTo>
                    <a:cubicBezTo>
                      <a:pt x="82" y="602"/>
                      <a:pt x="82" y="602"/>
                      <a:pt x="82" y="602"/>
                    </a:cubicBezTo>
                    <a:cubicBezTo>
                      <a:pt x="48" y="602"/>
                      <a:pt x="21" y="574"/>
                      <a:pt x="21" y="540"/>
                    </a:cubicBezTo>
                    <a:cubicBezTo>
                      <a:pt x="21" y="536"/>
                      <a:pt x="21" y="536"/>
                      <a:pt x="21" y="536"/>
                    </a:cubicBezTo>
                    <a:cubicBezTo>
                      <a:pt x="260" y="536"/>
                      <a:pt x="260" y="536"/>
                      <a:pt x="260" y="536"/>
                    </a:cubicBezTo>
                    <a:cubicBezTo>
                      <a:pt x="261" y="559"/>
                      <a:pt x="280" y="577"/>
                      <a:pt x="303" y="577"/>
                    </a:cubicBezTo>
                    <a:cubicBezTo>
                      <a:pt x="380" y="577"/>
                      <a:pt x="380" y="577"/>
                      <a:pt x="380" y="577"/>
                    </a:cubicBezTo>
                    <a:cubicBezTo>
                      <a:pt x="403" y="577"/>
                      <a:pt x="422" y="559"/>
                      <a:pt x="424" y="536"/>
                    </a:cubicBezTo>
                    <a:cubicBezTo>
                      <a:pt x="630" y="536"/>
                      <a:pt x="630" y="536"/>
                      <a:pt x="630" y="536"/>
                    </a:cubicBezTo>
                    <a:cubicBezTo>
                      <a:pt x="630" y="536"/>
                      <a:pt x="630" y="536"/>
                      <a:pt x="630" y="536"/>
                    </a:cubicBezTo>
                    <a:cubicBezTo>
                      <a:pt x="663" y="536"/>
                      <a:pt x="663" y="536"/>
                      <a:pt x="663" y="536"/>
                    </a:cubicBezTo>
                    <a:lnTo>
                      <a:pt x="663" y="540"/>
                    </a:lnTo>
                    <a:close/>
                    <a:moveTo>
                      <a:pt x="663" y="540"/>
                    </a:moveTo>
                    <a:cubicBezTo>
                      <a:pt x="663" y="540"/>
                      <a:pt x="663" y="540"/>
                      <a:pt x="663" y="54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51" name="Freeform 6">
                <a:extLst>
                  <a:ext uri="{FF2B5EF4-FFF2-40B4-BE49-F238E27FC236}">
                    <a16:creationId xmlns:a16="http://schemas.microsoft.com/office/drawing/2014/main" id="{C44373D8-518A-4CAD-A641-30353E471717}"/>
                  </a:ext>
                </a:extLst>
              </p:cNvPr>
              <p:cNvSpPr>
                <a:spLocks noEditPoints="1"/>
              </p:cNvSpPr>
              <p:nvPr/>
            </p:nvSpPr>
            <p:spPr bwMode="auto">
              <a:xfrm>
                <a:off x="3322" y="5467"/>
                <a:ext cx="252" cy="504"/>
              </a:xfrm>
              <a:custGeom>
                <a:avLst/>
                <a:gdLst>
                  <a:gd name="T0" fmla="*/ 50 w 113"/>
                  <a:gd name="T1" fmla="*/ 209 h 233"/>
                  <a:gd name="T2" fmla="*/ 50 w 113"/>
                  <a:gd name="T3" fmla="*/ 223 h 233"/>
                  <a:gd name="T4" fmla="*/ 60 w 113"/>
                  <a:gd name="T5" fmla="*/ 233 h 233"/>
                  <a:gd name="T6" fmla="*/ 70 w 113"/>
                  <a:gd name="T7" fmla="*/ 223 h 233"/>
                  <a:gd name="T8" fmla="*/ 70 w 113"/>
                  <a:gd name="T9" fmla="*/ 208 h 233"/>
                  <a:gd name="T10" fmla="*/ 100 w 113"/>
                  <a:gd name="T11" fmla="*/ 193 h 233"/>
                  <a:gd name="T12" fmla="*/ 113 w 113"/>
                  <a:gd name="T13" fmla="*/ 156 h 233"/>
                  <a:gd name="T14" fmla="*/ 100 w 113"/>
                  <a:gd name="T15" fmla="*/ 120 h 233"/>
                  <a:gd name="T16" fmla="*/ 70 w 113"/>
                  <a:gd name="T17" fmla="*/ 102 h 233"/>
                  <a:gd name="T18" fmla="*/ 70 w 113"/>
                  <a:gd name="T19" fmla="*/ 43 h 233"/>
                  <a:gd name="T20" fmla="*/ 91 w 113"/>
                  <a:gd name="T21" fmla="*/ 50 h 233"/>
                  <a:gd name="T22" fmla="*/ 99 w 113"/>
                  <a:gd name="T23" fmla="*/ 52 h 233"/>
                  <a:gd name="T24" fmla="*/ 108 w 113"/>
                  <a:gd name="T25" fmla="*/ 40 h 233"/>
                  <a:gd name="T26" fmla="*/ 94 w 113"/>
                  <a:gd name="T27" fmla="*/ 27 h 233"/>
                  <a:gd name="T28" fmla="*/ 70 w 113"/>
                  <a:gd name="T29" fmla="*/ 23 h 233"/>
                  <a:gd name="T30" fmla="*/ 70 w 113"/>
                  <a:gd name="T31" fmla="*/ 10 h 233"/>
                  <a:gd name="T32" fmla="*/ 60 w 113"/>
                  <a:gd name="T33" fmla="*/ 0 h 233"/>
                  <a:gd name="T34" fmla="*/ 50 w 113"/>
                  <a:gd name="T35" fmla="*/ 10 h 233"/>
                  <a:gd name="T36" fmla="*/ 50 w 113"/>
                  <a:gd name="T37" fmla="*/ 23 h 233"/>
                  <a:gd name="T38" fmla="*/ 20 w 113"/>
                  <a:gd name="T39" fmla="*/ 35 h 233"/>
                  <a:gd name="T40" fmla="*/ 5 w 113"/>
                  <a:gd name="T41" fmla="*/ 70 h 233"/>
                  <a:gd name="T42" fmla="*/ 20 w 113"/>
                  <a:gd name="T43" fmla="*/ 104 h 233"/>
                  <a:gd name="T44" fmla="*/ 50 w 113"/>
                  <a:gd name="T45" fmla="*/ 119 h 233"/>
                  <a:gd name="T46" fmla="*/ 50 w 113"/>
                  <a:gd name="T47" fmla="*/ 188 h 233"/>
                  <a:gd name="T48" fmla="*/ 18 w 113"/>
                  <a:gd name="T49" fmla="*/ 173 h 233"/>
                  <a:gd name="T50" fmla="*/ 10 w 113"/>
                  <a:gd name="T51" fmla="*/ 167 h 233"/>
                  <a:gd name="T52" fmla="*/ 0 w 113"/>
                  <a:gd name="T53" fmla="*/ 180 h 233"/>
                  <a:gd name="T54" fmla="*/ 50 w 113"/>
                  <a:gd name="T55" fmla="*/ 209 h 233"/>
                  <a:gd name="T56" fmla="*/ 27 w 113"/>
                  <a:gd name="T57" fmla="*/ 67 h 233"/>
                  <a:gd name="T58" fmla="*/ 34 w 113"/>
                  <a:gd name="T59" fmla="*/ 50 h 233"/>
                  <a:gd name="T60" fmla="*/ 50 w 113"/>
                  <a:gd name="T61" fmla="*/ 44 h 233"/>
                  <a:gd name="T62" fmla="*/ 50 w 113"/>
                  <a:gd name="T63" fmla="*/ 95 h 233"/>
                  <a:gd name="T64" fmla="*/ 27 w 113"/>
                  <a:gd name="T65" fmla="*/ 67 h 233"/>
                  <a:gd name="T66" fmla="*/ 84 w 113"/>
                  <a:gd name="T67" fmla="*/ 136 h 233"/>
                  <a:gd name="T68" fmla="*/ 91 w 113"/>
                  <a:gd name="T69" fmla="*/ 158 h 233"/>
                  <a:gd name="T70" fmla="*/ 85 w 113"/>
                  <a:gd name="T71" fmla="*/ 178 h 233"/>
                  <a:gd name="T72" fmla="*/ 70 w 113"/>
                  <a:gd name="T73" fmla="*/ 187 h 233"/>
                  <a:gd name="T74" fmla="*/ 70 w 113"/>
                  <a:gd name="T75" fmla="*/ 127 h 233"/>
                  <a:gd name="T76" fmla="*/ 84 w 113"/>
                  <a:gd name="T77" fmla="*/ 136 h 233"/>
                  <a:gd name="T78" fmla="*/ 84 w 113"/>
                  <a:gd name="T79" fmla="*/ 136 h 233"/>
                  <a:gd name="T80" fmla="*/ 84 w 113"/>
                  <a:gd name="T81" fmla="*/ 13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 h="233">
                    <a:moveTo>
                      <a:pt x="50" y="209"/>
                    </a:moveTo>
                    <a:cubicBezTo>
                      <a:pt x="50" y="223"/>
                      <a:pt x="50" y="223"/>
                      <a:pt x="50" y="223"/>
                    </a:cubicBezTo>
                    <a:cubicBezTo>
                      <a:pt x="50" y="229"/>
                      <a:pt x="54" y="233"/>
                      <a:pt x="60" y="233"/>
                    </a:cubicBezTo>
                    <a:cubicBezTo>
                      <a:pt x="66" y="233"/>
                      <a:pt x="70" y="229"/>
                      <a:pt x="70" y="223"/>
                    </a:cubicBezTo>
                    <a:cubicBezTo>
                      <a:pt x="70" y="208"/>
                      <a:pt x="70" y="208"/>
                      <a:pt x="70" y="208"/>
                    </a:cubicBezTo>
                    <a:cubicBezTo>
                      <a:pt x="83" y="206"/>
                      <a:pt x="93" y="201"/>
                      <a:pt x="100" y="193"/>
                    </a:cubicBezTo>
                    <a:cubicBezTo>
                      <a:pt x="109" y="184"/>
                      <a:pt x="113" y="171"/>
                      <a:pt x="113" y="156"/>
                    </a:cubicBezTo>
                    <a:cubicBezTo>
                      <a:pt x="113" y="141"/>
                      <a:pt x="109" y="129"/>
                      <a:pt x="100" y="120"/>
                    </a:cubicBezTo>
                    <a:cubicBezTo>
                      <a:pt x="92" y="111"/>
                      <a:pt x="80" y="106"/>
                      <a:pt x="70" y="102"/>
                    </a:cubicBezTo>
                    <a:cubicBezTo>
                      <a:pt x="70" y="43"/>
                      <a:pt x="70" y="43"/>
                      <a:pt x="70" y="43"/>
                    </a:cubicBezTo>
                    <a:cubicBezTo>
                      <a:pt x="80" y="44"/>
                      <a:pt x="87" y="47"/>
                      <a:pt x="91" y="50"/>
                    </a:cubicBezTo>
                    <a:cubicBezTo>
                      <a:pt x="94" y="51"/>
                      <a:pt x="97" y="52"/>
                      <a:pt x="99" y="52"/>
                    </a:cubicBezTo>
                    <a:cubicBezTo>
                      <a:pt x="105" y="52"/>
                      <a:pt x="108" y="44"/>
                      <a:pt x="108" y="40"/>
                    </a:cubicBezTo>
                    <a:cubicBezTo>
                      <a:pt x="108" y="35"/>
                      <a:pt x="103" y="31"/>
                      <a:pt x="94" y="27"/>
                    </a:cubicBezTo>
                    <a:cubicBezTo>
                      <a:pt x="88" y="25"/>
                      <a:pt x="79" y="23"/>
                      <a:pt x="70" y="23"/>
                    </a:cubicBezTo>
                    <a:cubicBezTo>
                      <a:pt x="70" y="10"/>
                      <a:pt x="70" y="10"/>
                      <a:pt x="70" y="10"/>
                    </a:cubicBezTo>
                    <a:cubicBezTo>
                      <a:pt x="70" y="4"/>
                      <a:pt x="66" y="0"/>
                      <a:pt x="60" y="0"/>
                    </a:cubicBezTo>
                    <a:cubicBezTo>
                      <a:pt x="54" y="0"/>
                      <a:pt x="50" y="4"/>
                      <a:pt x="50" y="10"/>
                    </a:cubicBezTo>
                    <a:cubicBezTo>
                      <a:pt x="50" y="23"/>
                      <a:pt x="50" y="23"/>
                      <a:pt x="50" y="23"/>
                    </a:cubicBezTo>
                    <a:cubicBezTo>
                      <a:pt x="42" y="25"/>
                      <a:pt x="30" y="27"/>
                      <a:pt x="20" y="35"/>
                    </a:cubicBezTo>
                    <a:cubicBezTo>
                      <a:pt x="10" y="43"/>
                      <a:pt x="5" y="55"/>
                      <a:pt x="5" y="70"/>
                    </a:cubicBezTo>
                    <a:cubicBezTo>
                      <a:pt x="5" y="84"/>
                      <a:pt x="10" y="96"/>
                      <a:pt x="20" y="104"/>
                    </a:cubicBezTo>
                    <a:cubicBezTo>
                      <a:pt x="29" y="111"/>
                      <a:pt x="39" y="115"/>
                      <a:pt x="50" y="119"/>
                    </a:cubicBezTo>
                    <a:cubicBezTo>
                      <a:pt x="50" y="188"/>
                      <a:pt x="50" y="188"/>
                      <a:pt x="50" y="188"/>
                    </a:cubicBezTo>
                    <a:cubicBezTo>
                      <a:pt x="33" y="186"/>
                      <a:pt x="24" y="178"/>
                      <a:pt x="18" y="173"/>
                    </a:cubicBezTo>
                    <a:cubicBezTo>
                      <a:pt x="15" y="170"/>
                      <a:pt x="13" y="167"/>
                      <a:pt x="10" y="167"/>
                    </a:cubicBezTo>
                    <a:cubicBezTo>
                      <a:pt x="5" y="167"/>
                      <a:pt x="0" y="174"/>
                      <a:pt x="0" y="180"/>
                    </a:cubicBezTo>
                    <a:cubicBezTo>
                      <a:pt x="0" y="191"/>
                      <a:pt x="20" y="207"/>
                      <a:pt x="50" y="209"/>
                    </a:cubicBezTo>
                    <a:close/>
                    <a:moveTo>
                      <a:pt x="27" y="67"/>
                    </a:moveTo>
                    <a:cubicBezTo>
                      <a:pt x="27" y="60"/>
                      <a:pt x="29" y="54"/>
                      <a:pt x="34" y="50"/>
                    </a:cubicBezTo>
                    <a:cubicBezTo>
                      <a:pt x="38" y="47"/>
                      <a:pt x="43" y="45"/>
                      <a:pt x="50" y="44"/>
                    </a:cubicBezTo>
                    <a:cubicBezTo>
                      <a:pt x="50" y="95"/>
                      <a:pt x="50" y="95"/>
                      <a:pt x="50" y="95"/>
                    </a:cubicBezTo>
                    <a:cubicBezTo>
                      <a:pt x="35" y="89"/>
                      <a:pt x="27" y="82"/>
                      <a:pt x="27" y="67"/>
                    </a:cubicBezTo>
                    <a:close/>
                    <a:moveTo>
                      <a:pt x="84" y="136"/>
                    </a:moveTo>
                    <a:cubicBezTo>
                      <a:pt x="89" y="142"/>
                      <a:pt x="91" y="149"/>
                      <a:pt x="91" y="158"/>
                    </a:cubicBezTo>
                    <a:cubicBezTo>
                      <a:pt x="91" y="166"/>
                      <a:pt x="89" y="173"/>
                      <a:pt x="85" y="178"/>
                    </a:cubicBezTo>
                    <a:cubicBezTo>
                      <a:pt x="81" y="182"/>
                      <a:pt x="76" y="185"/>
                      <a:pt x="70" y="187"/>
                    </a:cubicBezTo>
                    <a:cubicBezTo>
                      <a:pt x="70" y="127"/>
                      <a:pt x="70" y="127"/>
                      <a:pt x="70" y="127"/>
                    </a:cubicBezTo>
                    <a:cubicBezTo>
                      <a:pt x="76" y="130"/>
                      <a:pt x="81" y="133"/>
                      <a:pt x="84" y="136"/>
                    </a:cubicBezTo>
                    <a:close/>
                    <a:moveTo>
                      <a:pt x="84" y="136"/>
                    </a:moveTo>
                    <a:cubicBezTo>
                      <a:pt x="84" y="136"/>
                      <a:pt x="84" y="136"/>
                      <a:pt x="84" y="136"/>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52" name="Group 9">
              <a:extLst>
                <a:ext uri="{FF2B5EF4-FFF2-40B4-BE49-F238E27FC236}">
                  <a16:creationId xmlns:a16="http://schemas.microsoft.com/office/drawing/2014/main" id="{10A99B64-595D-4263-B729-30D7965642AA}"/>
                </a:ext>
              </a:extLst>
            </p:cNvPr>
            <p:cNvGrpSpPr>
              <a:grpSpLocks noChangeAspect="1"/>
            </p:cNvGrpSpPr>
            <p:nvPr/>
          </p:nvGrpSpPr>
          <p:grpSpPr bwMode="auto">
            <a:xfrm>
              <a:off x="5689254" y="4149606"/>
              <a:ext cx="442514" cy="430244"/>
              <a:chOff x="4224" y="4480"/>
              <a:chExt cx="1118" cy="1087"/>
            </a:xfrm>
            <a:solidFill>
              <a:srgbClr val="00A3E0"/>
            </a:solidFill>
          </p:grpSpPr>
          <p:sp>
            <p:nvSpPr>
              <p:cNvPr id="253" name="Freeform 10">
                <a:extLst>
                  <a:ext uri="{FF2B5EF4-FFF2-40B4-BE49-F238E27FC236}">
                    <a16:creationId xmlns:a16="http://schemas.microsoft.com/office/drawing/2014/main" id="{D617EC80-D0CA-46B1-B9E5-19C968C06E52}"/>
                  </a:ext>
                </a:extLst>
              </p:cNvPr>
              <p:cNvSpPr>
                <a:spLocks noEditPoints="1"/>
              </p:cNvSpPr>
              <p:nvPr/>
            </p:nvSpPr>
            <p:spPr bwMode="auto">
              <a:xfrm>
                <a:off x="4224" y="4480"/>
                <a:ext cx="937" cy="849"/>
              </a:xfrm>
              <a:custGeom>
                <a:avLst/>
                <a:gdLst>
                  <a:gd name="T0" fmla="*/ 270 w 420"/>
                  <a:gd name="T1" fmla="*/ 327 h 392"/>
                  <a:gd name="T2" fmla="*/ 278 w 420"/>
                  <a:gd name="T3" fmla="*/ 319 h 392"/>
                  <a:gd name="T4" fmla="*/ 270 w 420"/>
                  <a:gd name="T5" fmla="*/ 311 h 392"/>
                  <a:gd name="T6" fmla="*/ 17 w 420"/>
                  <a:gd name="T7" fmla="*/ 311 h 392"/>
                  <a:gd name="T8" fmla="*/ 16 w 420"/>
                  <a:gd name="T9" fmla="*/ 310 h 392"/>
                  <a:gd name="T10" fmla="*/ 16 w 420"/>
                  <a:gd name="T11" fmla="*/ 18 h 392"/>
                  <a:gd name="T12" fmla="*/ 17 w 420"/>
                  <a:gd name="T13" fmla="*/ 16 h 392"/>
                  <a:gd name="T14" fmla="*/ 403 w 420"/>
                  <a:gd name="T15" fmla="*/ 16 h 392"/>
                  <a:gd name="T16" fmla="*/ 404 w 420"/>
                  <a:gd name="T17" fmla="*/ 18 h 392"/>
                  <a:gd name="T18" fmla="*/ 404 w 420"/>
                  <a:gd name="T19" fmla="*/ 158 h 392"/>
                  <a:gd name="T20" fmla="*/ 412 w 420"/>
                  <a:gd name="T21" fmla="*/ 166 h 392"/>
                  <a:gd name="T22" fmla="*/ 420 w 420"/>
                  <a:gd name="T23" fmla="*/ 158 h 392"/>
                  <a:gd name="T24" fmla="*/ 420 w 420"/>
                  <a:gd name="T25" fmla="*/ 18 h 392"/>
                  <a:gd name="T26" fmla="*/ 403 w 420"/>
                  <a:gd name="T27" fmla="*/ 0 h 392"/>
                  <a:gd name="T28" fmla="*/ 17 w 420"/>
                  <a:gd name="T29" fmla="*/ 0 h 392"/>
                  <a:gd name="T30" fmla="*/ 0 w 420"/>
                  <a:gd name="T31" fmla="*/ 18 h 392"/>
                  <a:gd name="T32" fmla="*/ 0 w 420"/>
                  <a:gd name="T33" fmla="*/ 310 h 392"/>
                  <a:gd name="T34" fmla="*/ 17 w 420"/>
                  <a:gd name="T35" fmla="*/ 327 h 392"/>
                  <a:gd name="T36" fmla="*/ 161 w 420"/>
                  <a:gd name="T37" fmla="*/ 327 h 392"/>
                  <a:gd name="T38" fmla="*/ 161 w 420"/>
                  <a:gd name="T39" fmla="*/ 376 h 392"/>
                  <a:gd name="T40" fmla="*/ 100 w 420"/>
                  <a:gd name="T41" fmla="*/ 376 h 392"/>
                  <a:gd name="T42" fmla="*/ 92 w 420"/>
                  <a:gd name="T43" fmla="*/ 384 h 392"/>
                  <a:gd name="T44" fmla="*/ 100 w 420"/>
                  <a:gd name="T45" fmla="*/ 392 h 392"/>
                  <a:gd name="T46" fmla="*/ 270 w 420"/>
                  <a:gd name="T47" fmla="*/ 392 h 392"/>
                  <a:gd name="T48" fmla="*/ 278 w 420"/>
                  <a:gd name="T49" fmla="*/ 384 h 392"/>
                  <a:gd name="T50" fmla="*/ 270 w 420"/>
                  <a:gd name="T51" fmla="*/ 376 h 392"/>
                  <a:gd name="T52" fmla="*/ 259 w 420"/>
                  <a:gd name="T53" fmla="*/ 376 h 392"/>
                  <a:gd name="T54" fmla="*/ 259 w 420"/>
                  <a:gd name="T55" fmla="*/ 327 h 392"/>
                  <a:gd name="T56" fmla="*/ 270 w 420"/>
                  <a:gd name="T57" fmla="*/ 327 h 392"/>
                  <a:gd name="T58" fmla="*/ 243 w 420"/>
                  <a:gd name="T59" fmla="*/ 376 h 392"/>
                  <a:gd name="T60" fmla="*/ 177 w 420"/>
                  <a:gd name="T61" fmla="*/ 376 h 392"/>
                  <a:gd name="T62" fmla="*/ 177 w 420"/>
                  <a:gd name="T63" fmla="*/ 327 h 392"/>
                  <a:gd name="T64" fmla="*/ 243 w 420"/>
                  <a:gd name="T65" fmla="*/ 327 h 392"/>
                  <a:gd name="T66" fmla="*/ 243 w 420"/>
                  <a:gd name="T67" fmla="*/ 376 h 392"/>
                  <a:gd name="T68" fmla="*/ 243 w 420"/>
                  <a:gd name="T69" fmla="*/ 376 h 392"/>
                  <a:gd name="T70" fmla="*/ 243 w 420"/>
                  <a:gd name="T71" fmla="*/ 3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0" h="392">
                    <a:moveTo>
                      <a:pt x="270" y="327"/>
                    </a:moveTo>
                    <a:cubicBezTo>
                      <a:pt x="275" y="327"/>
                      <a:pt x="278" y="324"/>
                      <a:pt x="278" y="319"/>
                    </a:cubicBezTo>
                    <a:cubicBezTo>
                      <a:pt x="278" y="315"/>
                      <a:pt x="275" y="311"/>
                      <a:pt x="270" y="311"/>
                    </a:cubicBezTo>
                    <a:cubicBezTo>
                      <a:pt x="17" y="311"/>
                      <a:pt x="17" y="311"/>
                      <a:pt x="17" y="311"/>
                    </a:cubicBezTo>
                    <a:cubicBezTo>
                      <a:pt x="17" y="311"/>
                      <a:pt x="16" y="311"/>
                      <a:pt x="16" y="310"/>
                    </a:cubicBezTo>
                    <a:cubicBezTo>
                      <a:pt x="16" y="18"/>
                      <a:pt x="16" y="18"/>
                      <a:pt x="16" y="18"/>
                    </a:cubicBezTo>
                    <a:cubicBezTo>
                      <a:pt x="16" y="17"/>
                      <a:pt x="17" y="16"/>
                      <a:pt x="17" y="16"/>
                    </a:cubicBezTo>
                    <a:cubicBezTo>
                      <a:pt x="403" y="16"/>
                      <a:pt x="403" y="16"/>
                      <a:pt x="403" y="16"/>
                    </a:cubicBezTo>
                    <a:cubicBezTo>
                      <a:pt x="404" y="16"/>
                      <a:pt x="404" y="17"/>
                      <a:pt x="404" y="18"/>
                    </a:cubicBezTo>
                    <a:cubicBezTo>
                      <a:pt x="404" y="158"/>
                      <a:pt x="404" y="158"/>
                      <a:pt x="404" y="158"/>
                    </a:cubicBezTo>
                    <a:cubicBezTo>
                      <a:pt x="404" y="163"/>
                      <a:pt x="408" y="166"/>
                      <a:pt x="412" y="166"/>
                    </a:cubicBezTo>
                    <a:cubicBezTo>
                      <a:pt x="417" y="166"/>
                      <a:pt x="420" y="163"/>
                      <a:pt x="420" y="158"/>
                    </a:cubicBezTo>
                    <a:cubicBezTo>
                      <a:pt x="420" y="18"/>
                      <a:pt x="420" y="18"/>
                      <a:pt x="420" y="18"/>
                    </a:cubicBezTo>
                    <a:cubicBezTo>
                      <a:pt x="420" y="8"/>
                      <a:pt x="413" y="0"/>
                      <a:pt x="403" y="0"/>
                    </a:cubicBezTo>
                    <a:cubicBezTo>
                      <a:pt x="17" y="0"/>
                      <a:pt x="17" y="0"/>
                      <a:pt x="17" y="0"/>
                    </a:cubicBezTo>
                    <a:cubicBezTo>
                      <a:pt x="8" y="0"/>
                      <a:pt x="0" y="8"/>
                      <a:pt x="0" y="18"/>
                    </a:cubicBezTo>
                    <a:cubicBezTo>
                      <a:pt x="0" y="310"/>
                      <a:pt x="0" y="310"/>
                      <a:pt x="0" y="310"/>
                    </a:cubicBezTo>
                    <a:cubicBezTo>
                      <a:pt x="0" y="319"/>
                      <a:pt x="8" y="327"/>
                      <a:pt x="17" y="327"/>
                    </a:cubicBezTo>
                    <a:cubicBezTo>
                      <a:pt x="161" y="327"/>
                      <a:pt x="161" y="327"/>
                      <a:pt x="161" y="327"/>
                    </a:cubicBezTo>
                    <a:cubicBezTo>
                      <a:pt x="161" y="376"/>
                      <a:pt x="161" y="376"/>
                      <a:pt x="161" y="376"/>
                    </a:cubicBezTo>
                    <a:cubicBezTo>
                      <a:pt x="100" y="376"/>
                      <a:pt x="100" y="376"/>
                      <a:pt x="100" y="376"/>
                    </a:cubicBezTo>
                    <a:cubicBezTo>
                      <a:pt x="95" y="376"/>
                      <a:pt x="92" y="379"/>
                      <a:pt x="92" y="384"/>
                    </a:cubicBezTo>
                    <a:cubicBezTo>
                      <a:pt x="92" y="388"/>
                      <a:pt x="95" y="392"/>
                      <a:pt x="100" y="392"/>
                    </a:cubicBezTo>
                    <a:cubicBezTo>
                      <a:pt x="270" y="392"/>
                      <a:pt x="270" y="392"/>
                      <a:pt x="270" y="392"/>
                    </a:cubicBezTo>
                    <a:cubicBezTo>
                      <a:pt x="275" y="392"/>
                      <a:pt x="278" y="388"/>
                      <a:pt x="278" y="384"/>
                    </a:cubicBezTo>
                    <a:cubicBezTo>
                      <a:pt x="278" y="379"/>
                      <a:pt x="275" y="376"/>
                      <a:pt x="270" y="376"/>
                    </a:cubicBezTo>
                    <a:cubicBezTo>
                      <a:pt x="259" y="376"/>
                      <a:pt x="259" y="376"/>
                      <a:pt x="259" y="376"/>
                    </a:cubicBezTo>
                    <a:cubicBezTo>
                      <a:pt x="259" y="327"/>
                      <a:pt x="259" y="327"/>
                      <a:pt x="259" y="327"/>
                    </a:cubicBezTo>
                    <a:lnTo>
                      <a:pt x="270" y="327"/>
                    </a:lnTo>
                    <a:close/>
                    <a:moveTo>
                      <a:pt x="243" y="376"/>
                    </a:moveTo>
                    <a:cubicBezTo>
                      <a:pt x="177" y="376"/>
                      <a:pt x="177" y="376"/>
                      <a:pt x="177" y="376"/>
                    </a:cubicBezTo>
                    <a:cubicBezTo>
                      <a:pt x="177" y="327"/>
                      <a:pt x="177" y="327"/>
                      <a:pt x="177" y="327"/>
                    </a:cubicBezTo>
                    <a:cubicBezTo>
                      <a:pt x="243" y="327"/>
                      <a:pt x="243" y="327"/>
                      <a:pt x="243" y="327"/>
                    </a:cubicBezTo>
                    <a:lnTo>
                      <a:pt x="243" y="376"/>
                    </a:lnTo>
                    <a:close/>
                    <a:moveTo>
                      <a:pt x="243" y="376"/>
                    </a:moveTo>
                    <a:cubicBezTo>
                      <a:pt x="243" y="376"/>
                      <a:pt x="243" y="376"/>
                      <a:pt x="243" y="376"/>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54" name="Freeform 11">
                <a:extLst>
                  <a:ext uri="{FF2B5EF4-FFF2-40B4-BE49-F238E27FC236}">
                    <a16:creationId xmlns:a16="http://schemas.microsoft.com/office/drawing/2014/main" id="{6FD3876F-5CC5-4BE3-8BB1-3BFB4B01B817}"/>
                  </a:ext>
                </a:extLst>
              </p:cNvPr>
              <p:cNvSpPr>
                <a:spLocks noEditPoints="1"/>
              </p:cNvSpPr>
              <p:nvPr/>
            </p:nvSpPr>
            <p:spPr bwMode="auto">
              <a:xfrm>
                <a:off x="4295" y="5037"/>
                <a:ext cx="549" cy="34"/>
              </a:xfrm>
              <a:custGeom>
                <a:avLst/>
                <a:gdLst>
                  <a:gd name="T0" fmla="*/ 238 w 246"/>
                  <a:gd name="T1" fmla="*/ 0 h 16"/>
                  <a:gd name="T2" fmla="*/ 8 w 246"/>
                  <a:gd name="T3" fmla="*/ 0 h 16"/>
                  <a:gd name="T4" fmla="*/ 0 w 246"/>
                  <a:gd name="T5" fmla="*/ 8 h 16"/>
                  <a:gd name="T6" fmla="*/ 8 w 246"/>
                  <a:gd name="T7" fmla="*/ 16 h 16"/>
                  <a:gd name="T8" fmla="*/ 238 w 246"/>
                  <a:gd name="T9" fmla="*/ 16 h 16"/>
                  <a:gd name="T10" fmla="*/ 246 w 246"/>
                  <a:gd name="T11" fmla="*/ 8 h 16"/>
                  <a:gd name="T12" fmla="*/ 238 w 246"/>
                  <a:gd name="T13" fmla="*/ 0 h 16"/>
                  <a:gd name="T14" fmla="*/ 238 w 246"/>
                  <a:gd name="T15" fmla="*/ 0 h 16"/>
                  <a:gd name="T16" fmla="*/ 238 w 24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16">
                    <a:moveTo>
                      <a:pt x="238" y="0"/>
                    </a:moveTo>
                    <a:cubicBezTo>
                      <a:pt x="8" y="0"/>
                      <a:pt x="8" y="0"/>
                      <a:pt x="8" y="0"/>
                    </a:cubicBezTo>
                    <a:cubicBezTo>
                      <a:pt x="4" y="0"/>
                      <a:pt x="0" y="4"/>
                      <a:pt x="0" y="8"/>
                    </a:cubicBezTo>
                    <a:cubicBezTo>
                      <a:pt x="0" y="12"/>
                      <a:pt x="4" y="16"/>
                      <a:pt x="8" y="16"/>
                    </a:cubicBezTo>
                    <a:cubicBezTo>
                      <a:pt x="238" y="16"/>
                      <a:pt x="238" y="16"/>
                      <a:pt x="238" y="16"/>
                    </a:cubicBezTo>
                    <a:cubicBezTo>
                      <a:pt x="243" y="16"/>
                      <a:pt x="246" y="12"/>
                      <a:pt x="246" y="8"/>
                    </a:cubicBezTo>
                    <a:cubicBezTo>
                      <a:pt x="246" y="4"/>
                      <a:pt x="243" y="0"/>
                      <a:pt x="238" y="0"/>
                    </a:cubicBezTo>
                    <a:close/>
                    <a:moveTo>
                      <a:pt x="238" y="0"/>
                    </a:moveTo>
                    <a:cubicBezTo>
                      <a:pt x="238" y="0"/>
                      <a:pt x="238" y="0"/>
                      <a:pt x="238"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55" name="Freeform 12">
                <a:extLst>
                  <a:ext uri="{FF2B5EF4-FFF2-40B4-BE49-F238E27FC236}">
                    <a16:creationId xmlns:a16="http://schemas.microsoft.com/office/drawing/2014/main" id="{621DC3F7-3208-4F08-9AA4-322D9F9AE2E4}"/>
                  </a:ext>
                </a:extLst>
              </p:cNvPr>
              <p:cNvSpPr>
                <a:spLocks noEditPoints="1"/>
              </p:cNvSpPr>
              <p:nvPr/>
            </p:nvSpPr>
            <p:spPr bwMode="auto">
              <a:xfrm>
                <a:off x="4880" y="4874"/>
                <a:ext cx="462" cy="693"/>
              </a:xfrm>
              <a:custGeom>
                <a:avLst/>
                <a:gdLst>
                  <a:gd name="T0" fmla="*/ 190 w 207"/>
                  <a:gd name="T1" fmla="*/ 0 h 320"/>
                  <a:gd name="T2" fmla="*/ 18 w 207"/>
                  <a:gd name="T3" fmla="*/ 0 h 320"/>
                  <a:gd name="T4" fmla="*/ 0 w 207"/>
                  <a:gd name="T5" fmla="*/ 18 h 320"/>
                  <a:gd name="T6" fmla="*/ 0 w 207"/>
                  <a:gd name="T7" fmla="*/ 302 h 320"/>
                  <a:gd name="T8" fmla="*/ 18 w 207"/>
                  <a:gd name="T9" fmla="*/ 320 h 320"/>
                  <a:gd name="T10" fmla="*/ 190 w 207"/>
                  <a:gd name="T11" fmla="*/ 320 h 320"/>
                  <a:gd name="T12" fmla="*/ 207 w 207"/>
                  <a:gd name="T13" fmla="*/ 302 h 320"/>
                  <a:gd name="T14" fmla="*/ 207 w 207"/>
                  <a:gd name="T15" fmla="*/ 18 h 320"/>
                  <a:gd name="T16" fmla="*/ 190 w 207"/>
                  <a:gd name="T17" fmla="*/ 0 h 320"/>
                  <a:gd name="T18" fmla="*/ 16 w 207"/>
                  <a:gd name="T19" fmla="*/ 48 h 320"/>
                  <a:gd name="T20" fmla="*/ 191 w 207"/>
                  <a:gd name="T21" fmla="*/ 48 h 320"/>
                  <a:gd name="T22" fmla="*/ 191 w 207"/>
                  <a:gd name="T23" fmla="*/ 240 h 320"/>
                  <a:gd name="T24" fmla="*/ 16 w 207"/>
                  <a:gd name="T25" fmla="*/ 240 h 320"/>
                  <a:gd name="T26" fmla="*/ 16 w 207"/>
                  <a:gd name="T27" fmla="*/ 48 h 320"/>
                  <a:gd name="T28" fmla="*/ 18 w 207"/>
                  <a:gd name="T29" fmla="*/ 16 h 320"/>
                  <a:gd name="T30" fmla="*/ 190 w 207"/>
                  <a:gd name="T31" fmla="*/ 16 h 320"/>
                  <a:gd name="T32" fmla="*/ 191 w 207"/>
                  <a:gd name="T33" fmla="*/ 18 h 320"/>
                  <a:gd name="T34" fmla="*/ 191 w 207"/>
                  <a:gd name="T35" fmla="*/ 32 h 320"/>
                  <a:gd name="T36" fmla="*/ 16 w 207"/>
                  <a:gd name="T37" fmla="*/ 32 h 320"/>
                  <a:gd name="T38" fmla="*/ 16 w 207"/>
                  <a:gd name="T39" fmla="*/ 18 h 320"/>
                  <a:gd name="T40" fmla="*/ 18 w 207"/>
                  <a:gd name="T41" fmla="*/ 16 h 320"/>
                  <a:gd name="T42" fmla="*/ 190 w 207"/>
                  <a:gd name="T43" fmla="*/ 304 h 320"/>
                  <a:gd name="T44" fmla="*/ 18 w 207"/>
                  <a:gd name="T45" fmla="*/ 304 h 320"/>
                  <a:gd name="T46" fmla="*/ 16 w 207"/>
                  <a:gd name="T47" fmla="*/ 302 h 320"/>
                  <a:gd name="T48" fmla="*/ 16 w 207"/>
                  <a:gd name="T49" fmla="*/ 256 h 320"/>
                  <a:gd name="T50" fmla="*/ 191 w 207"/>
                  <a:gd name="T51" fmla="*/ 256 h 320"/>
                  <a:gd name="T52" fmla="*/ 191 w 207"/>
                  <a:gd name="T53" fmla="*/ 302 h 320"/>
                  <a:gd name="T54" fmla="*/ 190 w 207"/>
                  <a:gd name="T55" fmla="*/ 304 h 320"/>
                  <a:gd name="T56" fmla="*/ 190 w 207"/>
                  <a:gd name="T57" fmla="*/ 304 h 320"/>
                  <a:gd name="T58" fmla="*/ 190 w 207"/>
                  <a:gd name="T59"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7" h="320">
                    <a:moveTo>
                      <a:pt x="190" y="0"/>
                    </a:moveTo>
                    <a:cubicBezTo>
                      <a:pt x="18" y="0"/>
                      <a:pt x="18" y="0"/>
                      <a:pt x="18" y="0"/>
                    </a:cubicBezTo>
                    <a:cubicBezTo>
                      <a:pt x="8" y="0"/>
                      <a:pt x="0" y="8"/>
                      <a:pt x="0" y="18"/>
                    </a:cubicBezTo>
                    <a:cubicBezTo>
                      <a:pt x="0" y="302"/>
                      <a:pt x="0" y="302"/>
                      <a:pt x="0" y="302"/>
                    </a:cubicBezTo>
                    <a:cubicBezTo>
                      <a:pt x="0" y="312"/>
                      <a:pt x="8" y="320"/>
                      <a:pt x="18" y="320"/>
                    </a:cubicBezTo>
                    <a:cubicBezTo>
                      <a:pt x="190" y="320"/>
                      <a:pt x="190" y="320"/>
                      <a:pt x="190" y="320"/>
                    </a:cubicBezTo>
                    <a:cubicBezTo>
                      <a:pt x="200" y="320"/>
                      <a:pt x="207" y="312"/>
                      <a:pt x="207" y="302"/>
                    </a:cubicBezTo>
                    <a:cubicBezTo>
                      <a:pt x="207" y="18"/>
                      <a:pt x="207" y="18"/>
                      <a:pt x="207" y="18"/>
                    </a:cubicBezTo>
                    <a:cubicBezTo>
                      <a:pt x="207" y="8"/>
                      <a:pt x="200" y="0"/>
                      <a:pt x="190" y="0"/>
                    </a:cubicBezTo>
                    <a:close/>
                    <a:moveTo>
                      <a:pt x="16" y="48"/>
                    </a:moveTo>
                    <a:cubicBezTo>
                      <a:pt x="191" y="48"/>
                      <a:pt x="191" y="48"/>
                      <a:pt x="191" y="48"/>
                    </a:cubicBezTo>
                    <a:cubicBezTo>
                      <a:pt x="191" y="240"/>
                      <a:pt x="191" y="240"/>
                      <a:pt x="191" y="240"/>
                    </a:cubicBezTo>
                    <a:cubicBezTo>
                      <a:pt x="16" y="240"/>
                      <a:pt x="16" y="240"/>
                      <a:pt x="16" y="240"/>
                    </a:cubicBezTo>
                    <a:lnTo>
                      <a:pt x="16" y="48"/>
                    </a:lnTo>
                    <a:close/>
                    <a:moveTo>
                      <a:pt x="18" y="16"/>
                    </a:moveTo>
                    <a:cubicBezTo>
                      <a:pt x="190" y="16"/>
                      <a:pt x="190" y="16"/>
                      <a:pt x="190" y="16"/>
                    </a:cubicBezTo>
                    <a:cubicBezTo>
                      <a:pt x="191" y="16"/>
                      <a:pt x="191" y="17"/>
                      <a:pt x="191" y="18"/>
                    </a:cubicBezTo>
                    <a:cubicBezTo>
                      <a:pt x="191" y="32"/>
                      <a:pt x="191" y="32"/>
                      <a:pt x="191" y="32"/>
                    </a:cubicBezTo>
                    <a:cubicBezTo>
                      <a:pt x="16" y="32"/>
                      <a:pt x="16" y="32"/>
                      <a:pt x="16" y="32"/>
                    </a:cubicBezTo>
                    <a:cubicBezTo>
                      <a:pt x="16" y="18"/>
                      <a:pt x="16" y="18"/>
                      <a:pt x="16" y="18"/>
                    </a:cubicBezTo>
                    <a:cubicBezTo>
                      <a:pt x="16" y="17"/>
                      <a:pt x="17" y="16"/>
                      <a:pt x="18" y="16"/>
                    </a:cubicBezTo>
                    <a:close/>
                    <a:moveTo>
                      <a:pt x="190" y="304"/>
                    </a:moveTo>
                    <a:cubicBezTo>
                      <a:pt x="18" y="304"/>
                      <a:pt x="18" y="304"/>
                      <a:pt x="18" y="304"/>
                    </a:cubicBezTo>
                    <a:cubicBezTo>
                      <a:pt x="17" y="304"/>
                      <a:pt x="16" y="303"/>
                      <a:pt x="16" y="302"/>
                    </a:cubicBezTo>
                    <a:cubicBezTo>
                      <a:pt x="16" y="256"/>
                      <a:pt x="16" y="256"/>
                      <a:pt x="16" y="256"/>
                    </a:cubicBezTo>
                    <a:cubicBezTo>
                      <a:pt x="191" y="256"/>
                      <a:pt x="191" y="256"/>
                      <a:pt x="191" y="256"/>
                    </a:cubicBezTo>
                    <a:cubicBezTo>
                      <a:pt x="191" y="302"/>
                      <a:pt x="191" y="302"/>
                      <a:pt x="191" y="302"/>
                    </a:cubicBezTo>
                    <a:cubicBezTo>
                      <a:pt x="191" y="303"/>
                      <a:pt x="191" y="304"/>
                      <a:pt x="190" y="304"/>
                    </a:cubicBezTo>
                    <a:close/>
                    <a:moveTo>
                      <a:pt x="190" y="304"/>
                    </a:moveTo>
                    <a:cubicBezTo>
                      <a:pt x="190" y="304"/>
                      <a:pt x="190" y="304"/>
                      <a:pt x="190" y="304"/>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56" name="Freeform 13">
                <a:extLst>
                  <a:ext uri="{FF2B5EF4-FFF2-40B4-BE49-F238E27FC236}">
                    <a16:creationId xmlns:a16="http://schemas.microsoft.com/office/drawing/2014/main" id="{25497BAF-DD5C-4FD8-832B-F1F71D46C509}"/>
                  </a:ext>
                </a:extLst>
              </p:cNvPr>
              <p:cNvSpPr>
                <a:spLocks noEditPoints="1"/>
              </p:cNvSpPr>
              <p:nvPr/>
            </p:nvSpPr>
            <p:spPr bwMode="auto">
              <a:xfrm>
                <a:off x="5059" y="5463"/>
                <a:ext cx="107" cy="35"/>
              </a:xfrm>
              <a:custGeom>
                <a:avLst/>
                <a:gdLst>
                  <a:gd name="T0" fmla="*/ 40 w 48"/>
                  <a:gd name="T1" fmla="*/ 0 h 16"/>
                  <a:gd name="T2" fmla="*/ 8 w 48"/>
                  <a:gd name="T3" fmla="*/ 0 h 16"/>
                  <a:gd name="T4" fmla="*/ 0 w 48"/>
                  <a:gd name="T5" fmla="*/ 8 h 16"/>
                  <a:gd name="T6" fmla="*/ 8 w 48"/>
                  <a:gd name="T7" fmla="*/ 16 h 16"/>
                  <a:gd name="T8" fmla="*/ 40 w 48"/>
                  <a:gd name="T9" fmla="*/ 16 h 16"/>
                  <a:gd name="T10" fmla="*/ 48 w 48"/>
                  <a:gd name="T11" fmla="*/ 8 h 16"/>
                  <a:gd name="T12" fmla="*/ 40 w 48"/>
                  <a:gd name="T13" fmla="*/ 0 h 16"/>
                  <a:gd name="T14" fmla="*/ 40 w 48"/>
                  <a:gd name="T15" fmla="*/ 0 h 16"/>
                  <a:gd name="T16" fmla="*/ 40 w 4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6">
                    <a:moveTo>
                      <a:pt x="40" y="0"/>
                    </a:moveTo>
                    <a:cubicBezTo>
                      <a:pt x="8" y="0"/>
                      <a:pt x="8" y="0"/>
                      <a:pt x="8" y="0"/>
                    </a:cubicBezTo>
                    <a:cubicBezTo>
                      <a:pt x="3" y="0"/>
                      <a:pt x="0" y="3"/>
                      <a:pt x="0" y="8"/>
                    </a:cubicBezTo>
                    <a:cubicBezTo>
                      <a:pt x="0" y="12"/>
                      <a:pt x="3" y="16"/>
                      <a:pt x="8" y="16"/>
                    </a:cubicBezTo>
                    <a:cubicBezTo>
                      <a:pt x="40" y="16"/>
                      <a:pt x="40" y="16"/>
                      <a:pt x="40" y="16"/>
                    </a:cubicBezTo>
                    <a:cubicBezTo>
                      <a:pt x="44" y="16"/>
                      <a:pt x="48" y="12"/>
                      <a:pt x="48" y="8"/>
                    </a:cubicBezTo>
                    <a:cubicBezTo>
                      <a:pt x="48" y="3"/>
                      <a:pt x="44" y="0"/>
                      <a:pt x="40" y="0"/>
                    </a:cubicBezTo>
                    <a:close/>
                    <a:moveTo>
                      <a:pt x="40" y="0"/>
                    </a:moveTo>
                    <a:cubicBezTo>
                      <a:pt x="40" y="0"/>
                      <a:pt x="40" y="0"/>
                      <a:pt x="40"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257" name="Group 16">
              <a:extLst>
                <a:ext uri="{FF2B5EF4-FFF2-40B4-BE49-F238E27FC236}">
                  <a16:creationId xmlns:a16="http://schemas.microsoft.com/office/drawing/2014/main" id="{3A2A6A25-4073-4DF0-A4FE-880ED86FCF88}"/>
                </a:ext>
              </a:extLst>
            </p:cNvPr>
            <p:cNvGrpSpPr>
              <a:grpSpLocks noChangeAspect="1"/>
            </p:cNvGrpSpPr>
            <p:nvPr/>
          </p:nvGrpSpPr>
          <p:grpSpPr bwMode="auto">
            <a:xfrm>
              <a:off x="5693899" y="3447635"/>
              <a:ext cx="433229" cy="419963"/>
              <a:chOff x="3736" y="4411"/>
              <a:chExt cx="1143" cy="1108"/>
            </a:xfrm>
            <a:solidFill>
              <a:srgbClr val="00A3E0"/>
            </a:solidFill>
          </p:grpSpPr>
          <p:sp>
            <p:nvSpPr>
              <p:cNvPr id="258" name="Freeform 17">
                <a:extLst>
                  <a:ext uri="{FF2B5EF4-FFF2-40B4-BE49-F238E27FC236}">
                    <a16:creationId xmlns:a16="http://schemas.microsoft.com/office/drawing/2014/main" id="{D908A833-A126-4135-9E07-FDF0A6ACDF1E}"/>
                  </a:ext>
                </a:extLst>
              </p:cNvPr>
              <p:cNvSpPr>
                <a:spLocks noEditPoints="1"/>
              </p:cNvSpPr>
              <p:nvPr/>
            </p:nvSpPr>
            <p:spPr bwMode="auto">
              <a:xfrm>
                <a:off x="3736" y="4558"/>
                <a:ext cx="741" cy="961"/>
              </a:xfrm>
              <a:custGeom>
                <a:avLst/>
                <a:gdLst>
                  <a:gd name="T0" fmla="*/ 290 w 332"/>
                  <a:gd name="T1" fmla="*/ 341 h 444"/>
                  <a:gd name="T2" fmla="*/ 256 w 332"/>
                  <a:gd name="T3" fmla="*/ 307 h 444"/>
                  <a:gd name="T4" fmla="*/ 256 w 332"/>
                  <a:gd name="T5" fmla="*/ 265 h 444"/>
                  <a:gd name="T6" fmla="*/ 273 w 332"/>
                  <a:gd name="T7" fmla="*/ 204 h 444"/>
                  <a:gd name="T8" fmla="*/ 273 w 332"/>
                  <a:gd name="T9" fmla="*/ 128 h 444"/>
                  <a:gd name="T10" fmla="*/ 136 w 332"/>
                  <a:gd name="T11" fmla="*/ 0 h 444"/>
                  <a:gd name="T12" fmla="*/ 0 w 332"/>
                  <a:gd name="T13" fmla="*/ 128 h 444"/>
                  <a:gd name="T14" fmla="*/ 0 w 332"/>
                  <a:gd name="T15" fmla="*/ 204 h 444"/>
                  <a:gd name="T16" fmla="*/ 69 w 332"/>
                  <a:gd name="T17" fmla="*/ 315 h 444"/>
                  <a:gd name="T18" fmla="*/ 77 w 332"/>
                  <a:gd name="T19" fmla="*/ 300 h 444"/>
                  <a:gd name="T20" fmla="*/ 17 w 332"/>
                  <a:gd name="T21" fmla="*/ 204 h 444"/>
                  <a:gd name="T22" fmla="*/ 17 w 332"/>
                  <a:gd name="T23" fmla="*/ 128 h 444"/>
                  <a:gd name="T24" fmla="*/ 136 w 332"/>
                  <a:gd name="T25" fmla="*/ 17 h 444"/>
                  <a:gd name="T26" fmla="*/ 256 w 332"/>
                  <a:gd name="T27" fmla="*/ 128 h 444"/>
                  <a:gd name="T28" fmla="*/ 256 w 332"/>
                  <a:gd name="T29" fmla="*/ 204 h 444"/>
                  <a:gd name="T30" fmla="*/ 196 w 332"/>
                  <a:gd name="T31" fmla="*/ 300 h 444"/>
                  <a:gd name="T32" fmla="*/ 155 w 332"/>
                  <a:gd name="T33" fmla="*/ 322 h 444"/>
                  <a:gd name="T34" fmla="*/ 118 w 332"/>
                  <a:gd name="T35" fmla="*/ 322 h 444"/>
                  <a:gd name="T36" fmla="*/ 109 w 332"/>
                  <a:gd name="T37" fmla="*/ 337 h 444"/>
                  <a:gd name="T38" fmla="*/ 163 w 332"/>
                  <a:gd name="T39" fmla="*/ 337 h 444"/>
                  <a:gd name="T40" fmla="*/ 170 w 332"/>
                  <a:gd name="T41" fmla="*/ 333 h 444"/>
                  <a:gd name="T42" fmla="*/ 170 w 332"/>
                  <a:gd name="T43" fmla="*/ 375 h 444"/>
                  <a:gd name="T44" fmla="*/ 178 w 332"/>
                  <a:gd name="T45" fmla="*/ 384 h 444"/>
                  <a:gd name="T46" fmla="*/ 240 w 332"/>
                  <a:gd name="T47" fmla="*/ 390 h 444"/>
                  <a:gd name="T48" fmla="*/ 256 w 332"/>
                  <a:gd name="T49" fmla="*/ 407 h 444"/>
                  <a:gd name="T50" fmla="*/ 256 w 332"/>
                  <a:gd name="T51" fmla="*/ 444 h 444"/>
                  <a:gd name="T52" fmla="*/ 273 w 332"/>
                  <a:gd name="T53" fmla="*/ 444 h 444"/>
                  <a:gd name="T54" fmla="*/ 273 w 332"/>
                  <a:gd name="T55" fmla="*/ 407 h 444"/>
                  <a:gd name="T56" fmla="*/ 242 w 332"/>
                  <a:gd name="T57" fmla="*/ 373 h 444"/>
                  <a:gd name="T58" fmla="*/ 187 w 332"/>
                  <a:gd name="T59" fmla="*/ 368 h 444"/>
                  <a:gd name="T60" fmla="*/ 187 w 332"/>
                  <a:gd name="T61" fmla="*/ 324 h 444"/>
                  <a:gd name="T62" fmla="*/ 204 w 332"/>
                  <a:gd name="T63" fmla="*/ 315 h 444"/>
                  <a:gd name="T64" fmla="*/ 239 w 332"/>
                  <a:gd name="T65" fmla="*/ 288 h 444"/>
                  <a:gd name="T66" fmla="*/ 239 w 332"/>
                  <a:gd name="T67" fmla="*/ 307 h 444"/>
                  <a:gd name="T68" fmla="*/ 290 w 332"/>
                  <a:gd name="T69" fmla="*/ 358 h 444"/>
                  <a:gd name="T70" fmla="*/ 332 w 332"/>
                  <a:gd name="T71" fmla="*/ 358 h 444"/>
                  <a:gd name="T72" fmla="*/ 332 w 332"/>
                  <a:gd name="T73" fmla="*/ 341 h 444"/>
                  <a:gd name="T74" fmla="*/ 290 w 332"/>
                  <a:gd name="T75" fmla="*/ 341 h 444"/>
                  <a:gd name="T76" fmla="*/ 290 w 332"/>
                  <a:gd name="T77" fmla="*/ 341 h 444"/>
                  <a:gd name="T78" fmla="*/ 290 w 332"/>
                  <a:gd name="T79" fmla="*/ 34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2" h="444">
                    <a:moveTo>
                      <a:pt x="290" y="341"/>
                    </a:moveTo>
                    <a:cubicBezTo>
                      <a:pt x="271" y="341"/>
                      <a:pt x="256" y="326"/>
                      <a:pt x="256" y="307"/>
                    </a:cubicBezTo>
                    <a:cubicBezTo>
                      <a:pt x="256" y="265"/>
                      <a:pt x="256" y="265"/>
                      <a:pt x="256" y="265"/>
                    </a:cubicBezTo>
                    <a:cubicBezTo>
                      <a:pt x="267" y="247"/>
                      <a:pt x="273" y="225"/>
                      <a:pt x="273" y="204"/>
                    </a:cubicBezTo>
                    <a:cubicBezTo>
                      <a:pt x="273" y="128"/>
                      <a:pt x="273" y="128"/>
                      <a:pt x="273" y="128"/>
                    </a:cubicBezTo>
                    <a:cubicBezTo>
                      <a:pt x="273" y="57"/>
                      <a:pt x="211" y="0"/>
                      <a:pt x="136" y="0"/>
                    </a:cubicBezTo>
                    <a:cubicBezTo>
                      <a:pt x="61" y="0"/>
                      <a:pt x="0" y="57"/>
                      <a:pt x="0" y="128"/>
                    </a:cubicBezTo>
                    <a:cubicBezTo>
                      <a:pt x="0" y="204"/>
                      <a:pt x="0" y="204"/>
                      <a:pt x="0" y="204"/>
                    </a:cubicBezTo>
                    <a:cubicBezTo>
                      <a:pt x="0" y="251"/>
                      <a:pt x="27" y="293"/>
                      <a:pt x="69" y="315"/>
                    </a:cubicBezTo>
                    <a:cubicBezTo>
                      <a:pt x="77" y="300"/>
                      <a:pt x="77" y="300"/>
                      <a:pt x="77" y="300"/>
                    </a:cubicBezTo>
                    <a:cubicBezTo>
                      <a:pt x="40" y="281"/>
                      <a:pt x="17" y="244"/>
                      <a:pt x="17" y="204"/>
                    </a:cubicBezTo>
                    <a:cubicBezTo>
                      <a:pt x="17" y="128"/>
                      <a:pt x="17" y="128"/>
                      <a:pt x="17" y="128"/>
                    </a:cubicBezTo>
                    <a:cubicBezTo>
                      <a:pt x="17" y="67"/>
                      <a:pt x="70" y="17"/>
                      <a:pt x="136" y="17"/>
                    </a:cubicBezTo>
                    <a:cubicBezTo>
                      <a:pt x="202" y="17"/>
                      <a:pt x="256" y="67"/>
                      <a:pt x="256" y="128"/>
                    </a:cubicBezTo>
                    <a:cubicBezTo>
                      <a:pt x="256" y="204"/>
                      <a:pt x="256" y="204"/>
                      <a:pt x="256" y="204"/>
                    </a:cubicBezTo>
                    <a:cubicBezTo>
                      <a:pt x="255" y="244"/>
                      <a:pt x="232" y="281"/>
                      <a:pt x="196" y="300"/>
                    </a:cubicBezTo>
                    <a:cubicBezTo>
                      <a:pt x="155" y="322"/>
                      <a:pt x="155" y="322"/>
                      <a:pt x="155" y="322"/>
                    </a:cubicBezTo>
                    <a:cubicBezTo>
                      <a:pt x="143" y="328"/>
                      <a:pt x="129" y="328"/>
                      <a:pt x="118" y="322"/>
                    </a:cubicBezTo>
                    <a:cubicBezTo>
                      <a:pt x="109" y="337"/>
                      <a:pt x="109" y="337"/>
                      <a:pt x="109" y="337"/>
                    </a:cubicBezTo>
                    <a:cubicBezTo>
                      <a:pt x="126" y="345"/>
                      <a:pt x="146" y="345"/>
                      <a:pt x="163" y="337"/>
                    </a:cubicBezTo>
                    <a:cubicBezTo>
                      <a:pt x="170" y="333"/>
                      <a:pt x="170" y="333"/>
                      <a:pt x="170" y="333"/>
                    </a:cubicBezTo>
                    <a:cubicBezTo>
                      <a:pt x="170" y="375"/>
                      <a:pt x="170" y="375"/>
                      <a:pt x="170" y="375"/>
                    </a:cubicBezTo>
                    <a:cubicBezTo>
                      <a:pt x="170" y="380"/>
                      <a:pt x="174" y="383"/>
                      <a:pt x="178" y="384"/>
                    </a:cubicBezTo>
                    <a:cubicBezTo>
                      <a:pt x="240" y="390"/>
                      <a:pt x="240" y="390"/>
                      <a:pt x="240" y="390"/>
                    </a:cubicBezTo>
                    <a:cubicBezTo>
                      <a:pt x="249" y="391"/>
                      <a:pt x="256" y="398"/>
                      <a:pt x="256" y="407"/>
                    </a:cubicBezTo>
                    <a:cubicBezTo>
                      <a:pt x="256" y="444"/>
                      <a:pt x="256" y="444"/>
                      <a:pt x="256" y="444"/>
                    </a:cubicBezTo>
                    <a:cubicBezTo>
                      <a:pt x="273" y="444"/>
                      <a:pt x="273" y="444"/>
                      <a:pt x="273" y="444"/>
                    </a:cubicBezTo>
                    <a:cubicBezTo>
                      <a:pt x="273" y="407"/>
                      <a:pt x="273" y="407"/>
                      <a:pt x="273" y="407"/>
                    </a:cubicBezTo>
                    <a:cubicBezTo>
                      <a:pt x="273" y="390"/>
                      <a:pt x="259" y="375"/>
                      <a:pt x="242" y="373"/>
                    </a:cubicBezTo>
                    <a:cubicBezTo>
                      <a:pt x="187" y="368"/>
                      <a:pt x="187" y="368"/>
                      <a:pt x="187" y="368"/>
                    </a:cubicBezTo>
                    <a:cubicBezTo>
                      <a:pt x="187" y="324"/>
                      <a:pt x="187" y="324"/>
                      <a:pt x="187" y="324"/>
                    </a:cubicBezTo>
                    <a:cubicBezTo>
                      <a:pt x="204" y="315"/>
                      <a:pt x="204" y="315"/>
                      <a:pt x="204" y="315"/>
                    </a:cubicBezTo>
                    <a:cubicBezTo>
                      <a:pt x="217" y="308"/>
                      <a:pt x="229" y="299"/>
                      <a:pt x="239" y="288"/>
                    </a:cubicBezTo>
                    <a:cubicBezTo>
                      <a:pt x="239" y="307"/>
                      <a:pt x="239" y="307"/>
                      <a:pt x="239" y="307"/>
                    </a:cubicBezTo>
                    <a:cubicBezTo>
                      <a:pt x="239" y="335"/>
                      <a:pt x="262" y="358"/>
                      <a:pt x="290" y="358"/>
                    </a:cubicBezTo>
                    <a:cubicBezTo>
                      <a:pt x="332" y="358"/>
                      <a:pt x="332" y="358"/>
                      <a:pt x="332" y="358"/>
                    </a:cubicBezTo>
                    <a:cubicBezTo>
                      <a:pt x="332" y="341"/>
                      <a:pt x="332" y="341"/>
                      <a:pt x="332" y="341"/>
                    </a:cubicBezTo>
                    <a:lnTo>
                      <a:pt x="290" y="341"/>
                    </a:lnTo>
                    <a:close/>
                    <a:moveTo>
                      <a:pt x="290" y="341"/>
                    </a:moveTo>
                    <a:cubicBezTo>
                      <a:pt x="290" y="341"/>
                      <a:pt x="290" y="341"/>
                      <a:pt x="290" y="341"/>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59" name="Freeform 18">
                <a:extLst>
                  <a:ext uri="{FF2B5EF4-FFF2-40B4-BE49-F238E27FC236}">
                    <a16:creationId xmlns:a16="http://schemas.microsoft.com/office/drawing/2014/main" id="{26F215D8-9AB4-42E1-98DF-DC8F3D13D851}"/>
                  </a:ext>
                </a:extLst>
              </p:cNvPr>
              <p:cNvSpPr>
                <a:spLocks noEditPoints="1"/>
              </p:cNvSpPr>
              <p:nvPr/>
            </p:nvSpPr>
            <p:spPr bwMode="auto">
              <a:xfrm>
                <a:off x="3736" y="5244"/>
                <a:ext cx="228" cy="275"/>
              </a:xfrm>
              <a:custGeom>
                <a:avLst/>
                <a:gdLst>
                  <a:gd name="T0" fmla="*/ 85 w 102"/>
                  <a:gd name="T1" fmla="*/ 0 h 127"/>
                  <a:gd name="T2" fmla="*/ 85 w 102"/>
                  <a:gd name="T3" fmla="*/ 51 h 127"/>
                  <a:gd name="T4" fmla="*/ 30 w 102"/>
                  <a:gd name="T5" fmla="*/ 56 h 127"/>
                  <a:gd name="T6" fmla="*/ 0 w 102"/>
                  <a:gd name="T7" fmla="*/ 90 h 127"/>
                  <a:gd name="T8" fmla="*/ 0 w 102"/>
                  <a:gd name="T9" fmla="*/ 127 h 127"/>
                  <a:gd name="T10" fmla="*/ 17 w 102"/>
                  <a:gd name="T11" fmla="*/ 127 h 127"/>
                  <a:gd name="T12" fmla="*/ 17 w 102"/>
                  <a:gd name="T13" fmla="*/ 90 h 127"/>
                  <a:gd name="T14" fmla="*/ 32 w 102"/>
                  <a:gd name="T15" fmla="*/ 73 h 127"/>
                  <a:gd name="T16" fmla="*/ 94 w 102"/>
                  <a:gd name="T17" fmla="*/ 67 h 127"/>
                  <a:gd name="T18" fmla="*/ 102 w 102"/>
                  <a:gd name="T19" fmla="*/ 58 h 127"/>
                  <a:gd name="T20" fmla="*/ 102 w 102"/>
                  <a:gd name="T21" fmla="*/ 0 h 127"/>
                  <a:gd name="T22" fmla="*/ 85 w 102"/>
                  <a:gd name="T23" fmla="*/ 0 h 127"/>
                  <a:gd name="T24" fmla="*/ 85 w 102"/>
                  <a:gd name="T25" fmla="*/ 0 h 127"/>
                  <a:gd name="T26" fmla="*/ 85 w 102"/>
                  <a:gd name="T2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127">
                    <a:moveTo>
                      <a:pt x="85" y="0"/>
                    </a:moveTo>
                    <a:cubicBezTo>
                      <a:pt x="85" y="51"/>
                      <a:pt x="85" y="51"/>
                      <a:pt x="85" y="51"/>
                    </a:cubicBezTo>
                    <a:cubicBezTo>
                      <a:pt x="30" y="56"/>
                      <a:pt x="30" y="56"/>
                      <a:pt x="30" y="56"/>
                    </a:cubicBezTo>
                    <a:cubicBezTo>
                      <a:pt x="13" y="58"/>
                      <a:pt x="0" y="73"/>
                      <a:pt x="0" y="90"/>
                    </a:cubicBezTo>
                    <a:cubicBezTo>
                      <a:pt x="0" y="127"/>
                      <a:pt x="0" y="127"/>
                      <a:pt x="0" y="127"/>
                    </a:cubicBezTo>
                    <a:cubicBezTo>
                      <a:pt x="17" y="127"/>
                      <a:pt x="17" y="127"/>
                      <a:pt x="17" y="127"/>
                    </a:cubicBezTo>
                    <a:cubicBezTo>
                      <a:pt x="17" y="90"/>
                      <a:pt x="17" y="90"/>
                      <a:pt x="17" y="90"/>
                    </a:cubicBezTo>
                    <a:cubicBezTo>
                      <a:pt x="17" y="81"/>
                      <a:pt x="23" y="74"/>
                      <a:pt x="32" y="73"/>
                    </a:cubicBezTo>
                    <a:cubicBezTo>
                      <a:pt x="94" y="67"/>
                      <a:pt x="94" y="67"/>
                      <a:pt x="94" y="67"/>
                    </a:cubicBezTo>
                    <a:cubicBezTo>
                      <a:pt x="99" y="66"/>
                      <a:pt x="102" y="63"/>
                      <a:pt x="102" y="58"/>
                    </a:cubicBezTo>
                    <a:cubicBezTo>
                      <a:pt x="102" y="0"/>
                      <a:pt x="102" y="0"/>
                      <a:pt x="102" y="0"/>
                    </a:cubicBezTo>
                    <a:lnTo>
                      <a:pt x="85" y="0"/>
                    </a:lnTo>
                    <a:close/>
                    <a:moveTo>
                      <a:pt x="85" y="0"/>
                    </a:moveTo>
                    <a:cubicBezTo>
                      <a:pt x="85" y="0"/>
                      <a:pt x="85" y="0"/>
                      <a:pt x="85"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0" name="Freeform 19">
                <a:extLst>
                  <a:ext uri="{FF2B5EF4-FFF2-40B4-BE49-F238E27FC236}">
                    <a16:creationId xmlns:a16="http://schemas.microsoft.com/office/drawing/2014/main" id="{564207AA-79ED-4395-A53D-85E86834F042}"/>
                  </a:ext>
                </a:extLst>
              </p:cNvPr>
              <p:cNvSpPr>
                <a:spLocks noEditPoints="1"/>
              </p:cNvSpPr>
              <p:nvPr/>
            </p:nvSpPr>
            <p:spPr bwMode="auto">
              <a:xfrm>
                <a:off x="3812" y="4669"/>
                <a:ext cx="458" cy="443"/>
              </a:xfrm>
              <a:custGeom>
                <a:avLst/>
                <a:gdLst>
                  <a:gd name="T0" fmla="*/ 173 w 205"/>
                  <a:gd name="T1" fmla="*/ 73 h 205"/>
                  <a:gd name="T2" fmla="*/ 186 w 205"/>
                  <a:gd name="T3" fmla="*/ 42 h 205"/>
                  <a:gd name="T4" fmla="*/ 152 w 205"/>
                  <a:gd name="T5" fmla="*/ 17 h 205"/>
                  <a:gd name="T6" fmla="*/ 126 w 205"/>
                  <a:gd name="T7" fmla="*/ 7 h 205"/>
                  <a:gd name="T8" fmla="*/ 87 w 205"/>
                  <a:gd name="T9" fmla="*/ 0 h 205"/>
                  <a:gd name="T10" fmla="*/ 73 w 205"/>
                  <a:gd name="T11" fmla="*/ 32 h 205"/>
                  <a:gd name="T12" fmla="*/ 41 w 205"/>
                  <a:gd name="T13" fmla="*/ 18 h 205"/>
                  <a:gd name="T14" fmla="*/ 17 w 205"/>
                  <a:gd name="T15" fmla="*/ 53 h 205"/>
                  <a:gd name="T16" fmla="*/ 7 w 205"/>
                  <a:gd name="T17" fmla="*/ 79 h 205"/>
                  <a:gd name="T18" fmla="*/ 0 w 205"/>
                  <a:gd name="T19" fmla="*/ 118 h 205"/>
                  <a:gd name="T20" fmla="*/ 31 w 205"/>
                  <a:gd name="T21" fmla="*/ 132 h 205"/>
                  <a:gd name="T22" fmla="*/ 18 w 205"/>
                  <a:gd name="T23" fmla="*/ 163 h 205"/>
                  <a:gd name="T24" fmla="*/ 52 w 205"/>
                  <a:gd name="T25" fmla="*/ 188 h 205"/>
                  <a:gd name="T26" fmla="*/ 78 w 205"/>
                  <a:gd name="T27" fmla="*/ 198 h 205"/>
                  <a:gd name="T28" fmla="*/ 118 w 205"/>
                  <a:gd name="T29" fmla="*/ 205 h 205"/>
                  <a:gd name="T30" fmla="*/ 131 w 205"/>
                  <a:gd name="T31" fmla="*/ 173 h 205"/>
                  <a:gd name="T32" fmla="*/ 163 w 205"/>
                  <a:gd name="T33" fmla="*/ 187 h 205"/>
                  <a:gd name="T34" fmla="*/ 187 w 205"/>
                  <a:gd name="T35" fmla="*/ 152 h 205"/>
                  <a:gd name="T36" fmla="*/ 198 w 205"/>
                  <a:gd name="T37" fmla="*/ 127 h 205"/>
                  <a:gd name="T38" fmla="*/ 205 w 205"/>
                  <a:gd name="T39" fmla="*/ 87 h 205"/>
                  <a:gd name="T40" fmla="*/ 188 w 205"/>
                  <a:gd name="T41" fmla="*/ 111 h 205"/>
                  <a:gd name="T42" fmla="*/ 156 w 205"/>
                  <a:gd name="T43" fmla="*/ 135 h 205"/>
                  <a:gd name="T44" fmla="*/ 169 w 205"/>
                  <a:gd name="T45" fmla="*/ 156 h 205"/>
                  <a:gd name="T46" fmla="*/ 140 w 205"/>
                  <a:gd name="T47" fmla="*/ 159 h 205"/>
                  <a:gd name="T48" fmla="*/ 115 w 205"/>
                  <a:gd name="T49" fmla="*/ 169 h 205"/>
                  <a:gd name="T50" fmla="*/ 93 w 205"/>
                  <a:gd name="T51" fmla="*/ 188 h 205"/>
                  <a:gd name="T52" fmla="*/ 70 w 205"/>
                  <a:gd name="T53" fmla="*/ 156 h 205"/>
                  <a:gd name="T54" fmla="*/ 48 w 205"/>
                  <a:gd name="T55" fmla="*/ 170 h 205"/>
                  <a:gd name="T56" fmla="*/ 46 w 205"/>
                  <a:gd name="T57" fmla="*/ 141 h 205"/>
                  <a:gd name="T58" fmla="*/ 36 w 205"/>
                  <a:gd name="T59" fmla="*/ 115 h 205"/>
                  <a:gd name="T60" fmla="*/ 17 w 205"/>
                  <a:gd name="T61" fmla="*/ 94 h 205"/>
                  <a:gd name="T62" fmla="*/ 48 w 205"/>
                  <a:gd name="T63" fmla="*/ 70 h 205"/>
                  <a:gd name="T64" fmla="*/ 35 w 205"/>
                  <a:gd name="T65" fmla="*/ 49 h 205"/>
                  <a:gd name="T66" fmla="*/ 64 w 205"/>
                  <a:gd name="T67" fmla="*/ 46 h 205"/>
                  <a:gd name="T68" fmla="*/ 89 w 205"/>
                  <a:gd name="T69" fmla="*/ 36 h 205"/>
                  <a:gd name="T70" fmla="*/ 111 w 205"/>
                  <a:gd name="T71" fmla="*/ 17 h 205"/>
                  <a:gd name="T72" fmla="*/ 134 w 205"/>
                  <a:gd name="T73" fmla="*/ 49 h 205"/>
                  <a:gd name="T74" fmla="*/ 156 w 205"/>
                  <a:gd name="T75" fmla="*/ 35 h 205"/>
                  <a:gd name="T76" fmla="*/ 159 w 205"/>
                  <a:gd name="T77" fmla="*/ 65 h 205"/>
                  <a:gd name="T78" fmla="*/ 169 w 205"/>
                  <a:gd name="T79" fmla="*/ 90 h 205"/>
                  <a:gd name="T80" fmla="*/ 188 w 205"/>
                  <a:gd name="T81" fmla="*/ 111 h 205"/>
                  <a:gd name="T82" fmla="*/ 188 w 205"/>
                  <a:gd name="T83" fmla="*/ 11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5" h="205">
                    <a:moveTo>
                      <a:pt x="198" y="79"/>
                    </a:moveTo>
                    <a:cubicBezTo>
                      <a:pt x="173" y="73"/>
                      <a:pt x="173" y="73"/>
                      <a:pt x="173" y="73"/>
                    </a:cubicBezTo>
                    <a:cubicBezTo>
                      <a:pt x="187" y="53"/>
                      <a:pt x="187" y="53"/>
                      <a:pt x="187" y="53"/>
                    </a:cubicBezTo>
                    <a:cubicBezTo>
                      <a:pt x="190" y="49"/>
                      <a:pt x="189" y="45"/>
                      <a:pt x="186" y="42"/>
                    </a:cubicBezTo>
                    <a:cubicBezTo>
                      <a:pt x="163" y="18"/>
                      <a:pt x="163" y="18"/>
                      <a:pt x="163" y="18"/>
                    </a:cubicBezTo>
                    <a:cubicBezTo>
                      <a:pt x="160" y="15"/>
                      <a:pt x="156" y="15"/>
                      <a:pt x="152" y="17"/>
                    </a:cubicBezTo>
                    <a:cubicBezTo>
                      <a:pt x="131" y="32"/>
                      <a:pt x="131" y="32"/>
                      <a:pt x="131" y="32"/>
                    </a:cubicBezTo>
                    <a:cubicBezTo>
                      <a:pt x="126" y="7"/>
                      <a:pt x="126" y="7"/>
                      <a:pt x="126" y="7"/>
                    </a:cubicBezTo>
                    <a:cubicBezTo>
                      <a:pt x="125" y="3"/>
                      <a:pt x="122" y="0"/>
                      <a:pt x="118" y="0"/>
                    </a:cubicBezTo>
                    <a:cubicBezTo>
                      <a:pt x="87" y="0"/>
                      <a:pt x="87" y="0"/>
                      <a:pt x="87" y="0"/>
                    </a:cubicBezTo>
                    <a:cubicBezTo>
                      <a:pt x="83" y="0"/>
                      <a:pt x="79" y="3"/>
                      <a:pt x="78" y="7"/>
                    </a:cubicBezTo>
                    <a:cubicBezTo>
                      <a:pt x="73" y="32"/>
                      <a:pt x="73" y="32"/>
                      <a:pt x="73" y="32"/>
                    </a:cubicBezTo>
                    <a:cubicBezTo>
                      <a:pt x="52" y="17"/>
                      <a:pt x="52" y="17"/>
                      <a:pt x="52" y="17"/>
                    </a:cubicBezTo>
                    <a:cubicBezTo>
                      <a:pt x="49" y="15"/>
                      <a:pt x="44" y="15"/>
                      <a:pt x="41" y="18"/>
                    </a:cubicBezTo>
                    <a:cubicBezTo>
                      <a:pt x="18" y="42"/>
                      <a:pt x="18" y="42"/>
                      <a:pt x="18" y="42"/>
                    </a:cubicBezTo>
                    <a:cubicBezTo>
                      <a:pt x="15" y="45"/>
                      <a:pt x="15" y="49"/>
                      <a:pt x="17" y="53"/>
                    </a:cubicBezTo>
                    <a:cubicBezTo>
                      <a:pt x="31" y="73"/>
                      <a:pt x="31" y="73"/>
                      <a:pt x="31" y="73"/>
                    </a:cubicBezTo>
                    <a:cubicBezTo>
                      <a:pt x="7" y="79"/>
                      <a:pt x="7" y="79"/>
                      <a:pt x="7" y="79"/>
                    </a:cubicBezTo>
                    <a:cubicBezTo>
                      <a:pt x="3" y="79"/>
                      <a:pt x="0" y="83"/>
                      <a:pt x="0" y="87"/>
                    </a:cubicBezTo>
                    <a:cubicBezTo>
                      <a:pt x="0" y="118"/>
                      <a:pt x="0" y="118"/>
                      <a:pt x="0" y="118"/>
                    </a:cubicBezTo>
                    <a:cubicBezTo>
                      <a:pt x="0" y="122"/>
                      <a:pt x="3" y="126"/>
                      <a:pt x="7" y="127"/>
                    </a:cubicBezTo>
                    <a:cubicBezTo>
                      <a:pt x="31" y="132"/>
                      <a:pt x="31" y="132"/>
                      <a:pt x="31" y="132"/>
                    </a:cubicBezTo>
                    <a:cubicBezTo>
                      <a:pt x="17" y="152"/>
                      <a:pt x="17" y="152"/>
                      <a:pt x="17" y="152"/>
                    </a:cubicBezTo>
                    <a:cubicBezTo>
                      <a:pt x="15" y="156"/>
                      <a:pt x="15" y="160"/>
                      <a:pt x="18" y="163"/>
                    </a:cubicBezTo>
                    <a:cubicBezTo>
                      <a:pt x="41" y="187"/>
                      <a:pt x="41" y="187"/>
                      <a:pt x="41" y="187"/>
                    </a:cubicBezTo>
                    <a:cubicBezTo>
                      <a:pt x="44" y="190"/>
                      <a:pt x="49" y="190"/>
                      <a:pt x="52" y="188"/>
                    </a:cubicBezTo>
                    <a:cubicBezTo>
                      <a:pt x="73" y="173"/>
                      <a:pt x="73" y="173"/>
                      <a:pt x="73" y="173"/>
                    </a:cubicBezTo>
                    <a:cubicBezTo>
                      <a:pt x="78" y="198"/>
                      <a:pt x="78" y="198"/>
                      <a:pt x="78" y="198"/>
                    </a:cubicBezTo>
                    <a:cubicBezTo>
                      <a:pt x="79" y="202"/>
                      <a:pt x="83" y="205"/>
                      <a:pt x="87" y="205"/>
                    </a:cubicBezTo>
                    <a:cubicBezTo>
                      <a:pt x="118" y="205"/>
                      <a:pt x="118" y="205"/>
                      <a:pt x="118" y="205"/>
                    </a:cubicBezTo>
                    <a:cubicBezTo>
                      <a:pt x="122" y="205"/>
                      <a:pt x="125" y="202"/>
                      <a:pt x="126" y="198"/>
                    </a:cubicBezTo>
                    <a:cubicBezTo>
                      <a:pt x="131" y="173"/>
                      <a:pt x="131" y="173"/>
                      <a:pt x="131" y="173"/>
                    </a:cubicBezTo>
                    <a:cubicBezTo>
                      <a:pt x="152" y="188"/>
                      <a:pt x="152" y="188"/>
                      <a:pt x="152" y="188"/>
                    </a:cubicBezTo>
                    <a:cubicBezTo>
                      <a:pt x="156" y="190"/>
                      <a:pt x="160" y="190"/>
                      <a:pt x="163" y="187"/>
                    </a:cubicBezTo>
                    <a:cubicBezTo>
                      <a:pt x="186" y="163"/>
                      <a:pt x="186" y="163"/>
                      <a:pt x="186" y="163"/>
                    </a:cubicBezTo>
                    <a:cubicBezTo>
                      <a:pt x="189" y="160"/>
                      <a:pt x="190" y="156"/>
                      <a:pt x="187" y="152"/>
                    </a:cubicBezTo>
                    <a:cubicBezTo>
                      <a:pt x="173" y="132"/>
                      <a:pt x="173" y="132"/>
                      <a:pt x="173" y="132"/>
                    </a:cubicBezTo>
                    <a:cubicBezTo>
                      <a:pt x="198" y="127"/>
                      <a:pt x="198" y="127"/>
                      <a:pt x="198" y="127"/>
                    </a:cubicBezTo>
                    <a:cubicBezTo>
                      <a:pt x="202" y="126"/>
                      <a:pt x="205" y="122"/>
                      <a:pt x="205" y="118"/>
                    </a:cubicBezTo>
                    <a:cubicBezTo>
                      <a:pt x="205" y="87"/>
                      <a:pt x="205" y="87"/>
                      <a:pt x="205" y="87"/>
                    </a:cubicBezTo>
                    <a:cubicBezTo>
                      <a:pt x="205" y="83"/>
                      <a:pt x="202" y="79"/>
                      <a:pt x="198" y="79"/>
                    </a:cubicBezTo>
                    <a:close/>
                    <a:moveTo>
                      <a:pt x="188" y="111"/>
                    </a:moveTo>
                    <a:cubicBezTo>
                      <a:pt x="169" y="115"/>
                      <a:pt x="169" y="115"/>
                      <a:pt x="169" y="115"/>
                    </a:cubicBezTo>
                    <a:cubicBezTo>
                      <a:pt x="160" y="117"/>
                      <a:pt x="154" y="126"/>
                      <a:pt x="156" y="135"/>
                    </a:cubicBezTo>
                    <a:cubicBezTo>
                      <a:pt x="156" y="137"/>
                      <a:pt x="157" y="139"/>
                      <a:pt x="159" y="141"/>
                    </a:cubicBezTo>
                    <a:cubicBezTo>
                      <a:pt x="169" y="156"/>
                      <a:pt x="169" y="156"/>
                      <a:pt x="169" y="156"/>
                    </a:cubicBezTo>
                    <a:cubicBezTo>
                      <a:pt x="156" y="170"/>
                      <a:pt x="156" y="170"/>
                      <a:pt x="156" y="170"/>
                    </a:cubicBezTo>
                    <a:cubicBezTo>
                      <a:pt x="140" y="159"/>
                      <a:pt x="140" y="159"/>
                      <a:pt x="140" y="159"/>
                    </a:cubicBezTo>
                    <a:cubicBezTo>
                      <a:pt x="133" y="154"/>
                      <a:pt x="123" y="156"/>
                      <a:pt x="117" y="163"/>
                    </a:cubicBezTo>
                    <a:cubicBezTo>
                      <a:pt x="116" y="165"/>
                      <a:pt x="115" y="167"/>
                      <a:pt x="115" y="169"/>
                    </a:cubicBezTo>
                    <a:cubicBezTo>
                      <a:pt x="111" y="188"/>
                      <a:pt x="111" y="188"/>
                      <a:pt x="111" y="188"/>
                    </a:cubicBezTo>
                    <a:cubicBezTo>
                      <a:pt x="93" y="188"/>
                      <a:pt x="93" y="188"/>
                      <a:pt x="93" y="188"/>
                    </a:cubicBezTo>
                    <a:cubicBezTo>
                      <a:pt x="89" y="169"/>
                      <a:pt x="89" y="169"/>
                      <a:pt x="89" y="169"/>
                    </a:cubicBezTo>
                    <a:cubicBezTo>
                      <a:pt x="88" y="160"/>
                      <a:pt x="79" y="154"/>
                      <a:pt x="70" y="156"/>
                    </a:cubicBezTo>
                    <a:cubicBezTo>
                      <a:pt x="68" y="157"/>
                      <a:pt x="66" y="158"/>
                      <a:pt x="64" y="159"/>
                    </a:cubicBezTo>
                    <a:cubicBezTo>
                      <a:pt x="48" y="170"/>
                      <a:pt x="48" y="170"/>
                      <a:pt x="48" y="170"/>
                    </a:cubicBezTo>
                    <a:cubicBezTo>
                      <a:pt x="35" y="156"/>
                      <a:pt x="35" y="156"/>
                      <a:pt x="35" y="156"/>
                    </a:cubicBezTo>
                    <a:cubicBezTo>
                      <a:pt x="46" y="141"/>
                      <a:pt x="46" y="141"/>
                      <a:pt x="46" y="141"/>
                    </a:cubicBezTo>
                    <a:cubicBezTo>
                      <a:pt x="51" y="133"/>
                      <a:pt x="49" y="123"/>
                      <a:pt x="42" y="118"/>
                    </a:cubicBezTo>
                    <a:cubicBezTo>
                      <a:pt x="40" y="117"/>
                      <a:pt x="38" y="116"/>
                      <a:pt x="36" y="115"/>
                    </a:cubicBezTo>
                    <a:cubicBezTo>
                      <a:pt x="17" y="111"/>
                      <a:pt x="17" y="111"/>
                      <a:pt x="17" y="111"/>
                    </a:cubicBezTo>
                    <a:cubicBezTo>
                      <a:pt x="17" y="94"/>
                      <a:pt x="17" y="94"/>
                      <a:pt x="17" y="94"/>
                    </a:cubicBezTo>
                    <a:cubicBezTo>
                      <a:pt x="36" y="90"/>
                      <a:pt x="36" y="90"/>
                      <a:pt x="36" y="90"/>
                    </a:cubicBezTo>
                    <a:cubicBezTo>
                      <a:pt x="45" y="88"/>
                      <a:pt x="50" y="79"/>
                      <a:pt x="48" y="70"/>
                    </a:cubicBezTo>
                    <a:cubicBezTo>
                      <a:pt x="48" y="68"/>
                      <a:pt x="47" y="66"/>
                      <a:pt x="46" y="65"/>
                    </a:cubicBezTo>
                    <a:cubicBezTo>
                      <a:pt x="35" y="49"/>
                      <a:pt x="35" y="49"/>
                      <a:pt x="35" y="49"/>
                    </a:cubicBezTo>
                    <a:cubicBezTo>
                      <a:pt x="48" y="35"/>
                      <a:pt x="48" y="35"/>
                      <a:pt x="48" y="35"/>
                    </a:cubicBezTo>
                    <a:cubicBezTo>
                      <a:pt x="64" y="46"/>
                      <a:pt x="64" y="46"/>
                      <a:pt x="64" y="46"/>
                    </a:cubicBezTo>
                    <a:cubicBezTo>
                      <a:pt x="72" y="51"/>
                      <a:pt x="82" y="49"/>
                      <a:pt x="87" y="42"/>
                    </a:cubicBezTo>
                    <a:cubicBezTo>
                      <a:pt x="88" y="40"/>
                      <a:pt x="89" y="38"/>
                      <a:pt x="89" y="36"/>
                    </a:cubicBezTo>
                    <a:cubicBezTo>
                      <a:pt x="93" y="17"/>
                      <a:pt x="93" y="17"/>
                      <a:pt x="93" y="17"/>
                    </a:cubicBezTo>
                    <a:cubicBezTo>
                      <a:pt x="111" y="17"/>
                      <a:pt x="111" y="17"/>
                      <a:pt x="111" y="17"/>
                    </a:cubicBezTo>
                    <a:cubicBezTo>
                      <a:pt x="115" y="36"/>
                      <a:pt x="115" y="36"/>
                      <a:pt x="115" y="36"/>
                    </a:cubicBezTo>
                    <a:cubicBezTo>
                      <a:pt x="117" y="45"/>
                      <a:pt x="125" y="51"/>
                      <a:pt x="134" y="49"/>
                    </a:cubicBezTo>
                    <a:cubicBezTo>
                      <a:pt x="136" y="48"/>
                      <a:pt x="138" y="47"/>
                      <a:pt x="140" y="46"/>
                    </a:cubicBezTo>
                    <a:cubicBezTo>
                      <a:pt x="156" y="35"/>
                      <a:pt x="156" y="35"/>
                      <a:pt x="156" y="35"/>
                    </a:cubicBezTo>
                    <a:cubicBezTo>
                      <a:pt x="169" y="49"/>
                      <a:pt x="169" y="49"/>
                      <a:pt x="169" y="49"/>
                    </a:cubicBezTo>
                    <a:cubicBezTo>
                      <a:pt x="159" y="65"/>
                      <a:pt x="159" y="65"/>
                      <a:pt x="159" y="65"/>
                    </a:cubicBezTo>
                    <a:cubicBezTo>
                      <a:pt x="153" y="72"/>
                      <a:pt x="155" y="82"/>
                      <a:pt x="163" y="87"/>
                    </a:cubicBezTo>
                    <a:cubicBezTo>
                      <a:pt x="164" y="89"/>
                      <a:pt x="167" y="89"/>
                      <a:pt x="169" y="90"/>
                    </a:cubicBezTo>
                    <a:cubicBezTo>
                      <a:pt x="188" y="94"/>
                      <a:pt x="188" y="94"/>
                      <a:pt x="188" y="94"/>
                    </a:cubicBezTo>
                    <a:lnTo>
                      <a:pt x="188" y="111"/>
                    </a:lnTo>
                    <a:close/>
                    <a:moveTo>
                      <a:pt x="188" y="111"/>
                    </a:moveTo>
                    <a:cubicBezTo>
                      <a:pt x="188" y="111"/>
                      <a:pt x="188" y="111"/>
                      <a:pt x="188" y="111"/>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1" name="Freeform 20">
                <a:extLst>
                  <a:ext uri="{FF2B5EF4-FFF2-40B4-BE49-F238E27FC236}">
                    <a16:creationId xmlns:a16="http://schemas.microsoft.com/office/drawing/2014/main" id="{442B09A2-1D72-4B5F-A05B-06CBC5D39131}"/>
                  </a:ext>
                </a:extLst>
              </p:cNvPr>
              <p:cNvSpPr>
                <a:spLocks noEditPoints="1"/>
              </p:cNvSpPr>
              <p:nvPr/>
            </p:nvSpPr>
            <p:spPr bwMode="auto">
              <a:xfrm>
                <a:off x="3946" y="4798"/>
                <a:ext cx="190" cy="184"/>
              </a:xfrm>
              <a:custGeom>
                <a:avLst/>
                <a:gdLst>
                  <a:gd name="T0" fmla="*/ 42 w 85"/>
                  <a:gd name="T1" fmla="*/ 0 h 85"/>
                  <a:gd name="T2" fmla="*/ 0 w 85"/>
                  <a:gd name="T3" fmla="*/ 43 h 85"/>
                  <a:gd name="T4" fmla="*/ 42 w 85"/>
                  <a:gd name="T5" fmla="*/ 85 h 85"/>
                  <a:gd name="T6" fmla="*/ 85 w 85"/>
                  <a:gd name="T7" fmla="*/ 43 h 85"/>
                  <a:gd name="T8" fmla="*/ 42 w 85"/>
                  <a:gd name="T9" fmla="*/ 0 h 85"/>
                  <a:gd name="T10" fmla="*/ 42 w 85"/>
                  <a:gd name="T11" fmla="*/ 68 h 85"/>
                  <a:gd name="T12" fmla="*/ 17 w 85"/>
                  <a:gd name="T13" fmla="*/ 43 h 85"/>
                  <a:gd name="T14" fmla="*/ 42 w 85"/>
                  <a:gd name="T15" fmla="*/ 17 h 85"/>
                  <a:gd name="T16" fmla="*/ 68 w 85"/>
                  <a:gd name="T17" fmla="*/ 43 h 85"/>
                  <a:gd name="T18" fmla="*/ 42 w 85"/>
                  <a:gd name="T19" fmla="*/ 68 h 85"/>
                  <a:gd name="T20" fmla="*/ 42 w 85"/>
                  <a:gd name="T21" fmla="*/ 68 h 85"/>
                  <a:gd name="T22" fmla="*/ 42 w 85"/>
                  <a:gd name="T23" fmla="*/ 6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85">
                    <a:moveTo>
                      <a:pt x="42" y="0"/>
                    </a:moveTo>
                    <a:cubicBezTo>
                      <a:pt x="19" y="0"/>
                      <a:pt x="0" y="19"/>
                      <a:pt x="0" y="43"/>
                    </a:cubicBezTo>
                    <a:cubicBezTo>
                      <a:pt x="0" y="66"/>
                      <a:pt x="19" y="85"/>
                      <a:pt x="42" y="85"/>
                    </a:cubicBezTo>
                    <a:cubicBezTo>
                      <a:pt x="66" y="85"/>
                      <a:pt x="85" y="66"/>
                      <a:pt x="85" y="43"/>
                    </a:cubicBezTo>
                    <a:cubicBezTo>
                      <a:pt x="85" y="19"/>
                      <a:pt x="66" y="0"/>
                      <a:pt x="42" y="0"/>
                    </a:cubicBezTo>
                    <a:close/>
                    <a:moveTo>
                      <a:pt x="42" y="68"/>
                    </a:moveTo>
                    <a:cubicBezTo>
                      <a:pt x="28" y="68"/>
                      <a:pt x="17" y="57"/>
                      <a:pt x="17" y="43"/>
                    </a:cubicBezTo>
                    <a:cubicBezTo>
                      <a:pt x="17" y="28"/>
                      <a:pt x="28" y="17"/>
                      <a:pt x="42" y="17"/>
                    </a:cubicBezTo>
                    <a:cubicBezTo>
                      <a:pt x="56" y="17"/>
                      <a:pt x="68" y="28"/>
                      <a:pt x="68" y="43"/>
                    </a:cubicBezTo>
                    <a:cubicBezTo>
                      <a:pt x="68" y="57"/>
                      <a:pt x="56" y="68"/>
                      <a:pt x="42" y="68"/>
                    </a:cubicBezTo>
                    <a:close/>
                    <a:moveTo>
                      <a:pt x="42" y="68"/>
                    </a:moveTo>
                    <a:cubicBezTo>
                      <a:pt x="42" y="68"/>
                      <a:pt x="42" y="68"/>
                      <a:pt x="42" y="68"/>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2" name="Freeform 21">
                <a:extLst>
                  <a:ext uri="{FF2B5EF4-FFF2-40B4-BE49-F238E27FC236}">
                    <a16:creationId xmlns:a16="http://schemas.microsoft.com/office/drawing/2014/main" id="{574B09E6-17F0-4F29-9432-A5B433E5D450}"/>
                  </a:ext>
                </a:extLst>
              </p:cNvPr>
              <p:cNvSpPr>
                <a:spLocks noEditPoints="1"/>
              </p:cNvSpPr>
              <p:nvPr/>
            </p:nvSpPr>
            <p:spPr bwMode="auto">
              <a:xfrm>
                <a:off x="4383" y="4502"/>
                <a:ext cx="478" cy="407"/>
              </a:xfrm>
              <a:custGeom>
                <a:avLst/>
                <a:gdLst>
                  <a:gd name="T0" fmla="*/ 187 w 214"/>
                  <a:gd name="T1" fmla="*/ 0 h 188"/>
                  <a:gd name="T2" fmla="*/ 162 w 214"/>
                  <a:gd name="T3" fmla="*/ 26 h 188"/>
                  <a:gd name="T4" fmla="*/ 172 w 214"/>
                  <a:gd name="T5" fmla="*/ 46 h 188"/>
                  <a:gd name="T6" fmla="*/ 153 w 214"/>
                  <a:gd name="T7" fmla="*/ 103 h 188"/>
                  <a:gd name="T8" fmla="*/ 137 w 214"/>
                  <a:gd name="T9" fmla="*/ 109 h 188"/>
                  <a:gd name="T10" fmla="*/ 102 w 214"/>
                  <a:gd name="T11" fmla="*/ 90 h 188"/>
                  <a:gd name="T12" fmla="*/ 82 w 214"/>
                  <a:gd name="T13" fmla="*/ 61 h 188"/>
                  <a:gd name="T14" fmla="*/ 77 w 214"/>
                  <a:gd name="T15" fmla="*/ 60 h 188"/>
                  <a:gd name="T16" fmla="*/ 51 w 214"/>
                  <a:gd name="T17" fmla="*/ 86 h 188"/>
                  <a:gd name="T18" fmla="*/ 56 w 214"/>
                  <a:gd name="T19" fmla="*/ 101 h 188"/>
                  <a:gd name="T20" fmla="*/ 32 w 214"/>
                  <a:gd name="T21" fmla="*/ 138 h 188"/>
                  <a:gd name="T22" fmla="*/ 25 w 214"/>
                  <a:gd name="T23" fmla="*/ 137 h 188"/>
                  <a:gd name="T24" fmla="*/ 0 w 214"/>
                  <a:gd name="T25" fmla="*/ 162 h 188"/>
                  <a:gd name="T26" fmla="*/ 25 w 214"/>
                  <a:gd name="T27" fmla="*/ 188 h 188"/>
                  <a:gd name="T28" fmla="*/ 51 w 214"/>
                  <a:gd name="T29" fmla="*/ 162 h 188"/>
                  <a:gd name="T30" fmla="*/ 46 w 214"/>
                  <a:gd name="T31" fmla="*/ 147 h 188"/>
                  <a:gd name="T32" fmla="*/ 70 w 214"/>
                  <a:gd name="T33" fmla="*/ 110 h 188"/>
                  <a:gd name="T34" fmla="*/ 77 w 214"/>
                  <a:gd name="T35" fmla="*/ 111 h 188"/>
                  <a:gd name="T36" fmla="*/ 93 w 214"/>
                  <a:gd name="T37" fmla="*/ 105 h 188"/>
                  <a:gd name="T38" fmla="*/ 128 w 214"/>
                  <a:gd name="T39" fmla="*/ 124 h 188"/>
                  <a:gd name="T40" fmla="*/ 149 w 214"/>
                  <a:gd name="T41" fmla="*/ 154 h 188"/>
                  <a:gd name="T42" fmla="*/ 179 w 214"/>
                  <a:gd name="T43" fmla="*/ 133 h 188"/>
                  <a:gd name="T44" fmla="*/ 169 w 214"/>
                  <a:gd name="T45" fmla="*/ 108 h 188"/>
                  <a:gd name="T46" fmla="*/ 188 w 214"/>
                  <a:gd name="T47" fmla="*/ 51 h 188"/>
                  <a:gd name="T48" fmla="*/ 213 w 214"/>
                  <a:gd name="T49" fmla="*/ 25 h 188"/>
                  <a:gd name="T50" fmla="*/ 187 w 214"/>
                  <a:gd name="T51" fmla="*/ 0 h 188"/>
                  <a:gd name="T52" fmla="*/ 25 w 214"/>
                  <a:gd name="T53" fmla="*/ 171 h 188"/>
                  <a:gd name="T54" fmla="*/ 17 w 214"/>
                  <a:gd name="T55" fmla="*/ 162 h 188"/>
                  <a:gd name="T56" fmla="*/ 25 w 214"/>
                  <a:gd name="T57" fmla="*/ 154 h 188"/>
                  <a:gd name="T58" fmla="*/ 34 w 214"/>
                  <a:gd name="T59" fmla="*/ 162 h 188"/>
                  <a:gd name="T60" fmla="*/ 25 w 214"/>
                  <a:gd name="T61" fmla="*/ 171 h 188"/>
                  <a:gd name="T62" fmla="*/ 77 w 214"/>
                  <a:gd name="T63" fmla="*/ 94 h 188"/>
                  <a:gd name="T64" fmla="*/ 68 w 214"/>
                  <a:gd name="T65" fmla="*/ 86 h 188"/>
                  <a:gd name="T66" fmla="*/ 77 w 214"/>
                  <a:gd name="T67" fmla="*/ 77 h 188"/>
                  <a:gd name="T68" fmla="*/ 85 w 214"/>
                  <a:gd name="T69" fmla="*/ 86 h 188"/>
                  <a:gd name="T70" fmla="*/ 77 w 214"/>
                  <a:gd name="T71" fmla="*/ 94 h 188"/>
                  <a:gd name="T72" fmla="*/ 153 w 214"/>
                  <a:gd name="T73" fmla="*/ 137 h 188"/>
                  <a:gd name="T74" fmla="*/ 145 w 214"/>
                  <a:gd name="T75" fmla="*/ 128 h 188"/>
                  <a:gd name="T76" fmla="*/ 153 w 214"/>
                  <a:gd name="T77" fmla="*/ 120 h 188"/>
                  <a:gd name="T78" fmla="*/ 162 w 214"/>
                  <a:gd name="T79" fmla="*/ 128 h 188"/>
                  <a:gd name="T80" fmla="*/ 153 w 214"/>
                  <a:gd name="T81" fmla="*/ 137 h 188"/>
                  <a:gd name="T82" fmla="*/ 188 w 214"/>
                  <a:gd name="T83" fmla="*/ 34 h 188"/>
                  <a:gd name="T84" fmla="*/ 179 w 214"/>
                  <a:gd name="T85" fmla="*/ 26 h 188"/>
                  <a:gd name="T86" fmla="*/ 188 w 214"/>
                  <a:gd name="T87" fmla="*/ 17 h 188"/>
                  <a:gd name="T88" fmla="*/ 196 w 214"/>
                  <a:gd name="T89" fmla="*/ 26 h 188"/>
                  <a:gd name="T90" fmla="*/ 188 w 214"/>
                  <a:gd name="T91" fmla="*/ 34 h 188"/>
                  <a:gd name="T92" fmla="*/ 188 w 214"/>
                  <a:gd name="T93" fmla="*/ 34 h 188"/>
                  <a:gd name="T94" fmla="*/ 188 w 214"/>
                  <a:gd name="T95" fmla="*/ 3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4" h="188">
                    <a:moveTo>
                      <a:pt x="187" y="0"/>
                    </a:moveTo>
                    <a:cubicBezTo>
                      <a:pt x="173" y="0"/>
                      <a:pt x="162" y="12"/>
                      <a:pt x="162" y="26"/>
                    </a:cubicBezTo>
                    <a:cubicBezTo>
                      <a:pt x="162" y="34"/>
                      <a:pt x="166" y="41"/>
                      <a:pt x="172" y="46"/>
                    </a:cubicBezTo>
                    <a:cubicBezTo>
                      <a:pt x="153" y="103"/>
                      <a:pt x="153" y="103"/>
                      <a:pt x="153" y="103"/>
                    </a:cubicBezTo>
                    <a:cubicBezTo>
                      <a:pt x="147" y="103"/>
                      <a:pt x="141" y="105"/>
                      <a:pt x="137" y="109"/>
                    </a:cubicBezTo>
                    <a:cubicBezTo>
                      <a:pt x="102" y="90"/>
                      <a:pt x="102" y="90"/>
                      <a:pt x="102" y="90"/>
                    </a:cubicBezTo>
                    <a:cubicBezTo>
                      <a:pt x="104" y="76"/>
                      <a:pt x="95" y="63"/>
                      <a:pt x="82" y="61"/>
                    </a:cubicBezTo>
                    <a:cubicBezTo>
                      <a:pt x="80" y="60"/>
                      <a:pt x="78" y="60"/>
                      <a:pt x="77" y="60"/>
                    </a:cubicBezTo>
                    <a:cubicBezTo>
                      <a:pt x="62" y="60"/>
                      <a:pt x="51" y="72"/>
                      <a:pt x="51" y="86"/>
                    </a:cubicBezTo>
                    <a:cubicBezTo>
                      <a:pt x="51" y="91"/>
                      <a:pt x="53" y="97"/>
                      <a:pt x="56" y="101"/>
                    </a:cubicBezTo>
                    <a:cubicBezTo>
                      <a:pt x="32" y="138"/>
                      <a:pt x="32" y="138"/>
                      <a:pt x="32" y="138"/>
                    </a:cubicBezTo>
                    <a:cubicBezTo>
                      <a:pt x="30" y="137"/>
                      <a:pt x="28" y="137"/>
                      <a:pt x="25" y="137"/>
                    </a:cubicBezTo>
                    <a:cubicBezTo>
                      <a:pt x="11" y="137"/>
                      <a:pt x="0" y="148"/>
                      <a:pt x="0" y="162"/>
                    </a:cubicBezTo>
                    <a:cubicBezTo>
                      <a:pt x="0" y="177"/>
                      <a:pt x="11" y="188"/>
                      <a:pt x="25" y="188"/>
                    </a:cubicBezTo>
                    <a:cubicBezTo>
                      <a:pt x="40" y="188"/>
                      <a:pt x="51" y="177"/>
                      <a:pt x="51" y="162"/>
                    </a:cubicBezTo>
                    <a:cubicBezTo>
                      <a:pt x="51" y="157"/>
                      <a:pt x="49" y="152"/>
                      <a:pt x="46" y="147"/>
                    </a:cubicBezTo>
                    <a:cubicBezTo>
                      <a:pt x="70" y="110"/>
                      <a:pt x="70" y="110"/>
                      <a:pt x="70" y="110"/>
                    </a:cubicBezTo>
                    <a:cubicBezTo>
                      <a:pt x="72" y="111"/>
                      <a:pt x="74" y="111"/>
                      <a:pt x="77" y="111"/>
                    </a:cubicBezTo>
                    <a:cubicBezTo>
                      <a:pt x="83" y="111"/>
                      <a:pt x="89" y="109"/>
                      <a:pt x="93" y="105"/>
                    </a:cubicBezTo>
                    <a:cubicBezTo>
                      <a:pt x="128" y="124"/>
                      <a:pt x="128" y="124"/>
                      <a:pt x="128" y="124"/>
                    </a:cubicBezTo>
                    <a:cubicBezTo>
                      <a:pt x="126" y="138"/>
                      <a:pt x="135" y="151"/>
                      <a:pt x="149" y="154"/>
                    </a:cubicBezTo>
                    <a:cubicBezTo>
                      <a:pt x="163" y="156"/>
                      <a:pt x="176" y="147"/>
                      <a:pt x="179" y="133"/>
                    </a:cubicBezTo>
                    <a:cubicBezTo>
                      <a:pt x="180" y="124"/>
                      <a:pt x="177" y="114"/>
                      <a:pt x="169" y="108"/>
                    </a:cubicBezTo>
                    <a:cubicBezTo>
                      <a:pt x="188" y="51"/>
                      <a:pt x="188" y="51"/>
                      <a:pt x="188" y="51"/>
                    </a:cubicBezTo>
                    <a:cubicBezTo>
                      <a:pt x="202" y="51"/>
                      <a:pt x="214" y="40"/>
                      <a:pt x="213" y="25"/>
                    </a:cubicBezTo>
                    <a:cubicBezTo>
                      <a:pt x="213" y="11"/>
                      <a:pt x="202" y="0"/>
                      <a:pt x="187" y="0"/>
                    </a:cubicBezTo>
                    <a:close/>
                    <a:moveTo>
                      <a:pt x="25" y="171"/>
                    </a:moveTo>
                    <a:cubicBezTo>
                      <a:pt x="21" y="171"/>
                      <a:pt x="17" y="167"/>
                      <a:pt x="17" y="162"/>
                    </a:cubicBezTo>
                    <a:cubicBezTo>
                      <a:pt x="17" y="158"/>
                      <a:pt x="21" y="154"/>
                      <a:pt x="25" y="154"/>
                    </a:cubicBezTo>
                    <a:cubicBezTo>
                      <a:pt x="30" y="154"/>
                      <a:pt x="34" y="158"/>
                      <a:pt x="34" y="162"/>
                    </a:cubicBezTo>
                    <a:cubicBezTo>
                      <a:pt x="34" y="167"/>
                      <a:pt x="30" y="171"/>
                      <a:pt x="25" y="171"/>
                    </a:cubicBezTo>
                    <a:close/>
                    <a:moveTo>
                      <a:pt x="77" y="94"/>
                    </a:moveTo>
                    <a:cubicBezTo>
                      <a:pt x="72" y="94"/>
                      <a:pt x="68" y="90"/>
                      <a:pt x="68" y="86"/>
                    </a:cubicBezTo>
                    <a:cubicBezTo>
                      <a:pt x="68" y="81"/>
                      <a:pt x="72" y="77"/>
                      <a:pt x="77" y="77"/>
                    </a:cubicBezTo>
                    <a:cubicBezTo>
                      <a:pt x="81" y="77"/>
                      <a:pt x="85" y="81"/>
                      <a:pt x="85" y="86"/>
                    </a:cubicBezTo>
                    <a:cubicBezTo>
                      <a:pt x="85" y="90"/>
                      <a:pt x="81" y="94"/>
                      <a:pt x="77" y="94"/>
                    </a:cubicBezTo>
                    <a:close/>
                    <a:moveTo>
                      <a:pt x="153" y="137"/>
                    </a:moveTo>
                    <a:cubicBezTo>
                      <a:pt x="149" y="137"/>
                      <a:pt x="145" y="133"/>
                      <a:pt x="145" y="128"/>
                    </a:cubicBezTo>
                    <a:cubicBezTo>
                      <a:pt x="145" y="124"/>
                      <a:pt x="149" y="120"/>
                      <a:pt x="153" y="120"/>
                    </a:cubicBezTo>
                    <a:cubicBezTo>
                      <a:pt x="158" y="120"/>
                      <a:pt x="162" y="124"/>
                      <a:pt x="162" y="128"/>
                    </a:cubicBezTo>
                    <a:cubicBezTo>
                      <a:pt x="162" y="133"/>
                      <a:pt x="158" y="137"/>
                      <a:pt x="153" y="137"/>
                    </a:cubicBezTo>
                    <a:close/>
                    <a:moveTo>
                      <a:pt x="188" y="34"/>
                    </a:moveTo>
                    <a:cubicBezTo>
                      <a:pt x="183" y="34"/>
                      <a:pt x="179" y="31"/>
                      <a:pt x="179" y="26"/>
                    </a:cubicBezTo>
                    <a:cubicBezTo>
                      <a:pt x="179" y="21"/>
                      <a:pt x="183" y="17"/>
                      <a:pt x="188" y="17"/>
                    </a:cubicBezTo>
                    <a:cubicBezTo>
                      <a:pt x="192" y="17"/>
                      <a:pt x="196" y="21"/>
                      <a:pt x="196" y="26"/>
                    </a:cubicBezTo>
                    <a:cubicBezTo>
                      <a:pt x="196" y="31"/>
                      <a:pt x="192" y="34"/>
                      <a:pt x="188" y="34"/>
                    </a:cubicBezTo>
                    <a:close/>
                    <a:moveTo>
                      <a:pt x="188" y="34"/>
                    </a:moveTo>
                    <a:cubicBezTo>
                      <a:pt x="188" y="34"/>
                      <a:pt x="188" y="34"/>
                      <a:pt x="188" y="34"/>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3" name="Freeform 22">
                <a:extLst>
                  <a:ext uri="{FF2B5EF4-FFF2-40B4-BE49-F238E27FC236}">
                    <a16:creationId xmlns:a16="http://schemas.microsoft.com/office/drawing/2014/main" id="{69894D07-6656-4D45-9ACE-DF249B30779E}"/>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close/>
                    <a:moveTo>
                      <a:pt x="420" y="0"/>
                    </a:moveTo>
                    <a:lnTo>
                      <a:pt x="420" y="0"/>
                    </a:lnTo>
                    <a:close/>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4" name="Freeform 23">
                <a:extLst>
                  <a:ext uri="{FF2B5EF4-FFF2-40B4-BE49-F238E27FC236}">
                    <a16:creationId xmlns:a16="http://schemas.microsoft.com/office/drawing/2014/main" id="{61B6CBC3-FD79-4662-A0EF-E3742BD83F50}"/>
                  </a:ext>
                </a:extLst>
              </p:cNvPr>
              <p:cNvSpPr>
                <a:spLocks noEditPoints="1"/>
              </p:cNvSpPr>
              <p:nvPr/>
            </p:nvSpPr>
            <p:spPr bwMode="auto">
              <a:xfrm>
                <a:off x="4401" y="4798"/>
                <a:ext cx="458" cy="444"/>
              </a:xfrm>
              <a:custGeom>
                <a:avLst/>
                <a:gdLst>
                  <a:gd name="T0" fmla="*/ 420 w 458"/>
                  <a:gd name="T1" fmla="*/ 0 h 444"/>
                  <a:gd name="T2" fmla="*/ 420 w 458"/>
                  <a:gd name="T3" fmla="*/ 407 h 444"/>
                  <a:gd name="T4" fmla="*/ 382 w 458"/>
                  <a:gd name="T5" fmla="*/ 407 h 444"/>
                  <a:gd name="T6" fmla="*/ 382 w 458"/>
                  <a:gd name="T7" fmla="*/ 295 h 444"/>
                  <a:gd name="T8" fmla="*/ 344 w 458"/>
                  <a:gd name="T9" fmla="*/ 295 h 444"/>
                  <a:gd name="T10" fmla="*/ 344 w 458"/>
                  <a:gd name="T11" fmla="*/ 407 h 444"/>
                  <a:gd name="T12" fmla="*/ 306 w 458"/>
                  <a:gd name="T13" fmla="*/ 407 h 444"/>
                  <a:gd name="T14" fmla="*/ 306 w 458"/>
                  <a:gd name="T15" fmla="*/ 277 h 444"/>
                  <a:gd name="T16" fmla="*/ 268 w 458"/>
                  <a:gd name="T17" fmla="*/ 277 h 444"/>
                  <a:gd name="T18" fmla="*/ 268 w 458"/>
                  <a:gd name="T19" fmla="*/ 407 h 444"/>
                  <a:gd name="T20" fmla="*/ 230 w 458"/>
                  <a:gd name="T21" fmla="*/ 407 h 444"/>
                  <a:gd name="T22" fmla="*/ 230 w 458"/>
                  <a:gd name="T23" fmla="*/ 221 h 444"/>
                  <a:gd name="T24" fmla="*/ 192 w 458"/>
                  <a:gd name="T25" fmla="*/ 221 h 444"/>
                  <a:gd name="T26" fmla="*/ 192 w 458"/>
                  <a:gd name="T27" fmla="*/ 407 h 444"/>
                  <a:gd name="T28" fmla="*/ 154 w 458"/>
                  <a:gd name="T29" fmla="*/ 407 h 444"/>
                  <a:gd name="T30" fmla="*/ 154 w 458"/>
                  <a:gd name="T31" fmla="*/ 111 h 444"/>
                  <a:gd name="T32" fmla="*/ 116 w 458"/>
                  <a:gd name="T33" fmla="*/ 111 h 444"/>
                  <a:gd name="T34" fmla="*/ 116 w 458"/>
                  <a:gd name="T35" fmla="*/ 407 h 444"/>
                  <a:gd name="T36" fmla="*/ 76 w 458"/>
                  <a:gd name="T37" fmla="*/ 407 h 444"/>
                  <a:gd name="T38" fmla="*/ 76 w 458"/>
                  <a:gd name="T39" fmla="*/ 331 h 444"/>
                  <a:gd name="T40" fmla="*/ 38 w 458"/>
                  <a:gd name="T41" fmla="*/ 331 h 444"/>
                  <a:gd name="T42" fmla="*/ 38 w 458"/>
                  <a:gd name="T43" fmla="*/ 407 h 444"/>
                  <a:gd name="T44" fmla="*/ 0 w 458"/>
                  <a:gd name="T45" fmla="*/ 407 h 444"/>
                  <a:gd name="T46" fmla="*/ 0 w 458"/>
                  <a:gd name="T47" fmla="*/ 444 h 444"/>
                  <a:gd name="T48" fmla="*/ 458 w 458"/>
                  <a:gd name="T49" fmla="*/ 444 h 444"/>
                  <a:gd name="T50" fmla="*/ 458 w 458"/>
                  <a:gd name="T51" fmla="*/ 0 h 444"/>
                  <a:gd name="T52" fmla="*/ 420 w 458"/>
                  <a:gd name="T53" fmla="*/ 0 h 444"/>
                  <a:gd name="T54" fmla="*/ 420 w 458"/>
                  <a:gd name="T55" fmla="*/ 0 h 444"/>
                  <a:gd name="T56" fmla="*/ 420 w 458"/>
                  <a:gd name="T57"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8" h="444">
                    <a:moveTo>
                      <a:pt x="420" y="0"/>
                    </a:moveTo>
                    <a:lnTo>
                      <a:pt x="420" y="407"/>
                    </a:lnTo>
                    <a:lnTo>
                      <a:pt x="382" y="407"/>
                    </a:lnTo>
                    <a:lnTo>
                      <a:pt x="382" y="295"/>
                    </a:lnTo>
                    <a:lnTo>
                      <a:pt x="344" y="295"/>
                    </a:lnTo>
                    <a:lnTo>
                      <a:pt x="344" y="407"/>
                    </a:lnTo>
                    <a:lnTo>
                      <a:pt x="306" y="407"/>
                    </a:lnTo>
                    <a:lnTo>
                      <a:pt x="306" y="277"/>
                    </a:lnTo>
                    <a:lnTo>
                      <a:pt x="268" y="277"/>
                    </a:lnTo>
                    <a:lnTo>
                      <a:pt x="268" y="407"/>
                    </a:lnTo>
                    <a:lnTo>
                      <a:pt x="230" y="407"/>
                    </a:lnTo>
                    <a:lnTo>
                      <a:pt x="230" y="221"/>
                    </a:lnTo>
                    <a:lnTo>
                      <a:pt x="192" y="221"/>
                    </a:lnTo>
                    <a:lnTo>
                      <a:pt x="192" y="407"/>
                    </a:lnTo>
                    <a:lnTo>
                      <a:pt x="154" y="407"/>
                    </a:lnTo>
                    <a:lnTo>
                      <a:pt x="154" y="111"/>
                    </a:lnTo>
                    <a:lnTo>
                      <a:pt x="116" y="111"/>
                    </a:lnTo>
                    <a:lnTo>
                      <a:pt x="116" y="407"/>
                    </a:lnTo>
                    <a:lnTo>
                      <a:pt x="76" y="407"/>
                    </a:lnTo>
                    <a:lnTo>
                      <a:pt x="76" y="331"/>
                    </a:lnTo>
                    <a:lnTo>
                      <a:pt x="38" y="331"/>
                    </a:lnTo>
                    <a:lnTo>
                      <a:pt x="38" y="407"/>
                    </a:lnTo>
                    <a:lnTo>
                      <a:pt x="0" y="407"/>
                    </a:lnTo>
                    <a:lnTo>
                      <a:pt x="0" y="444"/>
                    </a:lnTo>
                    <a:lnTo>
                      <a:pt x="458" y="444"/>
                    </a:lnTo>
                    <a:lnTo>
                      <a:pt x="458" y="0"/>
                    </a:lnTo>
                    <a:lnTo>
                      <a:pt x="420" y="0"/>
                    </a:lnTo>
                    <a:moveTo>
                      <a:pt x="420" y="0"/>
                    </a:moveTo>
                    <a:lnTo>
                      <a:pt x="420" y="0"/>
                    </a:ln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5" name="Freeform 24">
                <a:extLst>
                  <a:ext uri="{FF2B5EF4-FFF2-40B4-BE49-F238E27FC236}">
                    <a16:creationId xmlns:a16="http://schemas.microsoft.com/office/drawing/2014/main" id="{9BF7259B-36AE-42F2-BDB6-CA3915945DAE}"/>
                  </a:ext>
                </a:extLst>
              </p:cNvPr>
              <p:cNvSpPr>
                <a:spLocks noEditPoints="1"/>
              </p:cNvSpPr>
              <p:nvPr/>
            </p:nvSpPr>
            <p:spPr bwMode="auto">
              <a:xfrm>
                <a:off x="4270" y="4411"/>
                <a:ext cx="207" cy="203"/>
              </a:xfrm>
              <a:custGeom>
                <a:avLst/>
                <a:gdLst>
                  <a:gd name="T0" fmla="*/ 51 w 93"/>
                  <a:gd name="T1" fmla="*/ 0 h 94"/>
                  <a:gd name="T2" fmla="*/ 0 w 93"/>
                  <a:gd name="T3" fmla="*/ 51 h 94"/>
                  <a:gd name="T4" fmla="*/ 0 w 93"/>
                  <a:gd name="T5" fmla="*/ 94 h 94"/>
                  <a:gd name="T6" fmla="*/ 17 w 93"/>
                  <a:gd name="T7" fmla="*/ 94 h 94"/>
                  <a:gd name="T8" fmla="*/ 17 w 93"/>
                  <a:gd name="T9" fmla="*/ 51 h 94"/>
                  <a:gd name="T10" fmla="*/ 51 w 93"/>
                  <a:gd name="T11" fmla="*/ 17 h 94"/>
                  <a:gd name="T12" fmla="*/ 93 w 93"/>
                  <a:gd name="T13" fmla="*/ 17 h 94"/>
                  <a:gd name="T14" fmla="*/ 93 w 93"/>
                  <a:gd name="T15" fmla="*/ 0 h 94"/>
                  <a:gd name="T16" fmla="*/ 51 w 93"/>
                  <a:gd name="T17" fmla="*/ 0 h 94"/>
                  <a:gd name="T18" fmla="*/ 51 w 93"/>
                  <a:gd name="T19" fmla="*/ 0 h 94"/>
                  <a:gd name="T20" fmla="*/ 51 w 93"/>
                  <a:gd name="T2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94">
                    <a:moveTo>
                      <a:pt x="51" y="0"/>
                    </a:moveTo>
                    <a:cubicBezTo>
                      <a:pt x="23" y="0"/>
                      <a:pt x="0" y="23"/>
                      <a:pt x="0" y="51"/>
                    </a:cubicBezTo>
                    <a:cubicBezTo>
                      <a:pt x="0" y="94"/>
                      <a:pt x="0" y="94"/>
                      <a:pt x="0" y="94"/>
                    </a:cubicBezTo>
                    <a:cubicBezTo>
                      <a:pt x="17" y="94"/>
                      <a:pt x="17" y="94"/>
                      <a:pt x="17" y="94"/>
                    </a:cubicBezTo>
                    <a:cubicBezTo>
                      <a:pt x="17" y="51"/>
                      <a:pt x="17" y="51"/>
                      <a:pt x="17" y="51"/>
                    </a:cubicBezTo>
                    <a:cubicBezTo>
                      <a:pt x="17" y="32"/>
                      <a:pt x="32" y="17"/>
                      <a:pt x="51" y="17"/>
                    </a:cubicBezTo>
                    <a:cubicBezTo>
                      <a:pt x="93" y="17"/>
                      <a:pt x="93" y="17"/>
                      <a:pt x="93" y="17"/>
                    </a:cubicBezTo>
                    <a:cubicBezTo>
                      <a:pt x="93" y="0"/>
                      <a:pt x="93" y="0"/>
                      <a:pt x="93" y="0"/>
                    </a:cubicBezTo>
                    <a:lnTo>
                      <a:pt x="51" y="0"/>
                    </a:lnTo>
                    <a:close/>
                    <a:moveTo>
                      <a:pt x="51" y="0"/>
                    </a:moveTo>
                    <a:cubicBezTo>
                      <a:pt x="51" y="0"/>
                      <a:pt x="51" y="0"/>
                      <a:pt x="51" y="0"/>
                    </a:cubicBezTo>
                  </a:path>
                </a:pathLst>
              </a:custGeom>
              <a:grpFill/>
              <a:ln w="9525">
                <a:solidFill>
                  <a:srgbClr val="0070C0"/>
                </a:solidFill>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6" name="Rectangle 25">
                <a:extLst>
                  <a:ext uri="{FF2B5EF4-FFF2-40B4-BE49-F238E27FC236}">
                    <a16:creationId xmlns:a16="http://schemas.microsoft.com/office/drawing/2014/main" id="{627B8248-1954-4EA8-A86D-21DAF30DFD00}"/>
                  </a:ext>
                </a:extLst>
              </p:cNvPr>
              <p:cNvSpPr>
                <a:spLocks noChangeArrowheads="1"/>
              </p:cNvSpPr>
              <p:nvPr/>
            </p:nvSpPr>
            <p:spPr bwMode="auto">
              <a:xfrm>
                <a:off x="4517" y="5296"/>
                <a:ext cx="38"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7" name="Rectangle 26">
                <a:extLst>
                  <a:ext uri="{FF2B5EF4-FFF2-40B4-BE49-F238E27FC236}">
                    <a16:creationId xmlns:a16="http://schemas.microsoft.com/office/drawing/2014/main" id="{322A6646-FE05-4528-BFE7-94F0DB6DAC12}"/>
                  </a:ext>
                </a:extLst>
              </p:cNvPr>
              <p:cNvSpPr>
                <a:spLocks noChangeArrowheads="1"/>
              </p:cNvSpPr>
              <p:nvPr/>
            </p:nvSpPr>
            <p:spPr bwMode="auto">
              <a:xfrm>
                <a:off x="4593" y="5296"/>
                <a:ext cx="286"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268" name="Rectangle 27">
                <a:extLst>
                  <a:ext uri="{FF2B5EF4-FFF2-40B4-BE49-F238E27FC236}">
                    <a16:creationId xmlns:a16="http://schemas.microsoft.com/office/drawing/2014/main" id="{6A8315B0-9051-4D19-A909-7F9D6697D0EF}"/>
                  </a:ext>
                </a:extLst>
              </p:cNvPr>
              <p:cNvSpPr>
                <a:spLocks noChangeArrowheads="1"/>
              </p:cNvSpPr>
              <p:nvPr/>
            </p:nvSpPr>
            <p:spPr bwMode="auto">
              <a:xfrm>
                <a:off x="4535" y="4411"/>
                <a:ext cx="344" cy="37"/>
              </a:xfrm>
              <a:prstGeom prst="rect">
                <a:avLst/>
              </a:prstGeom>
              <a:grpFill/>
              <a:ln w="9525">
                <a:solidFill>
                  <a:srgbClr val="0070C0"/>
                </a:solidFill>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269" name="Oval 268">
              <a:extLst>
                <a:ext uri="{FF2B5EF4-FFF2-40B4-BE49-F238E27FC236}">
                  <a16:creationId xmlns:a16="http://schemas.microsoft.com/office/drawing/2014/main" id="{FCBD7454-7927-4CED-8B22-0E89345F3F2D}"/>
                </a:ext>
              </a:extLst>
            </p:cNvPr>
            <p:cNvSpPr/>
            <p:nvPr/>
          </p:nvSpPr>
          <p:spPr bwMode="gray">
            <a:xfrm>
              <a:off x="4423065" y="2617099"/>
              <a:ext cx="170562" cy="170562"/>
            </a:xfrm>
            <a:prstGeom prst="ellipse">
              <a:avLst/>
            </a:prstGeom>
            <a:solidFill>
              <a:schemeClr val="accent5">
                <a:lumMod val="75000"/>
                <a:alpha val="34000"/>
              </a:schemeClr>
            </a:solidFill>
            <a:ln w="19050" algn="ctr">
              <a:solidFill>
                <a:schemeClr val="accent5"/>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270" name="Group 269">
              <a:extLst>
                <a:ext uri="{FF2B5EF4-FFF2-40B4-BE49-F238E27FC236}">
                  <a16:creationId xmlns:a16="http://schemas.microsoft.com/office/drawing/2014/main" id="{25CEE592-BD4E-4107-807E-5C39A3317EFB}"/>
                </a:ext>
              </a:extLst>
            </p:cNvPr>
            <p:cNvGrpSpPr/>
            <p:nvPr/>
          </p:nvGrpSpPr>
          <p:grpSpPr>
            <a:xfrm>
              <a:off x="4515348" y="2178030"/>
              <a:ext cx="1003162" cy="520796"/>
              <a:chOff x="4207048" y="2110398"/>
              <a:chExt cx="1337549" cy="694394"/>
            </a:xfrm>
          </p:grpSpPr>
          <p:cxnSp>
            <p:nvCxnSpPr>
              <p:cNvPr id="271" name="Straight Connector 270">
                <a:extLst>
                  <a:ext uri="{FF2B5EF4-FFF2-40B4-BE49-F238E27FC236}">
                    <a16:creationId xmlns:a16="http://schemas.microsoft.com/office/drawing/2014/main" id="{50635576-2736-4706-AEFF-548320266983}"/>
                  </a:ext>
                </a:extLst>
              </p:cNvPr>
              <p:cNvCxnSpPr>
                <a:cxnSpLocks/>
              </p:cNvCxnSpPr>
              <p:nvPr/>
            </p:nvCxnSpPr>
            <p:spPr>
              <a:xfrm>
                <a:off x="4922598" y="2110398"/>
                <a:ext cx="621999" cy="0"/>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07D45BDA-C4FC-49AB-A250-FCD6A639F145}"/>
                  </a:ext>
                </a:extLst>
              </p:cNvPr>
              <p:cNvCxnSpPr>
                <a:cxnSpLocks/>
              </p:cNvCxnSpPr>
              <p:nvPr/>
            </p:nvCxnSpPr>
            <p:spPr>
              <a:xfrm flipH="1">
                <a:off x="4207048" y="2129350"/>
                <a:ext cx="696600" cy="675442"/>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273" name="Oval 272">
              <a:extLst>
                <a:ext uri="{FF2B5EF4-FFF2-40B4-BE49-F238E27FC236}">
                  <a16:creationId xmlns:a16="http://schemas.microsoft.com/office/drawing/2014/main" id="{FF0C98C5-4079-4685-8258-420B338C93D7}"/>
                </a:ext>
              </a:extLst>
            </p:cNvPr>
            <p:cNvSpPr/>
            <p:nvPr/>
          </p:nvSpPr>
          <p:spPr bwMode="gray">
            <a:xfrm>
              <a:off x="4660457" y="3098829"/>
              <a:ext cx="170562" cy="170562"/>
            </a:xfrm>
            <a:prstGeom prst="ellipse">
              <a:avLst/>
            </a:prstGeom>
            <a:solidFill>
              <a:schemeClr val="accent5">
                <a:lumMod val="75000"/>
                <a:alpha val="34000"/>
              </a:schemeClr>
            </a:solidFill>
            <a:ln w="19050" algn="ctr">
              <a:solidFill>
                <a:schemeClr val="accent5"/>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4" name="Oval 273">
              <a:extLst>
                <a:ext uri="{FF2B5EF4-FFF2-40B4-BE49-F238E27FC236}">
                  <a16:creationId xmlns:a16="http://schemas.microsoft.com/office/drawing/2014/main" id="{CFF3E96F-FFC3-4145-A97A-A11D1F86F6D6}"/>
                </a:ext>
              </a:extLst>
            </p:cNvPr>
            <p:cNvSpPr/>
            <p:nvPr/>
          </p:nvSpPr>
          <p:spPr bwMode="gray">
            <a:xfrm>
              <a:off x="4709096" y="3576425"/>
              <a:ext cx="170562" cy="170562"/>
            </a:xfrm>
            <a:prstGeom prst="ellipse">
              <a:avLst/>
            </a:prstGeom>
            <a:solidFill>
              <a:schemeClr val="accent5">
                <a:lumMod val="75000"/>
                <a:alpha val="34000"/>
              </a:schemeClr>
            </a:solidFill>
            <a:ln w="19050" algn="ctr">
              <a:solidFill>
                <a:schemeClr val="accent5"/>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5" name="Oval 274">
              <a:extLst>
                <a:ext uri="{FF2B5EF4-FFF2-40B4-BE49-F238E27FC236}">
                  <a16:creationId xmlns:a16="http://schemas.microsoft.com/office/drawing/2014/main" id="{69F160FB-5739-4BDF-9C32-AD8264318671}"/>
                </a:ext>
              </a:extLst>
            </p:cNvPr>
            <p:cNvSpPr/>
            <p:nvPr/>
          </p:nvSpPr>
          <p:spPr bwMode="gray">
            <a:xfrm>
              <a:off x="4640774" y="3986629"/>
              <a:ext cx="170562" cy="170562"/>
            </a:xfrm>
            <a:prstGeom prst="ellipse">
              <a:avLst/>
            </a:prstGeom>
            <a:solidFill>
              <a:schemeClr val="accent5">
                <a:lumMod val="75000"/>
                <a:alpha val="34000"/>
              </a:schemeClr>
            </a:solidFill>
            <a:ln w="19050" algn="ctr">
              <a:solidFill>
                <a:schemeClr val="accent5"/>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6" name="Oval 275">
              <a:extLst>
                <a:ext uri="{FF2B5EF4-FFF2-40B4-BE49-F238E27FC236}">
                  <a16:creationId xmlns:a16="http://schemas.microsoft.com/office/drawing/2014/main" id="{CBD2B340-FC41-44E2-964B-C4F6EC7AFF73}"/>
                </a:ext>
              </a:extLst>
            </p:cNvPr>
            <p:cNvSpPr/>
            <p:nvPr/>
          </p:nvSpPr>
          <p:spPr bwMode="gray">
            <a:xfrm>
              <a:off x="4433115" y="4408756"/>
              <a:ext cx="170562" cy="170562"/>
            </a:xfrm>
            <a:prstGeom prst="ellipse">
              <a:avLst/>
            </a:prstGeom>
            <a:solidFill>
              <a:schemeClr val="accent5">
                <a:lumMod val="75000"/>
                <a:alpha val="34000"/>
              </a:schemeClr>
            </a:solidFill>
            <a:ln w="19050" algn="ctr">
              <a:solidFill>
                <a:schemeClr val="accent5"/>
              </a:solid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cxnSp>
          <p:nvCxnSpPr>
            <p:cNvPr id="277" name="Straight Connector 276">
              <a:extLst>
                <a:ext uri="{FF2B5EF4-FFF2-40B4-BE49-F238E27FC236}">
                  <a16:creationId xmlns:a16="http://schemas.microsoft.com/office/drawing/2014/main" id="{986955B4-D4A9-417A-8BEC-27F9F1DD2A74}"/>
                </a:ext>
              </a:extLst>
            </p:cNvPr>
            <p:cNvCxnSpPr>
              <a:cxnSpLocks/>
            </p:cNvCxnSpPr>
            <p:nvPr/>
          </p:nvCxnSpPr>
          <p:spPr>
            <a:xfrm>
              <a:off x="4794633" y="3664058"/>
              <a:ext cx="723879" cy="0"/>
            </a:xfrm>
            <a:prstGeom prst="line">
              <a:avLst/>
            </a:prstGeom>
            <a:ln w="15875" cap="rnd">
              <a:solidFill>
                <a:srgbClr val="0070C0"/>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78" name="Group 277">
              <a:extLst>
                <a:ext uri="{FF2B5EF4-FFF2-40B4-BE49-F238E27FC236}">
                  <a16:creationId xmlns:a16="http://schemas.microsoft.com/office/drawing/2014/main" id="{7DE936E2-FA1B-4399-B0B4-1CFB8CBB4A47}"/>
                </a:ext>
              </a:extLst>
            </p:cNvPr>
            <p:cNvGrpSpPr/>
            <p:nvPr/>
          </p:nvGrpSpPr>
          <p:grpSpPr>
            <a:xfrm>
              <a:off x="4515349" y="4494037"/>
              <a:ext cx="1044812" cy="560510"/>
              <a:chOff x="4207049" y="5198407"/>
              <a:chExt cx="1393083" cy="747346"/>
            </a:xfrm>
          </p:grpSpPr>
          <p:cxnSp>
            <p:nvCxnSpPr>
              <p:cNvPr id="279" name="Straight Connector 278">
                <a:extLst>
                  <a:ext uri="{FF2B5EF4-FFF2-40B4-BE49-F238E27FC236}">
                    <a16:creationId xmlns:a16="http://schemas.microsoft.com/office/drawing/2014/main" id="{484233C2-410A-4807-9DB7-D138878EBD1C}"/>
                  </a:ext>
                </a:extLst>
              </p:cNvPr>
              <p:cNvCxnSpPr>
                <a:cxnSpLocks/>
              </p:cNvCxnSpPr>
              <p:nvPr/>
            </p:nvCxnSpPr>
            <p:spPr>
              <a:xfrm>
                <a:off x="4978133" y="5945753"/>
                <a:ext cx="621999" cy="0"/>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D61D5B3F-FDD2-4EF1-9FF4-AE088EE5C264}"/>
                  </a:ext>
                </a:extLst>
              </p:cNvPr>
              <p:cNvCxnSpPr>
                <a:cxnSpLocks/>
              </p:cNvCxnSpPr>
              <p:nvPr/>
            </p:nvCxnSpPr>
            <p:spPr>
              <a:xfrm flipH="1" flipV="1">
                <a:off x="4207049" y="5198407"/>
                <a:ext cx="741652" cy="747345"/>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281" name="Group 280">
              <a:extLst>
                <a:ext uri="{FF2B5EF4-FFF2-40B4-BE49-F238E27FC236}">
                  <a16:creationId xmlns:a16="http://schemas.microsoft.com/office/drawing/2014/main" id="{224B5A01-297A-4FC1-BEB5-25C05A791FA0}"/>
                </a:ext>
              </a:extLst>
            </p:cNvPr>
            <p:cNvGrpSpPr/>
            <p:nvPr/>
          </p:nvGrpSpPr>
          <p:grpSpPr>
            <a:xfrm>
              <a:off x="4752602" y="2958639"/>
              <a:ext cx="765908" cy="225473"/>
              <a:chOff x="4523386" y="3151206"/>
              <a:chExt cx="1021211" cy="300631"/>
            </a:xfrm>
          </p:grpSpPr>
          <p:cxnSp>
            <p:nvCxnSpPr>
              <p:cNvPr id="282" name="Straight Connector 281">
                <a:extLst>
                  <a:ext uri="{FF2B5EF4-FFF2-40B4-BE49-F238E27FC236}">
                    <a16:creationId xmlns:a16="http://schemas.microsoft.com/office/drawing/2014/main" id="{7EF48578-389D-4BEF-A45B-3191CBB81511}"/>
                  </a:ext>
                </a:extLst>
              </p:cNvPr>
              <p:cNvCxnSpPr>
                <a:cxnSpLocks/>
              </p:cNvCxnSpPr>
              <p:nvPr/>
            </p:nvCxnSpPr>
            <p:spPr>
              <a:xfrm>
                <a:off x="4922598" y="3151712"/>
                <a:ext cx="621999" cy="0"/>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E5EAD347-F34C-4205-9D7A-4A30576A4C03}"/>
                  </a:ext>
                </a:extLst>
              </p:cNvPr>
              <p:cNvCxnSpPr>
                <a:cxnSpLocks/>
              </p:cNvCxnSpPr>
              <p:nvPr/>
            </p:nvCxnSpPr>
            <p:spPr>
              <a:xfrm flipH="1">
                <a:off x="4523386" y="3151206"/>
                <a:ext cx="371734" cy="300631"/>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C1609B99-BFF8-432F-8542-96EC62EFB6AD}"/>
                </a:ext>
              </a:extLst>
            </p:cNvPr>
            <p:cNvGrpSpPr/>
            <p:nvPr/>
          </p:nvGrpSpPr>
          <p:grpSpPr>
            <a:xfrm>
              <a:off x="4726057" y="4071340"/>
              <a:ext cx="792455" cy="293552"/>
              <a:chOff x="4487991" y="4634811"/>
              <a:chExt cx="1056606" cy="391402"/>
            </a:xfrm>
          </p:grpSpPr>
          <p:cxnSp>
            <p:nvCxnSpPr>
              <p:cNvPr id="285" name="Straight Connector 284">
                <a:extLst>
                  <a:ext uri="{FF2B5EF4-FFF2-40B4-BE49-F238E27FC236}">
                    <a16:creationId xmlns:a16="http://schemas.microsoft.com/office/drawing/2014/main" id="{20032D42-15B0-420F-A943-9DB4F968FA5B}"/>
                  </a:ext>
                </a:extLst>
              </p:cNvPr>
              <p:cNvCxnSpPr>
                <a:cxnSpLocks/>
              </p:cNvCxnSpPr>
              <p:nvPr/>
            </p:nvCxnSpPr>
            <p:spPr>
              <a:xfrm>
                <a:off x="4922598" y="5026213"/>
                <a:ext cx="621999" cy="0"/>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F6138207-8AFD-4292-830F-23D35667751B}"/>
                  </a:ext>
                </a:extLst>
              </p:cNvPr>
              <p:cNvCxnSpPr>
                <a:cxnSpLocks/>
              </p:cNvCxnSpPr>
              <p:nvPr/>
            </p:nvCxnSpPr>
            <p:spPr>
              <a:xfrm flipH="1" flipV="1">
                <a:off x="4487991" y="4634811"/>
                <a:ext cx="419702" cy="391183"/>
              </a:xfrm>
              <a:prstGeom prst="line">
                <a:avLst/>
              </a:prstGeom>
              <a:ln w="15875" cap="rnd">
                <a:solidFill>
                  <a:srgbClr val="0070C0"/>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2618951" y="3762283"/>
              <a:ext cx="1327223"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ontenido de requerimientos de información:</a:t>
              </a:r>
            </a:p>
          </p:txBody>
        </p:sp>
      </p:grpSp>
      <p:sp>
        <p:nvSpPr>
          <p:cNvPr id="103" name="Title 3"/>
          <p:cNvSpPr txBox="1">
            <a:spLocks/>
          </p:cNvSpPr>
          <p:nvPr/>
        </p:nvSpPr>
        <p:spPr bwMode="gray">
          <a:xfrm>
            <a:off x="501650" y="317500"/>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Requerimientos de información</a:t>
            </a:r>
            <a:b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br>
            <a:r>
              <a:rPr kumimoji="0" lang="es-MX" altLang="es-MX" sz="1800" b="1" i="0" u="none" strike="noStrike" kern="1200" cap="none" spc="0" normalizeH="0" baseline="0" noProof="0" dirty="0">
                <a:ln>
                  <a:noFill/>
                </a:ln>
                <a:solidFill>
                  <a:srgbClr val="575757"/>
                </a:solidFill>
                <a:effectLst/>
                <a:uLnTx/>
                <a:uFillTx/>
                <a:latin typeface="Calibri Light"/>
                <a:ea typeface="+mj-ea"/>
                <a:cs typeface="Calibri Light" panose="020F0302020204030204" pitchFamily="34" charset="0"/>
              </a:rPr>
              <a:t>Esquema Integral de Certificación</a:t>
            </a:r>
          </a:p>
        </p:txBody>
      </p:sp>
      <p:sp>
        <p:nvSpPr>
          <p:cNvPr id="104" name="Rectangle 103">
            <a:extLst>
              <a:ext uri="{FF2B5EF4-FFF2-40B4-BE49-F238E27FC236}">
                <a16:creationId xmlns:a16="http://schemas.microsoft.com/office/drawing/2014/main" id="{B9482F59-4883-4ABA-98BF-B5397011A968}"/>
              </a:ext>
            </a:extLst>
          </p:cNvPr>
          <p:cNvSpPr/>
          <p:nvPr/>
        </p:nvSpPr>
        <p:spPr>
          <a:xfrm>
            <a:off x="535104" y="6329886"/>
            <a:ext cx="2700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grpSp>
        <p:nvGrpSpPr>
          <p:cNvPr id="105" name="Group 104">
            <a:extLst>
              <a:ext uri="{FF2B5EF4-FFF2-40B4-BE49-F238E27FC236}">
                <a16:creationId xmlns:a16="http://schemas.microsoft.com/office/drawing/2014/main" id="{7DF386DC-BA45-42E9-9C73-0BFFF72EA437}"/>
              </a:ext>
            </a:extLst>
          </p:cNvPr>
          <p:cNvGrpSpPr/>
          <p:nvPr/>
        </p:nvGrpSpPr>
        <p:grpSpPr>
          <a:xfrm>
            <a:off x="10544368" y="133472"/>
            <a:ext cx="1097803" cy="1199742"/>
            <a:chOff x="774459" y="2132409"/>
            <a:chExt cx="1944823" cy="2491327"/>
          </a:xfrm>
        </p:grpSpPr>
        <p:grpSp>
          <p:nvGrpSpPr>
            <p:cNvPr id="106" name="Group 489">
              <a:extLst>
                <a:ext uri="{FF2B5EF4-FFF2-40B4-BE49-F238E27FC236}">
                  <a16:creationId xmlns:a16="http://schemas.microsoft.com/office/drawing/2014/main" id="{57537A52-ABF3-493B-B9B2-CFBBF6644310}"/>
                </a:ext>
              </a:extLst>
            </p:cNvPr>
            <p:cNvGrpSpPr>
              <a:grpSpLocks noChangeAspect="1"/>
            </p:cNvGrpSpPr>
            <p:nvPr/>
          </p:nvGrpSpPr>
          <p:grpSpPr bwMode="auto">
            <a:xfrm>
              <a:off x="1514663" y="2591717"/>
              <a:ext cx="464416" cy="460074"/>
              <a:chOff x="2920" y="2264"/>
              <a:chExt cx="340" cy="340"/>
            </a:xfrm>
            <a:solidFill>
              <a:schemeClr val="accent5"/>
            </a:solidFill>
          </p:grpSpPr>
          <p:sp>
            <p:nvSpPr>
              <p:cNvPr id="120" name="Freeform 490">
                <a:extLst>
                  <a:ext uri="{FF2B5EF4-FFF2-40B4-BE49-F238E27FC236}">
                    <a16:creationId xmlns:a16="http://schemas.microsoft.com/office/drawing/2014/main" id="{571DF78C-076E-4967-B396-1370E65F8FB2}"/>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1" name="Freeform 491">
                <a:extLst>
                  <a:ext uri="{FF2B5EF4-FFF2-40B4-BE49-F238E27FC236}">
                    <a16:creationId xmlns:a16="http://schemas.microsoft.com/office/drawing/2014/main" id="{6D44247F-DA05-495E-BDDE-0969955C1C9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2" name="Freeform 492">
                <a:extLst>
                  <a:ext uri="{FF2B5EF4-FFF2-40B4-BE49-F238E27FC236}">
                    <a16:creationId xmlns:a16="http://schemas.microsoft.com/office/drawing/2014/main" id="{03ECC045-B5C6-4D88-A2A5-41B05230377D}"/>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07" name="Group 106">
              <a:extLst>
                <a:ext uri="{FF2B5EF4-FFF2-40B4-BE49-F238E27FC236}">
                  <a16:creationId xmlns:a16="http://schemas.microsoft.com/office/drawing/2014/main" id="{660DB6A4-642D-4139-BB34-BC732744B1F0}"/>
                </a:ext>
              </a:extLst>
            </p:cNvPr>
            <p:cNvGrpSpPr/>
            <p:nvPr/>
          </p:nvGrpSpPr>
          <p:grpSpPr>
            <a:xfrm>
              <a:off x="774459" y="2132409"/>
              <a:ext cx="1944823" cy="358453"/>
              <a:chOff x="413228" y="1371600"/>
              <a:chExt cx="1947702" cy="476173"/>
            </a:xfrm>
          </p:grpSpPr>
          <p:sp>
            <p:nvSpPr>
              <p:cNvPr id="117" name="Right Triangle 49">
                <a:extLst>
                  <a:ext uri="{FF2B5EF4-FFF2-40B4-BE49-F238E27FC236}">
                    <a16:creationId xmlns:a16="http://schemas.microsoft.com/office/drawing/2014/main" id="{3430DDD9-A191-42A0-B995-A70AB2D7285C}"/>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8" name="Right Triangle 49">
                <a:extLst>
                  <a:ext uri="{FF2B5EF4-FFF2-40B4-BE49-F238E27FC236}">
                    <a16:creationId xmlns:a16="http://schemas.microsoft.com/office/drawing/2014/main" id="{87280EEC-C064-4D5A-A8C2-3E26DA9D2E5D}"/>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9" name="Round Same Side Corner Rectangle 43">
                <a:extLst>
                  <a:ext uri="{FF2B5EF4-FFF2-40B4-BE49-F238E27FC236}">
                    <a16:creationId xmlns:a16="http://schemas.microsoft.com/office/drawing/2014/main" id="{F77C04AB-AD4B-4855-A222-0536FF120C10}"/>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Fundamento</a:t>
                </a:r>
              </a:p>
            </p:txBody>
          </p:sp>
        </p:grpSp>
        <p:grpSp>
          <p:nvGrpSpPr>
            <p:cNvPr id="108" name="Group 107">
              <a:extLst>
                <a:ext uri="{FF2B5EF4-FFF2-40B4-BE49-F238E27FC236}">
                  <a16:creationId xmlns:a16="http://schemas.microsoft.com/office/drawing/2014/main" id="{699BD4CE-9997-481C-BD66-0CC369F3373B}"/>
                </a:ext>
              </a:extLst>
            </p:cNvPr>
            <p:cNvGrpSpPr/>
            <p:nvPr/>
          </p:nvGrpSpPr>
          <p:grpSpPr>
            <a:xfrm>
              <a:off x="774459" y="3570175"/>
              <a:ext cx="1944823" cy="1053561"/>
              <a:chOff x="582909" y="4047068"/>
              <a:chExt cx="2642778" cy="1686277"/>
            </a:xfrm>
          </p:grpSpPr>
          <p:sp>
            <p:nvSpPr>
              <p:cNvPr id="115" name="Rectangle 114">
                <a:extLst>
                  <a:ext uri="{FF2B5EF4-FFF2-40B4-BE49-F238E27FC236}">
                    <a16:creationId xmlns:a16="http://schemas.microsoft.com/office/drawing/2014/main" id="{A06FD12B-D58C-4ABC-8EDE-622FB805813E}"/>
                  </a:ext>
                </a:extLst>
              </p:cNvPr>
              <p:cNvSpPr/>
              <p:nvPr/>
            </p:nvSpPr>
            <p:spPr bwMode="gray">
              <a:xfrm>
                <a:off x="582909" y="4047068"/>
                <a:ext cx="2642778" cy="1644370"/>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egla de CIVA</a:t>
                </a: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de las RGCE 2022</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16" name="Rectangle 115">
                <a:extLst>
                  <a:ext uri="{FF2B5EF4-FFF2-40B4-BE49-F238E27FC236}">
                    <a16:creationId xmlns:a16="http://schemas.microsoft.com/office/drawing/2014/main" id="{5D9C9CE4-7FDB-469E-910D-02C6CA71B063}"/>
                  </a:ext>
                </a:extLst>
              </p:cNvPr>
              <p:cNvSpPr/>
              <p:nvPr/>
            </p:nvSpPr>
            <p:spPr bwMode="gray">
              <a:xfrm>
                <a:off x="756473" y="5645648"/>
                <a:ext cx="2295650" cy="87697"/>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09" name="Group 108">
              <a:extLst>
                <a:ext uri="{FF2B5EF4-FFF2-40B4-BE49-F238E27FC236}">
                  <a16:creationId xmlns:a16="http://schemas.microsoft.com/office/drawing/2014/main" id="{B68BEAF5-54DE-4AF6-8AE9-1677FD298663}"/>
                </a:ext>
              </a:extLst>
            </p:cNvPr>
            <p:cNvGrpSpPr/>
            <p:nvPr/>
          </p:nvGrpSpPr>
          <p:grpSpPr>
            <a:xfrm>
              <a:off x="1427950" y="2490862"/>
              <a:ext cx="637841" cy="1054731"/>
              <a:chOff x="757805" y="1635343"/>
              <a:chExt cx="1185062" cy="2012973"/>
            </a:xfrm>
          </p:grpSpPr>
          <p:sp>
            <p:nvSpPr>
              <p:cNvPr id="110" name="Freeform 36">
                <a:extLst>
                  <a:ext uri="{FF2B5EF4-FFF2-40B4-BE49-F238E27FC236}">
                    <a16:creationId xmlns:a16="http://schemas.microsoft.com/office/drawing/2014/main" id="{D88D4B4D-3F1F-4764-8227-E9E8BD8E0FD8}"/>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1" name="Round Same Side Corner Rectangle 37">
                <a:extLst>
                  <a:ext uri="{FF2B5EF4-FFF2-40B4-BE49-F238E27FC236}">
                    <a16:creationId xmlns:a16="http://schemas.microsoft.com/office/drawing/2014/main" id="{17614275-4FFE-4860-9515-AA56A37F48F7}"/>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2" name="Round Same Side Corner Rectangle 38">
                <a:extLst>
                  <a:ext uri="{FF2B5EF4-FFF2-40B4-BE49-F238E27FC236}">
                    <a16:creationId xmlns:a16="http://schemas.microsoft.com/office/drawing/2014/main" id="{AB318C27-178A-425A-B31D-BBD841D76369}"/>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3" name="Round Same Side Corner Rectangle 39">
                <a:extLst>
                  <a:ext uri="{FF2B5EF4-FFF2-40B4-BE49-F238E27FC236}">
                    <a16:creationId xmlns:a16="http://schemas.microsoft.com/office/drawing/2014/main" id="{83AFE86E-02D7-49E3-AA6F-5F9F33DEC9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4" name="Oval 113">
                <a:extLst>
                  <a:ext uri="{FF2B5EF4-FFF2-40B4-BE49-F238E27FC236}">
                    <a16:creationId xmlns:a16="http://schemas.microsoft.com/office/drawing/2014/main" id="{8366CCF3-65DE-4118-884A-9A8876877DD8}"/>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spTree>
    <p:extLst>
      <p:ext uri="{BB962C8B-B14F-4D97-AF65-F5344CB8AC3E}">
        <p14:creationId xmlns:p14="http://schemas.microsoft.com/office/powerpoint/2010/main" val="7265318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3"/>
          <p:cNvSpPr txBox="1">
            <a:spLocks/>
          </p:cNvSpPr>
          <p:nvPr/>
        </p:nvSpPr>
        <p:spPr bwMode="gray">
          <a:xfrm>
            <a:off x="501650" y="317500"/>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Requerimientos de información</a:t>
            </a:r>
            <a:b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br>
            <a:r>
              <a:rPr kumimoji="0" lang="es-MX" altLang="es-MX" sz="1800" b="1" i="0" u="none" strike="noStrike" kern="1200" cap="none" spc="0" normalizeH="0" baseline="0" noProof="0" dirty="0">
                <a:ln>
                  <a:noFill/>
                </a:ln>
                <a:solidFill>
                  <a:srgbClr val="575757"/>
                </a:solidFill>
                <a:effectLst/>
                <a:uLnTx/>
                <a:uFillTx/>
                <a:latin typeface="Calibri Light"/>
                <a:ea typeface="+mj-ea"/>
                <a:cs typeface="Calibri Light" panose="020F0302020204030204" pitchFamily="34" charset="0"/>
              </a:rPr>
              <a:t>Esquema Integral de Certificación</a:t>
            </a:r>
          </a:p>
        </p:txBody>
      </p:sp>
      <p:grpSp>
        <p:nvGrpSpPr>
          <p:cNvPr id="146" name="Group 145">
            <a:extLst>
              <a:ext uri="{FF2B5EF4-FFF2-40B4-BE49-F238E27FC236}">
                <a16:creationId xmlns:a16="http://schemas.microsoft.com/office/drawing/2014/main" id="{98DD88AC-142F-4541-8A24-4543FB82FCE4}"/>
              </a:ext>
            </a:extLst>
          </p:cNvPr>
          <p:cNvGrpSpPr/>
          <p:nvPr/>
        </p:nvGrpSpPr>
        <p:grpSpPr>
          <a:xfrm>
            <a:off x="2279515" y="766693"/>
            <a:ext cx="8050282" cy="5731907"/>
            <a:chOff x="755515" y="766692"/>
            <a:chExt cx="8050282" cy="5731907"/>
          </a:xfrm>
        </p:grpSpPr>
        <p:grpSp>
          <p:nvGrpSpPr>
            <p:cNvPr id="147" name="Group 146">
              <a:extLst>
                <a:ext uri="{FF2B5EF4-FFF2-40B4-BE49-F238E27FC236}">
                  <a16:creationId xmlns:a16="http://schemas.microsoft.com/office/drawing/2014/main" id="{716C7B98-2FE3-4472-A142-0974A7F21383}"/>
                </a:ext>
              </a:extLst>
            </p:cNvPr>
            <p:cNvGrpSpPr/>
            <p:nvPr/>
          </p:nvGrpSpPr>
          <p:grpSpPr>
            <a:xfrm>
              <a:off x="958366" y="982450"/>
              <a:ext cx="7847431" cy="5435880"/>
              <a:chOff x="958366" y="982450"/>
              <a:chExt cx="7847431" cy="5435880"/>
            </a:xfrm>
          </p:grpSpPr>
          <p:sp>
            <p:nvSpPr>
              <p:cNvPr id="167" name="Oval 166">
                <a:extLst>
                  <a:ext uri="{FF2B5EF4-FFF2-40B4-BE49-F238E27FC236}">
                    <a16:creationId xmlns:a16="http://schemas.microsoft.com/office/drawing/2014/main" id="{FC7575F3-889B-4F08-8531-4A3DB3763896}"/>
                  </a:ext>
                </a:extLst>
              </p:cNvPr>
              <p:cNvSpPr/>
              <p:nvPr/>
            </p:nvSpPr>
            <p:spPr bwMode="gray">
              <a:xfrm>
                <a:off x="3601232" y="1032891"/>
                <a:ext cx="5204565" cy="5204565"/>
              </a:xfrm>
              <a:prstGeom prst="ellipse">
                <a:avLst/>
              </a:prstGeom>
              <a:noFill/>
              <a:ln w="31750" algn="ctr">
                <a:solidFill>
                  <a:sysClr val="windowText" lastClr="00000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0" cap="none" spc="0" normalizeH="0" baseline="0">
                  <a:ln>
                    <a:noFill/>
                  </a:ln>
                  <a:solidFill>
                    <a:prstClr val="white"/>
                  </a:solidFill>
                  <a:effectLst/>
                  <a:uLnTx/>
                  <a:uFillTx/>
                </a:endParaRPr>
              </a:p>
            </p:txBody>
          </p:sp>
          <p:sp>
            <p:nvSpPr>
              <p:cNvPr id="168" name="Rectangle 167">
                <a:extLst>
                  <a:ext uri="{FF2B5EF4-FFF2-40B4-BE49-F238E27FC236}">
                    <a16:creationId xmlns:a16="http://schemas.microsoft.com/office/drawing/2014/main" id="{AA6E965A-A0A3-49C6-8EE9-8D58B3E568D3}"/>
                  </a:ext>
                </a:extLst>
              </p:cNvPr>
              <p:cNvSpPr/>
              <p:nvPr/>
            </p:nvSpPr>
            <p:spPr bwMode="gray">
              <a:xfrm>
                <a:off x="958366" y="982450"/>
                <a:ext cx="5060516" cy="5435880"/>
              </a:xfrm>
              <a:prstGeom prst="rect">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0" cap="none" spc="0" normalizeH="0" baseline="0">
                  <a:ln>
                    <a:noFill/>
                  </a:ln>
                  <a:solidFill>
                    <a:prstClr val="white"/>
                  </a:solidFill>
                  <a:effectLst/>
                  <a:uLnTx/>
                  <a:uFillTx/>
                </a:endParaRPr>
              </a:p>
            </p:txBody>
          </p:sp>
        </p:grpSp>
        <p:sp>
          <p:nvSpPr>
            <p:cNvPr id="148" name="Rectangle 147">
              <a:extLst>
                <a:ext uri="{FF2B5EF4-FFF2-40B4-BE49-F238E27FC236}">
                  <a16:creationId xmlns:a16="http://schemas.microsoft.com/office/drawing/2014/main" id="{80AAE4CD-436C-430D-BA4A-72FB58E4FD3C}"/>
                </a:ext>
              </a:extLst>
            </p:cNvPr>
            <p:cNvSpPr/>
            <p:nvPr/>
          </p:nvSpPr>
          <p:spPr>
            <a:xfrm>
              <a:off x="4832745" y="2901658"/>
              <a:ext cx="3061164" cy="166199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MX" sz="2800" b="1" i="0" u="none" strike="noStrike" kern="0" cap="none" spc="0" normalizeH="0" baseline="0">
                  <a:ln>
                    <a:noFill/>
                  </a:ln>
                  <a:solidFill>
                    <a:prstClr val="black"/>
                  </a:solidFill>
                  <a:effectLst/>
                  <a:uLnTx/>
                  <a:uFillTx/>
                  <a:latin typeface="Calibri"/>
                </a:rPr>
                <a:t>Principales causales de requerimiento</a:t>
              </a: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800" b="1" i="0" u="none" strike="noStrike" kern="0" cap="none" spc="0" normalizeH="0" baseline="0">
                <a:ln>
                  <a:noFill/>
                </a:ln>
                <a:solidFill>
                  <a:prstClr val="black"/>
                </a:solidFill>
                <a:effectLst/>
                <a:uLnTx/>
                <a:uFillTx/>
                <a:latin typeface="Calibri"/>
              </a:endParaRPr>
            </a:p>
          </p:txBody>
        </p:sp>
        <p:grpSp>
          <p:nvGrpSpPr>
            <p:cNvPr id="149" name="Group 148">
              <a:extLst>
                <a:ext uri="{FF2B5EF4-FFF2-40B4-BE49-F238E27FC236}">
                  <a16:creationId xmlns:a16="http://schemas.microsoft.com/office/drawing/2014/main" id="{765A0DD9-933C-4EFD-BC39-3A28986091B4}"/>
                </a:ext>
              </a:extLst>
            </p:cNvPr>
            <p:cNvGrpSpPr/>
            <p:nvPr/>
          </p:nvGrpSpPr>
          <p:grpSpPr>
            <a:xfrm>
              <a:off x="3198310" y="766692"/>
              <a:ext cx="2908129" cy="553998"/>
              <a:chOff x="3198310" y="766692"/>
              <a:chExt cx="2908129" cy="553998"/>
            </a:xfrm>
          </p:grpSpPr>
          <p:sp>
            <p:nvSpPr>
              <p:cNvPr id="165" name="Rectangle 164">
                <a:extLst>
                  <a:ext uri="{FF2B5EF4-FFF2-40B4-BE49-F238E27FC236}">
                    <a16:creationId xmlns:a16="http://schemas.microsoft.com/office/drawing/2014/main" id="{1FF22E2F-DFAA-4853-8F72-30731A7A1D75}"/>
                  </a:ext>
                </a:extLst>
              </p:cNvPr>
              <p:cNvSpPr/>
              <p:nvPr/>
            </p:nvSpPr>
            <p:spPr bwMode="gray">
              <a:xfrm>
                <a:off x="3942427" y="841716"/>
                <a:ext cx="2164012" cy="403951"/>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1" i="0" u="none" strike="noStrike" kern="0" cap="none" spc="0" normalizeH="0" baseline="0">
                    <a:ln>
                      <a:noFill/>
                    </a:ln>
                    <a:solidFill>
                      <a:prstClr val="white"/>
                    </a:solidFill>
                    <a:effectLst/>
                    <a:uLnTx/>
                    <a:uFillTx/>
                    <a:latin typeface="Calibri"/>
                  </a:rPr>
                  <a:t>Omisión en Anexo 30</a:t>
                </a:r>
              </a:p>
            </p:txBody>
          </p:sp>
          <p:sp>
            <p:nvSpPr>
              <p:cNvPr id="166" name="TextBox 165">
                <a:extLst>
                  <a:ext uri="{FF2B5EF4-FFF2-40B4-BE49-F238E27FC236}">
                    <a16:creationId xmlns:a16="http://schemas.microsoft.com/office/drawing/2014/main" id="{D2BD0C02-5249-4943-BE7B-6E41586110FE}"/>
                  </a:ext>
                </a:extLst>
              </p:cNvPr>
              <p:cNvSpPr txBox="1"/>
              <p:nvPr/>
            </p:nvSpPr>
            <p:spPr>
              <a:xfrm>
                <a:off x="3198310" y="76669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a:ln>
                      <a:noFill/>
                    </a:ln>
                    <a:solidFill>
                      <a:srgbClr val="313131"/>
                    </a:solidFill>
                    <a:effectLst/>
                    <a:uLnTx/>
                    <a:uFillTx/>
                  </a:rPr>
                  <a:t>01</a:t>
                </a:r>
              </a:p>
            </p:txBody>
          </p:sp>
        </p:grpSp>
        <p:grpSp>
          <p:nvGrpSpPr>
            <p:cNvPr id="150" name="Group 149">
              <a:extLst>
                <a:ext uri="{FF2B5EF4-FFF2-40B4-BE49-F238E27FC236}">
                  <a16:creationId xmlns:a16="http://schemas.microsoft.com/office/drawing/2014/main" id="{30478EE0-8EA5-43BF-8490-B38EC574711A}"/>
                </a:ext>
              </a:extLst>
            </p:cNvPr>
            <p:cNvGrpSpPr/>
            <p:nvPr/>
          </p:nvGrpSpPr>
          <p:grpSpPr>
            <a:xfrm>
              <a:off x="1335891" y="1802274"/>
              <a:ext cx="2908129" cy="601590"/>
              <a:chOff x="3198310" y="766692"/>
              <a:chExt cx="2908129" cy="601590"/>
            </a:xfrm>
          </p:grpSpPr>
          <p:sp>
            <p:nvSpPr>
              <p:cNvPr id="163" name="Rectangle 162">
                <a:extLst>
                  <a:ext uri="{FF2B5EF4-FFF2-40B4-BE49-F238E27FC236}">
                    <a16:creationId xmlns:a16="http://schemas.microsoft.com/office/drawing/2014/main" id="{18A79276-4313-45F9-A599-F1CFAC53407F}"/>
                  </a:ext>
                </a:extLst>
              </p:cNvPr>
              <p:cNvSpPr/>
              <p:nvPr/>
            </p:nvSpPr>
            <p:spPr bwMode="gray">
              <a:xfrm>
                <a:off x="3942427" y="814284"/>
                <a:ext cx="2164012" cy="553998"/>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1" i="0" u="none" strike="noStrike" kern="0" cap="none" spc="0" normalizeH="0" baseline="0">
                    <a:ln>
                      <a:noFill/>
                    </a:ln>
                    <a:solidFill>
                      <a:prstClr val="white"/>
                    </a:solidFill>
                    <a:effectLst/>
                    <a:uLnTx/>
                    <a:uFillTx/>
                    <a:latin typeface="Calibri"/>
                  </a:rPr>
                  <a:t>Falta de Inventario Inicial</a:t>
                </a:r>
              </a:p>
            </p:txBody>
          </p:sp>
          <p:sp>
            <p:nvSpPr>
              <p:cNvPr id="164" name="TextBox 163">
                <a:extLst>
                  <a:ext uri="{FF2B5EF4-FFF2-40B4-BE49-F238E27FC236}">
                    <a16:creationId xmlns:a16="http://schemas.microsoft.com/office/drawing/2014/main" id="{DD04F7EB-0FC0-4CC5-B91A-815C4B6E4CFB}"/>
                  </a:ext>
                </a:extLst>
              </p:cNvPr>
              <p:cNvSpPr txBox="1"/>
              <p:nvPr/>
            </p:nvSpPr>
            <p:spPr>
              <a:xfrm>
                <a:off x="3198310" y="76669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a:ln>
                      <a:noFill/>
                    </a:ln>
                    <a:solidFill>
                      <a:srgbClr val="313131"/>
                    </a:solidFill>
                    <a:effectLst/>
                    <a:uLnTx/>
                    <a:uFillTx/>
                  </a:rPr>
                  <a:t>02</a:t>
                </a:r>
              </a:p>
            </p:txBody>
          </p:sp>
        </p:grpSp>
        <p:grpSp>
          <p:nvGrpSpPr>
            <p:cNvPr id="151" name="Group 150">
              <a:extLst>
                <a:ext uri="{FF2B5EF4-FFF2-40B4-BE49-F238E27FC236}">
                  <a16:creationId xmlns:a16="http://schemas.microsoft.com/office/drawing/2014/main" id="{45D13614-8531-4013-96D4-B17EC007C9CB}"/>
                </a:ext>
              </a:extLst>
            </p:cNvPr>
            <p:cNvGrpSpPr/>
            <p:nvPr/>
          </p:nvGrpSpPr>
          <p:grpSpPr>
            <a:xfrm>
              <a:off x="795408" y="2837856"/>
              <a:ext cx="2908129" cy="628289"/>
              <a:chOff x="3198310" y="766692"/>
              <a:chExt cx="2908129" cy="628289"/>
            </a:xfrm>
          </p:grpSpPr>
          <p:sp>
            <p:nvSpPr>
              <p:cNvPr id="161" name="Rectangle 160">
                <a:extLst>
                  <a:ext uri="{FF2B5EF4-FFF2-40B4-BE49-F238E27FC236}">
                    <a16:creationId xmlns:a16="http://schemas.microsoft.com/office/drawing/2014/main" id="{5469D088-6664-46F8-99AA-2B7858DAA0AD}"/>
                  </a:ext>
                </a:extLst>
              </p:cNvPr>
              <p:cNvSpPr/>
              <p:nvPr/>
            </p:nvSpPr>
            <p:spPr bwMode="gray">
              <a:xfrm>
                <a:off x="3942427" y="841716"/>
                <a:ext cx="2164012" cy="553265"/>
              </a:xfrm>
              <a:prstGeom prst="rect">
                <a:avLst/>
              </a:prstGeom>
              <a:solidFill>
                <a:srgbClr val="0097A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1" i="0" u="none" strike="noStrike" kern="0" cap="none" spc="0" normalizeH="0" baseline="0">
                    <a:ln>
                      <a:noFill/>
                    </a:ln>
                    <a:solidFill>
                      <a:prstClr val="white"/>
                    </a:solidFill>
                    <a:effectLst/>
                    <a:uLnTx/>
                    <a:uFillTx/>
                    <a:latin typeface="Calibri"/>
                  </a:rPr>
                  <a:t>Proveedores No declarados</a:t>
                </a:r>
              </a:p>
            </p:txBody>
          </p:sp>
          <p:sp>
            <p:nvSpPr>
              <p:cNvPr id="162" name="TextBox 161">
                <a:extLst>
                  <a:ext uri="{FF2B5EF4-FFF2-40B4-BE49-F238E27FC236}">
                    <a16:creationId xmlns:a16="http://schemas.microsoft.com/office/drawing/2014/main" id="{722DC87E-E827-4D08-9689-AFDABB3E8C78}"/>
                  </a:ext>
                </a:extLst>
              </p:cNvPr>
              <p:cNvSpPr txBox="1"/>
              <p:nvPr/>
            </p:nvSpPr>
            <p:spPr>
              <a:xfrm>
                <a:off x="3198310" y="76669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a:ln>
                      <a:noFill/>
                    </a:ln>
                    <a:solidFill>
                      <a:srgbClr val="313131"/>
                    </a:solidFill>
                    <a:effectLst/>
                    <a:uLnTx/>
                    <a:uFillTx/>
                  </a:rPr>
                  <a:t>03</a:t>
                </a:r>
              </a:p>
            </p:txBody>
          </p:sp>
        </p:grpSp>
        <p:grpSp>
          <p:nvGrpSpPr>
            <p:cNvPr id="152" name="Group 151">
              <a:extLst>
                <a:ext uri="{FF2B5EF4-FFF2-40B4-BE49-F238E27FC236}">
                  <a16:creationId xmlns:a16="http://schemas.microsoft.com/office/drawing/2014/main" id="{D1CBF006-37CA-47BC-B015-C21F04CAA89F}"/>
                </a:ext>
              </a:extLst>
            </p:cNvPr>
            <p:cNvGrpSpPr/>
            <p:nvPr/>
          </p:nvGrpSpPr>
          <p:grpSpPr>
            <a:xfrm>
              <a:off x="755515" y="3873438"/>
              <a:ext cx="3248639" cy="801870"/>
              <a:chOff x="3198310" y="766692"/>
              <a:chExt cx="3248639" cy="801870"/>
            </a:xfrm>
          </p:grpSpPr>
          <p:sp>
            <p:nvSpPr>
              <p:cNvPr id="159" name="Rectangle 158">
                <a:extLst>
                  <a:ext uri="{FF2B5EF4-FFF2-40B4-BE49-F238E27FC236}">
                    <a16:creationId xmlns:a16="http://schemas.microsoft.com/office/drawing/2014/main" id="{ED30790F-9549-47F3-8879-A1EA083D1859}"/>
                  </a:ext>
                </a:extLst>
              </p:cNvPr>
              <p:cNvSpPr/>
              <p:nvPr/>
            </p:nvSpPr>
            <p:spPr bwMode="gray">
              <a:xfrm>
                <a:off x="3942085" y="794124"/>
                <a:ext cx="2504864" cy="774438"/>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1" i="0" u="none" strike="noStrike" kern="0" cap="none" spc="0" normalizeH="0" baseline="0">
                    <a:ln>
                      <a:noFill/>
                    </a:ln>
                    <a:solidFill>
                      <a:prstClr val="white"/>
                    </a:solidFill>
                    <a:effectLst/>
                    <a:uLnTx/>
                    <a:uFillTx/>
                    <a:latin typeface="Calibri"/>
                  </a:rPr>
                  <a:t>Opinión de Cumplimiento Negativa</a:t>
                </a:r>
              </a:p>
            </p:txBody>
          </p:sp>
          <p:sp>
            <p:nvSpPr>
              <p:cNvPr id="160" name="TextBox 159">
                <a:extLst>
                  <a:ext uri="{FF2B5EF4-FFF2-40B4-BE49-F238E27FC236}">
                    <a16:creationId xmlns:a16="http://schemas.microsoft.com/office/drawing/2014/main" id="{050C2190-9E40-407F-92CC-1BA41AA8467C}"/>
                  </a:ext>
                </a:extLst>
              </p:cNvPr>
              <p:cNvSpPr txBox="1"/>
              <p:nvPr/>
            </p:nvSpPr>
            <p:spPr>
              <a:xfrm>
                <a:off x="3198310" y="76669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a:ln>
                      <a:noFill/>
                    </a:ln>
                    <a:solidFill>
                      <a:srgbClr val="313131"/>
                    </a:solidFill>
                    <a:effectLst/>
                    <a:uLnTx/>
                    <a:uFillTx/>
                  </a:rPr>
                  <a:t>04</a:t>
                </a:r>
              </a:p>
            </p:txBody>
          </p:sp>
        </p:grpSp>
        <p:grpSp>
          <p:nvGrpSpPr>
            <p:cNvPr id="153" name="Group 152">
              <a:extLst>
                <a:ext uri="{FF2B5EF4-FFF2-40B4-BE49-F238E27FC236}">
                  <a16:creationId xmlns:a16="http://schemas.microsoft.com/office/drawing/2014/main" id="{A76A2B9E-3461-445B-ADBB-2E6875B9CF79}"/>
                </a:ext>
              </a:extLst>
            </p:cNvPr>
            <p:cNvGrpSpPr/>
            <p:nvPr/>
          </p:nvGrpSpPr>
          <p:grpSpPr>
            <a:xfrm>
              <a:off x="1372530" y="5140790"/>
              <a:ext cx="2928192" cy="553998"/>
              <a:chOff x="3239974" y="998462"/>
              <a:chExt cx="2928192" cy="553998"/>
            </a:xfrm>
          </p:grpSpPr>
          <p:sp>
            <p:nvSpPr>
              <p:cNvPr id="157" name="Rectangle 156">
                <a:extLst>
                  <a:ext uri="{FF2B5EF4-FFF2-40B4-BE49-F238E27FC236}">
                    <a16:creationId xmlns:a16="http://schemas.microsoft.com/office/drawing/2014/main" id="{572C461B-D548-440F-A339-4FD55D71E247}"/>
                  </a:ext>
                </a:extLst>
              </p:cNvPr>
              <p:cNvSpPr/>
              <p:nvPr/>
            </p:nvSpPr>
            <p:spPr bwMode="gray">
              <a:xfrm>
                <a:off x="4004154" y="1084337"/>
                <a:ext cx="2164012" cy="403951"/>
              </a:xfrm>
              <a:prstGeom prst="rect">
                <a:avLst/>
              </a:prstGeom>
              <a:solidFill>
                <a:srgbClr val="004F59"/>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MX" sz="1600" b="1" kern="0" dirty="0">
                    <a:solidFill>
                      <a:prstClr val="white"/>
                    </a:solidFill>
                    <a:latin typeface="Calibri"/>
                  </a:rPr>
                  <a:t>Retornos</a:t>
                </a:r>
                <a:endParaRPr kumimoji="0" lang="es-MX" sz="1600" b="1" i="0" u="none" strike="noStrike" kern="0" cap="none" spc="0" normalizeH="0" baseline="0" dirty="0">
                  <a:ln>
                    <a:noFill/>
                  </a:ln>
                  <a:solidFill>
                    <a:prstClr val="white"/>
                  </a:solidFill>
                  <a:effectLst/>
                  <a:uLnTx/>
                  <a:uFillTx/>
                  <a:latin typeface="Calibri"/>
                </a:endParaRPr>
              </a:p>
            </p:txBody>
          </p:sp>
          <p:sp>
            <p:nvSpPr>
              <p:cNvPr id="158" name="TextBox 157">
                <a:extLst>
                  <a:ext uri="{FF2B5EF4-FFF2-40B4-BE49-F238E27FC236}">
                    <a16:creationId xmlns:a16="http://schemas.microsoft.com/office/drawing/2014/main" id="{40BDE7FF-2211-4422-87C6-D38BEDEA4EE6}"/>
                  </a:ext>
                </a:extLst>
              </p:cNvPr>
              <p:cNvSpPr txBox="1"/>
              <p:nvPr/>
            </p:nvSpPr>
            <p:spPr>
              <a:xfrm>
                <a:off x="3239974" y="99846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dirty="0">
                    <a:ln>
                      <a:noFill/>
                    </a:ln>
                    <a:solidFill>
                      <a:srgbClr val="313131"/>
                    </a:solidFill>
                    <a:effectLst/>
                    <a:uLnTx/>
                    <a:uFillTx/>
                  </a:rPr>
                  <a:t>05</a:t>
                </a:r>
              </a:p>
            </p:txBody>
          </p:sp>
        </p:grpSp>
        <p:grpSp>
          <p:nvGrpSpPr>
            <p:cNvPr id="154" name="Group 153">
              <a:extLst>
                <a:ext uri="{FF2B5EF4-FFF2-40B4-BE49-F238E27FC236}">
                  <a16:creationId xmlns:a16="http://schemas.microsoft.com/office/drawing/2014/main" id="{59D8C586-75D9-491E-9869-4B91E9446A95}"/>
                </a:ext>
              </a:extLst>
            </p:cNvPr>
            <p:cNvGrpSpPr/>
            <p:nvPr/>
          </p:nvGrpSpPr>
          <p:grpSpPr>
            <a:xfrm>
              <a:off x="3200400" y="5944601"/>
              <a:ext cx="2908129" cy="553998"/>
              <a:chOff x="3198310" y="766692"/>
              <a:chExt cx="2908129" cy="553998"/>
            </a:xfrm>
          </p:grpSpPr>
          <p:sp>
            <p:nvSpPr>
              <p:cNvPr id="155" name="Rectangle 154">
                <a:extLst>
                  <a:ext uri="{FF2B5EF4-FFF2-40B4-BE49-F238E27FC236}">
                    <a16:creationId xmlns:a16="http://schemas.microsoft.com/office/drawing/2014/main" id="{9F463705-0E82-49D9-A041-1D6E338DEB51}"/>
                  </a:ext>
                </a:extLst>
              </p:cNvPr>
              <p:cNvSpPr/>
              <p:nvPr/>
            </p:nvSpPr>
            <p:spPr bwMode="gray">
              <a:xfrm>
                <a:off x="3942427" y="841716"/>
                <a:ext cx="2164012" cy="403951"/>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MX" sz="1600" b="1" i="0" u="none" strike="noStrike" kern="0" cap="none" spc="0" normalizeH="0" baseline="0">
                    <a:ln>
                      <a:noFill/>
                    </a:ln>
                    <a:solidFill>
                      <a:prstClr val="white"/>
                    </a:solidFill>
                    <a:effectLst/>
                    <a:uLnTx/>
                    <a:uFillTx/>
                    <a:latin typeface="Calibri"/>
                  </a:rPr>
                  <a:t>IMMEX suspendido</a:t>
                </a:r>
              </a:p>
            </p:txBody>
          </p:sp>
          <p:sp>
            <p:nvSpPr>
              <p:cNvPr id="156" name="TextBox 155">
                <a:extLst>
                  <a:ext uri="{FF2B5EF4-FFF2-40B4-BE49-F238E27FC236}">
                    <a16:creationId xmlns:a16="http://schemas.microsoft.com/office/drawing/2014/main" id="{A409DFD3-5FE5-4339-B742-A4E32DCF0454}"/>
                  </a:ext>
                </a:extLst>
              </p:cNvPr>
              <p:cNvSpPr txBox="1"/>
              <p:nvPr/>
            </p:nvSpPr>
            <p:spPr>
              <a:xfrm>
                <a:off x="3198310" y="766692"/>
                <a:ext cx="80584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es-MX" sz="3600" b="0" i="0" u="none" strike="noStrike" kern="0" cap="none" spc="0" normalizeH="0" baseline="0">
                    <a:ln>
                      <a:noFill/>
                    </a:ln>
                    <a:solidFill>
                      <a:srgbClr val="313131"/>
                    </a:solidFill>
                    <a:effectLst/>
                    <a:uLnTx/>
                    <a:uFillTx/>
                  </a:rPr>
                  <a:t>06</a:t>
                </a:r>
              </a:p>
            </p:txBody>
          </p:sp>
        </p:grpSp>
      </p:grpSp>
      <p:sp>
        <p:nvSpPr>
          <p:cNvPr id="169" name="Rectangle 168">
            <a:extLst>
              <a:ext uri="{FF2B5EF4-FFF2-40B4-BE49-F238E27FC236}">
                <a16:creationId xmlns:a16="http://schemas.microsoft.com/office/drawing/2014/main" id="{CE582C50-B58E-4C67-B6A9-523E2CB7225E}"/>
              </a:ext>
            </a:extLst>
          </p:cNvPr>
          <p:cNvSpPr/>
          <p:nvPr/>
        </p:nvSpPr>
        <p:spPr>
          <a:xfrm>
            <a:off x="361844" y="6202166"/>
            <a:ext cx="3061164" cy="4924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Calibri"/>
              </a:rPr>
              <a:t>* </a:t>
            </a:r>
            <a:r>
              <a:rPr kumimoji="0" lang="en-US" sz="800" b="1" i="0" u="none" strike="noStrike" kern="0" cap="none" spc="0" normalizeH="0" baseline="0" noProof="0" dirty="0" err="1">
                <a:ln>
                  <a:noFill/>
                </a:ln>
                <a:solidFill>
                  <a:prstClr val="black"/>
                </a:solidFill>
                <a:effectLst/>
                <a:uLnTx/>
                <a:uFillTx/>
                <a:latin typeface="Calibri"/>
              </a:rPr>
              <a:t>Cifras</a:t>
            </a:r>
            <a:r>
              <a:rPr kumimoji="0" lang="en-US" sz="800" b="1" i="0" u="none" strike="noStrike" kern="0" cap="none" spc="0" normalizeH="0" baseline="0" noProof="0" dirty="0">
                <a:ln>
                  <a:noFill/>
                </a:ln>
                <a:solidFill>
                  <a:prstClr val="black"/>
                </a:solidFill>
                <a:effectLst/>
                <a:uLnTx/>
                <a:uFillTx/>
                <a:latin typeface="Calibri"/>
              </a:rPr>
              <a:t> del SAT </a:t>
            </a:r>
            <a:r>
              <a:rPr kumimoji="0" lang="en-US" sz="800" b="1" i="0" u="none" strike="noStrike" kern="0" cap="none" spc="0" normalizeH="0" baseline="0" noProof="0" dirty="0" err="1">
                <a:ln>
                  <a:noFill/>
                </a:ln>
                <a:solidFill>
                  <a:prstClr val="black"/>
                </a:solidFill>
                <a:effectLst/>
                <a:uLnTx/>
                <a:uFillTx/>
                <a:latin typeface="Calibri"/>
              </a:rPr>
              <a:t>septirembre</a:t>
            </a:r>
            <a:r>
              <a:rPr kumimoji="0" lang="en-US" sz="800" b="1" i="0" u="none" strike="noStrike" kern="0" cap="none" spc="0" normalizeH="0" baseline="0" noProof="0" dirty="0">
                <a:ln>
                  <a:noFill/>
                </a:ln>
                <a:solidFill>
                  <a:prstClr val="black"/>
                </a:solidFill>
                <a:effectLst/>
                <a:uLnTx/>
                <a:uFillTx/>
                <a:latin typeface="Calibri"/>
              </a:rPr>
              <a:t> 2022</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black"/>
              </a:solidFill>
              <a:effectLst/>
              <a:uLnTx/>
              <a:uFillTx/>
              <a:latin typeface="Calibri"/>
            </a:endParaRPr>
          </a:p>
        </p:txBody>
      </p:sp>
    </p:spTree>
    <p:extLst>
      <p:ext uri="{BB962C8B-B14F-4D97-AF65-F5344CB8AC3E}">
        <p14:creationId xmlns:p14="http://schemas.microsoft.com/office/powerpoint/2010/main" val="25286717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Title 3"/>
          <p:cNvSpPr>
            <a:spLocks noGrp="1"/>
          </p:cNvSpPr>
          <p:nvPr>
            <p:ph type="title"/>
          </p:nvPr>
        </p:nvSpPr>
        <p:spPr/>
        <p:txBody>
          <a:bodyPr/>
          <a:lstStyle/>
          <a:p>
            <a:r>
              <a:rPr lang="es-MX" altLang="es-MX" b="1" dirty="0"/>
              <a:t>Causales de Suspensión </a:t>
            </a:r>
          </a:p>
        </p:txBody>
      </p:sp>
      <p:grpSp>
        <p:nvGrpSpPr>
          <p:cNvPr id="5" name="Group 4"/>
          <p:cNvGrpSpPr/>
          <p:nvPr/>
        </p:nvGrpSpPr>
        <p:grpSpPr>
          <a:xfrm>
            <a:off x="578656" y="594081"/>
            <a:ext cx="8541914" cy="6035208"/>
            <a:chOff x="2049995" y="1563186"/>
            <a:chExt cx="5834242" cy="4534340"/>
          </a:xfrm>
        </p:grpSpPr>
        <p:sp>
          <p:nvSpPr>
            <p:cNvPr id="61" name="Freeform 60"/>
            <p:cNvSpPr/>
            <p:nvPr/>
          </p:nvSpPr>
          <p:spPr bwMode="gray">
            <a:xfrm flipH="1">
              <a:off x="5839040" y="4267200"/>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62" name="Freeform 61"/>
            <p:cNvSpPr/>
            <p:nvPr/>
          </p:nvSpPr>
          <p:spPr bwMode="gray">
            <a:xfrm>
              <a:off x="2057400" y="4267200"/>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Freeform 63"/>
            <p:cNvSpPr/>
            <p:nvPr/>
          </p:nvSpPr>
          <p:spPr bwMode="gray">
            <a:xfrm flipV="1">
              <a:off x="2057400" y="2338388"/>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CB0"/>
                </a:solidFill>
                <a:effectLst/>
                <a:uLnTx/>
                <a:uFillTx/>
                <a:latin typeface="Calibri Light"/>
                <a:ea typeface="+mn-ea"/>
                <a:cs typeface="+mn-cs"/>
              </a:endParaRPr>
            </a:p>
          </p:txBody>
        </p:sp>
        <p:sp>
          <p:nvSpPr>
            <p:cNvPr id="65" name="Freeform 64"/>
            <p:cNvSpPr/>
            <p:nvPr/>
          </p:nvSpPr>
          <p:spPr bwMode="gray">
            <a:xfrm flipH="1" flipV="1">
              <a:off x="5839039" y="2732917"/>
              <a:ext cx="2019300" cy="154111"/>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CB0"/>
                </a:solidFill>
                <a:effectLst/>
                <a:uLnTx/>
                <a:uFillTx/>
                <a:latin typeface="Calibri Light"/>
                <a:ea typeface="+mn-ea"/>
                <a:cs typeface="+mn-cs"/>
              </a:endParaRPr>
            </a:p>
          </p:txBody>
        </p:sp>
        <p:sp>
          <p:nvSpPr>
            <p:cNvPr id="66" name="Freeform 65"/>
            <p:cNvSpPr/>
            <p:nvPr/>
          </p:nvSpPr>
          <p:spPr bwMode="gray">
            <a:xfrm flipV="1">
              <a:off x="4707180" y="1766902"/>
              <a:ext cx="1508760" cy="733411"/>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CB0"/>
                </a:solidFill>
                <a:effectLst/>
                <a:uLnTx/>
                <a:uFillTx/>
                <a:latin typeface="Calibri Light"/>
                <a:ea typeface="+mn-ea"/>
                <a:cs typeface="+mn-cs"/>
              </a:endParaRPr>
            </a:p>
          </p:txBody>
        </p:sp>
        <p:sp>
          <p:nvSpPr>
            <p:cNvPr id="67" name="Hexagon 66"/>
            <p:cNvSpPr/>
            <p:nvPr/>
          </p:nvSpPr>
          <p:spPr bwMode="gray">
            <a:xfrm>
              <a:off x="4547709" y="3225474"/>
              <a:ext cx="815627" cy="703126"/>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68" name="Hexagon 67"/>
            <p:cNvSpPr/>
            <p:nvPr/>
          </p:nvSpPr>
          <p:spPr bwMode="gray">
            <a:xfrm>
              <a:off x="4547709" y="2487579"/>
              <a:ext cx="815627" cy="703126"/>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9" name="Hexagon 68"/>
            <p:cNvSpPr/>
            <p:nvPr/>
          </p:nvSpPr>
          <p:spPr bwMode="gray">
            <a:xfrm>
              <a:off x="4547709" y="3963370"/>
              <a:ext cx="815627" cy="703126"/>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70" name="Hexagon 69"/>
            <p:cNvSpPr/>
            <p:nvPr/>
          </p:nvSpPr>
          <p:spPr bwMode="gray">
            <a:xfrm>
              <a:off x="5223791" y="3592491"/>
              <a:ext cx="815627" cy="703126"/>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71" name="Hexagon 70"/>
            <p:cNvSpPr/>
            <p:nvPr/>
          </p:nvSpPr>
          <p:spPr bwMode="gray">
            <a:xfrm>
              <a:off x="5223791" y="2858459"/>
              <a:ext cx="815627" cy="703126"/>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72" name="Hexagon 71"/>
            <p:cNvSpPr/>
            <p:nvPr/>
          </p:nvSpPr>
          <p:spPr bwMode="gray">
            <a:xfrm>
              <a:off x="3871627" y="3592491"/>
              <a:ext cx="815627" cy="703126"/>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73" name="Hexagon 72"/>
            <p:cNvSpPr/>
            <p:nvPr/>
          </p:nvSpPr>
          <p:spPr bwMode="gray">
            <a:xfrm>
              <a:off x="3871627" y="2858459"/>
              <a:ext cx="815627" cy="703126"/>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1" i="0" u="none" strike="noStrike" kern="1200" cap="none" spc="0" normalizeH="0" baseline="0" noProof="0" dirty="0">
                <a:ln>
                  <a:noFill/>
                </a:ln>
                <a:solidFill>
                  <a:prstClr val="white"/>
                </a:solidFill>
                <a:effectLst/>
                <a:uLnTx/>
                <a:uFillTx/>
                <a:latin typeface="Calibri Light"/>
                <a:ea typeface="+mn-ea"/>
                <a:cs typeface="Arial" pitchFamily="34" charset="0"/>
              </a:endParaRPr>
            </a:p>
          </p:txBody>
        </p:sp>
        <p:sp>
          <p:nvSpPr>
            <p:cNvPr id="74" name="Rectangle 73"/>
            <p:cNvSpPr/>
            <p:nvPr/>
          </p:nvSpPr>
          <p:spPr>
            <a:xfrm>
              <a:off x="6375477" y="4491275"/>
              <a:ext cx="1508760" cy="32373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26890D"/>
                  </a:solidFill>
                  <a:effectLst/>
                  <a:uLnTx/>
                  <a:uFillTx/>
                  <a:latin typeface="Calibri Light"/>
                  <a:ea typeface="+mn-ea"/>
                  <a:cs typeface="+mn-cs"/>
                </a:rPr>
                <a:t>Atención en tiempo de requerimientos</a:t>
              </a:r>
              <a:endParaRPr kumimoji="0" lang="es-MX" sz="1400" b="0" i="0" u="none" strike="noStrike" kern="1200" cap="none" spc="0" normalizeH="0" baseline="0" noProof="0" dirty="0">
                <a:ln>
                  <a:noFill/>
                </a:ln>
                <a:solidFill>
                  <a:srgbClr val="26890D"/>
                </a:solidFill>
                <a:effectLst/>
                <a:uLnTx/>
                <a:uFillTx/>
                <a:latin typeface="Calibri Light"/>
                <a:ea typeface="+mn-ea"/>
                <a:cs typeface="+mn-cs"/>
              </a:endParaRPr>
            </a:p>
          </p:txBody>
        </p:sp>
        <p:sp>
          <p:nvSpPr>
            <p:cNvPr id="75" name="Rectangle 74"/>
            <p:cNvSpPr/>
            <p:nvPr/>
          </p:nvSpPr>
          <p:spPr>
            <a:xfrm>
              <a:off x="6341397" y="4842496"/>
              <a:ext cx="1508760" cy="6474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Es muy común que cuando no se atiende un requerimiento de información se presenta una suspensión en el padrón.</a:t>
              </a:r>
            </a:p>
          </p:txBody>
        </p:sp>
        <p:sp>
          <p:nvSpPr>
            <p:cNvPr id="76" name="Rectangle 75"/>
            <p:cNvSpPr/>
            <p:nvPr/>
          </p:nvSpPr>
          <p:spPr>
            <a:xfrm>
              <a:off x="2049995" y="4639794"/>
              <a:ext cx="1508760" cy="1618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86BC25"/>
                  </a:solidFill>
                  <a:effectLst/>
                  <a:uLnTx/>
                  <a:uFillTx/>
                  <a:latin typeface="Calibri Light"/>
                  <a:ea typeface="+mn-ea"/>
                  <a:cs typeface="+mn-cs"/>
                </a:rPr>
                <a:t>Usar el padrón</a:t>
              </a:r>
              <a:endParaRPr kumimoji="0" lang="es-MX" sz="1400" b="0" i="0" u="none" strike="noStrike" kern="1200" cap="none" spc="0" normalizeH="0" baseline="0" noProof="0" dirty="0">
                <a:ln>
                  <a:noFill/>
                </a:ln>
                <a:solidFill>
                  <a:srgbClr val="86BC25"/>
                </a:solidFill>
                <a:effectLst/>
                <a:uLnTx/>
                <a:uFillTx/>
                <a:latin typeface="Calibri Light"/>
                <a:ea typeface="+mn-ea"/>
                <a:cs typeface="+mn-cs"/>
              </a:endParaRPr>
            </a:p>
          </p:txBody>
        </p:sp>
        <p:sp>
          <p:nvSpPr>
            <p:cNvPr id="77" name="Rectangle 76"/>
            <p:cNvSpPr/>
            <p:nvPr/>
          </p:nvSpPr>
          <p:spPr>
            <a:xfrm>
              <a:off x="2057400" y="4842496"/>
              <a:ext cx="1508760" cy="97119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Aquellas empresas que no realicen operaciones de comercio exterior en un periodo de 12 meses les suspenden frecuentemente el padrón</a:t>
              </a:r>
            </a:p>
          </p:txBody>
        </p:sp>
        <p:sp>
          <p:nvSpPr>
            <p:cNvPr id="78" name="Rectangle 77"/>
            <p:cNvSpPr/>
            <p:nvPr/>
          </p:nvSpPr>
          <p:spPr>
            <a:xfrm>
              <a:off x="4312185" y="5058656"/>
              <a:ext cx="1371600" cy="1618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43B02A"/>
                  </a:solidFill>
                  <a:effectLst/>
                  <a:uLnTx/>
                  <a:uFillTx/>
                  <a:latin typeface="Calibri Light"/>
                  <a:ea typeface="+mn-ea"/>
                  <a:cs typeface="+mn-cs"/>
                </a:rPr>
                <a:t>Registro de Domicilios</a:t>
              </a:r>
              <a:endParaRPr kumimoji="0" lang="es-MX" sz="1400" b="0" i="0" u="none" strike="noStrike" kern="1200" cap="none" spc="0" normalizeH="0" baseline="0" noProof="0" dirty="0">
                <a:ln>
                  <a:noFill/>
                </a:ln>
                <a:solidFill>
                  <a:srgbClr val="43B02A"/>
                </a:solidFill>
                <a:effectLst/>
                <a:uLnTx/>
                <a:uFillTx/>
                <a:latin typeface="Calibri Light"/>
                <a:ea typeface="+mn-ea"/>
                <a:cs typeface="+mn-cs"/>
              </a:endParaRPr>
            </a:p>
          </p:txBody>
        </p:sp>
        <p:sp>
          <p:nvSpPr>
            <p:cNvPr id="79" name="Rectangle 78"/>
            <p:cNvSpPr/>
            <p:nvPr/>
          </p:nvSpPr>
          <p:spPr>
            <a:xfrm>
              <a:off x="4294223" y="5288196"/>
              <a:ext cx="1667280" cy="809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Los domicilios de la empresa deben ser consistentes y encontrarse en un estado de localizado o por verificar. No cambiarlo si están en auditoria.</a:t>
              </a:r>
            </a:p>
          </p:txBody>
        </p:sp>
        <p:sp>
          <p:nvSpPr>
            <p:cNvPr id="80" name="Rectangle 79"/>
            <p:cNvSpPr/>
            <p:nvPr/>
          </p:nvSpPr>
          <p:spPr>
            <a:xfrm>
              <a:off x="2117053" y="2127776"/>
              <a:ext cx="1508760" cy="1618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46A38"/>
                  </a:solidFill>
                  <a:effectLst/>
                  <a:uLnTx/>
                  <a:uFillTx/>
                  <a:latin typeface="Calibri Light"/>
                  <a:ea typeface="+mn-ea"/>
                  <a:cs typeface="+mn-cs"/>
                </a:rPr>
                <a:t>Movimientos de patentes</a:t>
              </a:r>
              <a:endParaRPr kumimoji="0" lang="es-MX" sz="1400" b="0" i="0" u="none" strike="noStrike" kern="1200" cap="none" spc="0" normalizeH="0" baseline="0" noProof="0" dirty="0">
                <a:ln>
                  <a:noFill/>
                </a:ln>
                <a:solidFill>
                  <a:srgbClr val="046A38"/>
                </a:solidFill>
                <a:effectLst/>
                <a:uLnTx/>
                <a:uFillTx/>
                <a:latin typeface="Calibri Light"/>
                <a:ea typeface="+mn-ea"/>
                <a:cs typeface="+mn-cs"/>
              </a:endParaRPr>
            </a:p>
          </p:txBody>
        </p:sp>
        <p:sp>
          <p:nvSpPr>
            <p:cNvPr id="81" name="Rectangle 80"/>
            <p:cNvSpPr/>
            <p:nvPr/>
          </p:nvSpPr>
          <p:spPr>
            <a:xfrm>
              <a:off x="2057400" y="2362201"/>
              <a:ext cx="1508760" cy="210425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Si bien no se presenta como una causal de suspensión, la autoridad suspende mediante un bloque electrónico movimientos considerados como de “riesgo”, los que mas frecuentemente hemos observado s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Tener mas de 27 patentes y o registrar  mas después de ese lim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Bajas por patentes suspendidas .</a:t>
              </a:r>
            </a:p>
          </p:txBody>
        </p:sp>
        <p:sp>
          <p:nvSpPr>
            <p:cNvPr id="82" name="Rectangle 81"/>
            <p:cNvSpPr/>
            <p:nvPr/>
          </p:nvSpPr>
          <p:spPr>
            <a:xfrm>
              <a:off x="6341397" y="2563621"/>
              <a:ext cx="1508760" cy="1618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D8390"/>
                  </a:solidFill>
                  <a:effectLst/>
                  <a:uLnTx/>
                  <a:uFillTx/>
                  <a:latin typeface="Calibri Light"/>
                  <a:ea typeface="+mn-ea"/>
                  <a:cs typeface="+mn-cs"/>
                </a:rPr>
                <a:t>Cumplimiento de Obligaciones</a:t>
              </a:r>
              <a:endParaRPr kumimoji="0" lang="es-MX" sz="1400" b="0" i="0" u="none" strike="noStrike" kern="1200" cap="none" spc="0" normalizeH="0" baseline="0" noProof="0" dirty="0">
                <a:ln>
                  <a:noFill/>
                </a:ln>
                <a:solidFill>
                  <a:srgbClr val="0D8390"/>
                </a:solidFill>
                <a:effectLst/>
                <a:uLnTx/>
                <a:uFillTx/>
                <a:latin typeface="Calibri Light"/>
                <a:ea typeface="+mn-ea"/>
                <a:cs typeface="+mn-cs"/>
              </a:endParaRPr>
            </a:p>
          </p:txBody>
        </p:sp>
        <p:sp>
          <p:nvSpPr>
            <p:cNvPr id="83" name="Rectangle 82"/>
            <p:cNvSpPr/>
            <p:nvPr/>
          </p:nvSpPr>
          <p:spPr>
            <a:xfrm>
              <a:off x="6341397" y="2752707"/>
              <a:ext cx="1508760" cy="16186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Verificación electrónica de cumplimiento de factores com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Presentación de declaracio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Opinión positiv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Actualización de medios de contact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Actualización de representantes legales</a:t>
              </a:r>
            </a:p>
          </p:txBody>
        </p:sp>
        <p:sp>
          <p:nvSpPr>
            <p:cNvPr id="84" name="Rectangle 83"/>
            <p:cNvSpPr/>
            <p:nvPr/>
          </p:nvSpPr>
          <p:spPr>
            <a:xfrm>
              <a:off x="4843349" y="1563186"/>
              <a:ext cx="2051238" cy="1618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7CB0"/>
                  </a:solidFill>
                  <a:effectLst/>
                  <a:uLnTx/>
                  <a:uFillTx/>
                  <a:latin typeface="Calibri Light"/>
                  <a:ea typeface="+mn-ea"/>
                  <a:cs typeface="+mn-cs"/>
                </a:rPr>
                <a:t>Beneficiar a un tercero suspendido</a:t>
              </a:r>
            </a:p>
          </p:txBody>
        </p:sp>
        <p:sp>
          <p:nvSpPr>
            <p:cNvPr id="85" name="Rectangle 84"/>
            <p:cNvSpPr/>
            <p:nvPr/>
          </p:nvSpPr>
          <p:spPr>
            <a:xfrm>
              <a:off x="4843349" y="1792479"/>
              <a:ext cx="2300935" cy="809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Calibri Light"/>
                  <a:ea typeface="+mn-ea"/>
                  <a:cs typeface="+mn-cs"/>
                </a:rPr>
                <a:t>Permitan a un tercero suspendido seguir realizando operaciones de comercio exterior y/o tengan como socio, accionista o representarte a una persona suspendida</a:t>
              </a:r>
              <a:endParaRPr kumimoji="0" lang="es-MX" altLang="es-MX" sz="1400" b="1" i="1" u="none" strike="noStrike" kern="1200" cap="none" spc="0" normalizeH="0" baseline="0" noProof="0" dirty="0">
                <a:ln>
                  <a:noFill/>
                </a:ln>
                <a:solidFill>
                  <a:prstClr val="black"/>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1" i="1" u="none" strike="noStrike" kern="1200" cap="none" spc="0" normalizeH="0" baseline="0" noProof="0" dirty="0">
                <a:ln>
                  <a:noFill/>
                </a:ln>
                <a:solidFill>
                  <a:prstClr val="black"/>
                </a:solidFill>
                <a:effectLst/>
                <a:uLnTx/>
                <a:uFillTx/>
                <a:latin typeface="Calibri Light"/>
                <a:ea typeface="+mn-ea"/>
                <a:cs typeface="+mn-cs"/>
              </a:endParaRPr>
            </a:p>
          </p:txBody>
        </p:sp>
        <p:grpSp>
          <p:nvGrpSpPr>
            <p:cNvPr id="86" name="Group 510"/>
            <p:cNvGrpSpPr>
              <a:grpSpLocks noChangeAspect="1"/>
            </p:cNvGrpSpPr>
            <p:nvPr/>
          </p:nvGrpSpPr>
          <p:grpSpPr bwMode="auto">
            <a:xfrm>
              <a:off x="4007388" y="2931007"/>
              <a:ext cx="553729" cy="552105"/>
              <a:chOff x="4155" y="3088"/>
              <a:chExt cx="341" cy="340"/>
            </a:xfrm>
            <a:solidFill>
              <a:schemeClr val="bg1"/>
            </a:solidFill>
          </p:grpSpPr>
          <p:sp>
            <p:nvSpPr>
              <p:cNvPr id="87" name="Freeform 511"/>
              <p:cNvSpPr>
                <a:spLocks noEditPoints="1"/>
              </p:cNvSpPr>
              <p:nvPr/>
            </p:nvSpPr>
            <p:spPr bwMode="auto">
              <a:xfrm>
                <a:off x="4254" y="3152"/>
                <a:ext cx="142" cy="212"/>
              </a:xfrm>
              <a:custGeom>
                <a:avLst/>
                <a:gdLst>
                  <a:gd name="T0" fmla="*/ 11 w 213"/>
                  <a:gd name="T1" fmla="*/ 64 h 320"/>
                  <a:gd name="T2" fmla="*/ 203 w 213"/>
                  <a:gd name="T3" fmla="*/ 64 h 320"/>
                  <a:gd name="T4" fmla="*/ 213 w 213"/>
                  <a:gd name="T5" fmla="*/ 53 h 320"/>
                  <a:gd name="T6" fmla="*/ 203 w 213"/>
                  <a:gd name="T7" fmla="*/ 42 h 320"/>
                  <a:gd name="T8" fmla="*/ 167 w 213"/>
                  <a:gd name="T9" fmla="*/ 42 h 320"/>
                  <a:gd name="T10" fmla="*/ 107 w 213"/>
                  <a:gd name="T11" fmla="*/ 0 h 320"/>
                  <a:gd name="T12" fmla="*/ 48 w 213"/>
                  <a:gd name="T13" fmla="*/ 38 h 320"/>
                  <a:gd name="T14" fmla="*/ 48 w 213"/>
                  <a:gd name="T15" fmla="*/ 38 h 320"/>
                  <a:gd name="T16" fmla="*/ 46 w 213"/>
                  <a:gd name="T17" fmla="*/ 42 h 320"/>
                  <a:gd name="T18" fmla="*/ 11 w 213"/>
                  <a:gd name="T19" fmla="*/ 42 h 320"/>
                  <a:gd name="T20" fmla="*/ 0 w 213"/>
                  <a:gd name="T21" fmla="*/ 53 h 320"/>
                  <a:gd name="T22" fmla="*/ 11 w 213"/>
                  <a:gd name="T23" fmla="*/ 64 h 320"/>
                  <a:gd name="T24" fmla="*/ 107 w 213"/>
                  <a:gd name="T25" fmla="*/ 21 h 320"/>
                  <a:gd name="T26" fmla="*/ 144 w 213"/>
                  <a:gd name="T27" fmla="*/ 42 h 320"/>
                  <a:gd name="T28" fmla="*/ 70 w 213"/>
                  <a:gd name="T29" fmla="*/ 42 h 320"/>
                  <a:gd name="T30" fmla="*/ 107 w 213"/>
                  <a:gd name="T31" fmla="*/ 21 h 320"/>
                  <a:gd name="T32" fmla="*/ 203 w 213"/>
                  <a:gd name="T33" fmla="*/ 85 h 320"/>
                  <a:gd name="T34" fmla="*/ 192 w 213"/>
                  <a:gd name="T35" fmla="*/ 85 h 320"/>
                  <a:gd name="T36" fmla="*/ 21 w 213"/>
                  <a:gd name="T37" fmla="*/ 85 h 320"/>
                  <a:gd name="T38" fmla="*/ 11 w 213"/>
                  <a:gd name="T39" fmla="*/ 85 h 320"/>
                  <a:gd name="T40" fmla="*/ 0 w 213"/>
                  <a:gd name="T41" fmla="*/ 96 h 320"/>
                  <a:gd name="T42" fmla="*/ 11 w 213"/>
                  <a:gd name="T43" fmla="*/ 106 h 320"/>
                  <a:gd name="T44" fmla="*/ 11 w 213"/>
                  <a:gd name="T45" fmla="*/ 309 h 320"/>
                  <a:gd name="T46" fmla="*/ 21 w 213"/>
                  <a:gd name="T47" fmla="*/ 320 h 320"/>
                  <a:gd name="T48" fmla="*/ 192 w 213"/>
                  <a:gd name="T49" fmla="*/ 320 h 320"/>
                  <a:gd name="T50" fmla="*/ 203 w 213"/>
                  <a:gd name="T51" fmla="*/ 309 h 320"/>
                  <a:gd name="T52" fmla="*/ 203 w 213"/>
                  <a:gd name="T53" fmla="*/ 106 h 320"/>
                  <a:gd name="T54" fmla="*/ 213 w 213"/>
                  <a:gd name="T55" fmla="*/ 96 h 320"/>
                  <a:gd name="T56" fmla="*/ 203 w 213"/>
                  <a:gd name="T57" fmla="*/ 85 h 320"/>
                  <a:gd name="T58" fmla="*/ 181 w 213"/>
                  <a:gd name="T59" fmla="*/ 298 h 320"/>
                  <a:gd name="T60" fmla="*/ 32 w 213"/>
                  <a:gd name="T61" fmla="*/ 298 h 320"/>
                  <a:gd name="T62" fmla="*/ 32 w 213"/>
                  <a:gd name="T63" fmla="*/ 106 h 320"/>
                  <a:gd name="T64" fmla="*/ 181 w 213"/>
                  <a:gd name="T65" fmla="*/ 106 h 320"/>
                  <a:gd name="T66" fmla="*/ 181 w 213"/>
                  <a:gd name="T67" fmla="*/ 298 h 320"/>
                  <a:gd name="T68" fmla="*/ 53 w 213"/>
                  <a:gd name="T69" fmla="*/ 266 h 320"/>
                  <a:gd name="T70" fmla="*/ 53 w 213"/>
                  <a:gd name="T71" fmla="*/ 138 h 320"/>
                  <a:gd name="T72" fmla="*/ 64 w 213"/>
                  <a:gd name="T73" fmla="*/ 128 h 320"/>
                  <a:gd name="T74" fmla="*/ 75 w 213"/>
                  <a:gd name="T75" fmla="*/ 138 h 320"/>
                  <a:gd name="T76" fmla="*/ 75 w 213"/>
                  <a:gd name="T77" fmla="*/ 266 h 320"/>
                  <a:gd name="T78" fmla="*/ 64 w 213"/>
                  <a:gd name="T79" fmla="*/ 277 h 320"/>
                  <a:gd name="T80" fmla="*/ 53 w 213"/>
                  <a:gd name="T81" fmla="*/ 266 h 320"/>
                  <a:gd name="T82" fmla="*/ 96 w 213"/>
                  <a:gd name="T83" fmla="*/ 266 h 320"/>
                  <a:gd name="T84" fmla="*/ 96 w 213"/>
                  <a:gd name="T85" fmla="*/ 138 h 320"/>
                  <a:gd name="T86" fmla="*/ 107 w 213"/>
                  <a:gd name="T87" fmla="*/ 128 h 320"/>
                  <a:gd name="T88" fmla="*/ 117 w 213"/>
                  <a:gd name="T89" fmla="*/ 138 h 320"/>
                  <a:gd name="T90" fmla="*/ 117 w 213"/>
                  <a:gd name="T91" fmla="*/ 266 h 320"/>
                  <a:gd name="T92" fmla="*/ 107 w 213"/>
                  <a:gd name="T93" fmla="*/ 277 h 320"/>
                  <a:gd name="T94" fmla="*/ 96 w 213"/>
                  <a:gd name="T95" fmla="*/ 266 h 320"/>
                  <a:gd name="T96" fmla="*/ 139 w 213"/>
                  <a:gd name="T97" fmla="*/ 266 h 320"/>
                  <a:gd name="T98" fmla="*/ 139 w 213"/>
                  <a:gd name="T99" fmla="*/ 138 h 320"/>
                  <a:gd name="T100" fmla="*/ 149 w 213"/>
                  <a:gd name="T101" fmla="*/ 128 h 320"/>
                  <a:gd name="T102" fmla="*/ 160 w 213"/>
                  <a:gd name="T103" fmla="*/ 138 h 320"/>
                  <a:gd name="T104" fmla="*/ 160 w 213"/>
                  <a:gd name="T105" fmla="*/ 266 h 320"/>
                  <a:gd name="T106" fmla="*/ 149 w 213"/>
                  <a:gd name="T107" fmla="*/ 277 h 320"/>
                  <a:gd name="T108" fmla="*/ 139 w 213"/>
                  <a:gd name="T109"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3" h="320">
                    <a:moveTo>
                      <a:pt x="11" y="64"/>
                    </a:moveTo>
                    <a:cubicBezTo>
                      <a:pt x="203" y="64"/>
                      <a:pt x="203" y="64"/>
                      <a:pt x="203" y="64"/>
                    </a:cubicBezTo>
                    <a:cubicBezTo>
                      <a:pt x="209" y="64"/>
                      <a:pt x="213" y="59"/>
                      <a:pt x="213" y="53"/>
                    </a:cubicBezTo>
                    <a:cubicBezTo>
                      <a:pt x="213" y="47"/>
                      <a:pt x="209" y="42"/>
                      <a:pt x="203" y="42"/>
                    </a:cubicBezTo>
                    <a:cubicBezTo>
                      <a:pt x="167" y="42"/>
                      <a:pt x="167" y="42"/>
                      <a:pt x="167" y="42"/>
                    </a:cubicBezTo>
                    <a:cubicBezTo>
                      <a:pt x="158" y="17"/>
                      <a:pt x="134" y="0"/>
                      <a:pt x="107" y="0"/>
                    </a:cubicBezTo>
                    <a:cubicBezTo>
                      <a:pt x="81" y="0"/>
                      <a:pt x="58" y="15"/>
                      <a:pt x="48" y="38"/>
                    </a:cubicBezTo>
                    <a:cubicBezTo>
                      <a:pt x="48" y="38"/>
                      <a:pt x="48" y="38"/>
                      <a:pt x="48" y="38"/>
                    </a:cubicBezTo>
                    <a:cubicBezTo>
                      <a:pt x="47" y="39"/>
                      <a:pt x="47" y="41"/>
                      <a:pt x="46" y="42"/>
                    </a:cubicBezTo>
                    <a:cubicBezTo>
                      <a:pt x="11" y="42"/>
                      <a:pt x="11" y="42"/>
                      <a:pt x="11" y="42"/>
                    </a:cubicBezTo>
                    <a:cubicBezTo>
                      <a:pt x="5" y="42"/>
                      <a:pt x="0" y="47"/>
                      <a:pt x="0" y="53"/>
                    </a:cubicBezTo>
                    <a:cubicBezTo>
                      <a:pt x="0" y="59"/>
                      <a:pt x="5" y="64"/>
                      <a:pt x="11" y="64"/>
                    </a:cubicBezTo>
                    <a:close/>
                    <a:moveTo>
                      <a:pt x="107" y="21"/>
                    </a:moveTo>
                    <a:cubicBezTo>
                      <a:pt x="122" y="21"/>
                      <a:pt x="136" y="29"/>
                      <a:pt x="144" y="42"/>
                    </a:cubicBezTo>
                    <a:cubicBezTo>
                      <a:pt x="70" y="42"/>
                      <a:pt x="70" y="42"/>
                      <a:pt x="70" y="42"/>
                    </a:cubicBezTo>
                    <a:cubicBezTo>
                      <a:pt x="77" y="29"/>
                      <a:pt x="91" y="21"/>
                      <a:pt x="107" y="21"/>
                    </a:cubicBezTo>
                    <a:close/>
                    <a:moveTo>
                      <a:pt x="203" y="85"/>
                    </a:moveTo>
                    <a:cubicBezTo>
                      <a:pt x="192" y="85"/>
                      <a:pt x="192" y="85"/>
                      <a:pt x="192" y="85"/>
                    </a:cubicBezTo>
                    <a:cubicBezTo>
                      <a:pt x="21" y="85"/>
                      <a:pt x="21" y="85"/>
                      <a:pt x="21" y="85"/>
                    </a:cubicBezTo>
                    <a:cubicBezTo>
                      <a:pt x="11" y="85"/>
                      <a:pt x="11" y="85"/>
                      <a:pt x="11" y="85"/>
                    </a:cubicBezTo>
                    <a:cubicBezTo>
                      <a:pt x="5" y="85"/>
                      <a:pt x="0" y="90"/>
                      <a:pt x="0" y="96"/>
                    </a:cubicBezTo>
                    <a:cubicBezTo>
                      <a:pt x="0" y="102"/>
                      <a:pt x="5" y="106"/>
                      <a:pt x="11" y="106"/>
                    </a:cubicBezTo>
                    <a:cubicBezTo>
                      <a:pt x="11" y="309"/>
                      <a:pt x="11" y="309"/>
                      <a:pt x="11" y="309"/>
                    </a:cubicBezTo>
                    <a:cubicBezTo>
                      <a:pt x="11" y="315"/>
                      <a:pt x="15" y="320"/>
                      <a:pt x="21" y="320"/>
                    </a:cubicBezTo>
                    <a:cubicBezTo>
                      <a:pt x="192" y="320"/>
                      <a:pt x="192" y="320"/>
                      <a:pt x="192" y="320"/>
                    </a:cubicBezTo>
                    <a:cubicBezTo>
                      <a:pt x="198" y="320"/>
                      <a:pt x="203" y="315"/>
                      <a:pt x="203" y="309"/>
                    </a:cubicBezTo>
                    <a:cubicBezTo>
                      <a:pt x="203" y="106"/>
                      <a:pt x="203" y="106"/>
                      <a:pt x="203" y="106"/>
                    </a:cubicBezTo>
                    <a:cubicBezTo>
                      <a:pt x="209" y="106"/>
                      <a:pt x="213" y="102"/>
                      <a:pt x="213" y="96"/>
                    </a:cubicBezTo>
                    <a:cubicBezTo>
                      <a:pt x="213" y="90"/>
                      <a:pt x="209" y="85"/>
                      <a:pt x="203" y="85"/>
                    </a:cubicBezTo>
                    <a:close/>
                    <a:moveTo>
                      <a:pt x="181" y="298"/>
                    </a:moveTo>
                    <a:cubicBezTo>
                      <a:pt x="32" y="298"/>
                      <a:pt x="32" y="298"/>
                      <a:pt x="32" y="298"/>
                    </a:cubicBezTo>
                    <a:cubicBezTo>
                      <a:pt x="32" y="106"/>
                      <a:pt x="32" y="106"/>
                      <a:pt x="32" y="106"/>
                    </a:cubicBezTo>
                    <a:cubicBezTo>
                      <a:pt x="181" y="106"/>
                      <a:pt x="181" y="106"/>
                      <a:pt x="181" y="106"/>
                    </a:cubicBezTo>
                    <a:lnTo>
                      <a:pt x="181" y="298"/>
                    </a:lnTo>
                    <a:close/>
                    <a:moveTo>
                      <a:pt x="53" y="266"/>
                    </a:moveTo>
                    <a:cubicBezTo>
                      <a:pt x="53" y="138"/>
                      <a:pt x="53" y="138"/>
                      <a:pt x="53" y="138"/>
                    </a:cubicBezTo>
                    <a:cubicBezTo>
                      <a:pt x="53" y="132"/>
                      <a:pt x="58" y="128"/>
                      <a:pt x="64" y="128"/>
                    </a:cubicBezTo>
                    <a:cubicBezTo>
                      <a:pt x="70" y="128"/>
                      <a:pt x="75" y="132"/>
                      <a:pt x="75" y="138"/>
                    </a:cubicBezTo>
                    <a:cubicBezTo>
                      <a:pt x="75" y="266"/>
                      <a:pt x="75" y="266"/>
                      <a:pt x="75" y="266"/>
                    </a:cubicBezTo>
                    <a:cubicBezTo>
                      <a:pt x="75" y="272"/>
                      <a:pt x="70" y="277"/>
                      <a:pt x="64" y="277"/>
                    </a:cubicBezTo>
                    <a:cubicBezTo>
                      <a:pt x="58" y="277"/>
                      <a:pt x="53" y="272"/>
                      <a:pt x="53" y="266"/>
                    </a:cubicBezTo>
                    <a:close/>
                    <a:moveTo>
                      <a:pt x="96" y="266"/>
                    </a:moveTo>
                    <a:cubicBezTo>
                      <a:pt x="96" y="138"/>
                      <a:pt x="96" y="138"/>
                      <a:pt x="96" y="138"/>
                    </a:cubicBezTo>
                    <a:cubicBezTo>
                      <a:pt x="96" y="132"/>
                      <a:pt x="101" y="128"/>
                      <a:pt x="107" y="128"/>
                    </a:cubicBezTo>
                    <a:cubicBezTo>
                      <a:pt x="113" y="128"/>
                      <a:pt x="117" y="132"/>
                      <a:pt x="117" y="138"/>
                    </a:cubicBezTo>
                    <a:cubicBezTo>
                      <a:pt x="117" y="266"/>
                      <a:pt x="117" y="266"/>
                      <a:pt x="117" y="266"/>
                    </a:cubicBezTo>
                    <a:cubicBezTo>
                      <a:pt x="117" y="272"/>
                      <a:pt x="113" y="277"/>
                      <a:pt x="107" y="277"/>
                    </a:cubicBezTo>
                    <a:cubicBezTo>
                      <a:pt x="101" y="277"/>
                      <a:pt x="96" y="272"/>
                      <a:pt x="96" y="266"/>
                    </a:cubicBezTo>
                    <a:close/>
                    <a:moveTo>
                      <a:pt x="139" y="266"/>
                    </a:moveTo>
                    <a:cubicBezTo>
                      <a:pt x="139" y="138"/>
                      <a:pt x="139" y="138"/>
                      <a:pt x="139" y="138"/>
                    </a:cubicBezTo>
                    <a:cubicBezTo>
                      <a:pt x="139" y="132"/>
                      <a:pt x="143" y="128"/>
                      <a:pt x="149" y="128"/>
                    </a:cubicBezTo>
                    <a:cubicBezTo>
                      <a:pt x="155" y="128"/>
                      <a:pt x="160" y="132"/>
                      <a:pt x="160" y="138"/>
                    </a:cubicBezTo>
                    <a:cubicBezTo>
                      <a:pt x="160" y="266"/>
                      <a:pt x="160" y="266"/>
                      <a:pt x="160" y="266"/>
                    </a:cubicBezTo>
                    <a:cubicBezTo>
                      <a:pt x="160" y="272"/>
                      <a:pt x="155" y="277"/>
                      <a:pt x="149" y="277"/>
                    </a:cubicBezTo>
                    <a:cubicBezTo>
                      <a:pt x="143" y="277"/>
                      <a:pt x="139" y="272"/>
                      <a:pt x="139"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88" name="Freeform 512"/>
              <p:cNvSpPr>
                <a:spLocks noEditPoints="1"/>
              </p:cNvSpPr>
              <p:nvPr/>
            </p:nvSpPr>
            <p:spPr bwMode="auto">
              <a:xfrm>
                <a:off x="4155" y="308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89" name="Group 325"/>
            <p:cNvGrpSpPr>
              <a:grpSpLocks noChangeAspect="1"/>
            </p:cNvGrpSpPr>
            <p:nvPr/>
          </p:nvGrpSpPr>
          <p:grpSpPr bwMode="auto">
            <a:xfrm>
              <a:off x="5365082" y="3667365"/>
              <a:ext cx="513467" cy="514977"/>
              <a:chOff x="5044" y="1157"/>
              <a:chExt cx="340" cy="341"/>
            </a:xfrm>
            <a:solidFill>
              <a:schemeClr val="bg1"/>
            </a:solidFill>
          </p:grpSpPr>
          <p:sp>
            <p:nvSpPr>
              <p:cNvPr id="90"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92" name="Group 932"/>
            <p:cNvGrpSpPr>
              <a:grpSpLocks noChangeAspect="1"/>
            </p:cNvGrpSpPr>
            <p:nvPr/>
          </p:nvGrpSpPr>
          <p:grpSpPr bwMode="auto">
            <a:xfrm>
              <a:off x="5372134" y="2940521"/>
              <a:ext cx="536831" cy="536831"/>
              <a:chOff x="5795" y="3560"/>
              <a:chExt cx="340" cy="340"/>
            </a:xfrm>
            <a:solidFill>
              <a:schemeClr val="bg1"/>
            </a:solidFill>
          </p:grpSpPr>
          <p:sp>
            <p:nvSpPr>
              <p:cNvPr id="93"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94"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95" name="Group 669"/>
            <p:cNvGrpSpPr>
              <a:grpSpLocks noChangeAspect="1"/>
            </p:cNvGrpSpPr>
            <p:nvPr/>
          </p:nvGrpSpPr>
          <p:grpSpPr bwMode="auto">
            <a:xfrm>
              <a:off x="4658714" y="4026502"/>
              <a:ext cx="585233" cy="585233"/>
              <a:chOff x="1910" y="2326"/>
              <a:chExt cx="340" cy="340"/>
            </a:xfrm>
            <a:solidFill>
              <a:schemeClr val="bg1"/>
            </a:solidFill>
          </p:grpSpPr>
          <p:sp>
            <p:nvSpPr>
              <p:cNvPr id="96"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97"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98" name="Group 986"/>
            <p:cNvGrpSpPr>
              <a:grpSpLocks noChangeAspect="1"/>
            </p:cNvGrpSpPr>
            <p:nvPr/>
          </p:nvGrpSpPr>
          <p:grpSpPr bwMode="auto">
            <a:xfrm>
              <a:off x="4033408" y="3678794"/>
              <a:ext cx="514349" cy="514349"/>
              <a:chOff x="4274" y="3998"/>
              <a:chExt cx="340" cy="340"/>
            </a:xfrm>
            <a:solidFill>
              <a:schemeClr val="bg1"/>
            </a:solidFill>
          </p:grpSpPr>
          <p:sp>
            <p:nvSpPr>
              <p:cNvPr id="99"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100"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01" name="Group 519"/>
            <p:cNvGrpSpPr>
              <a:grpSpLocks noChangeAspect="1"/>
            </p:cNvGrpSpPr>
            <p:nvPr/>
          </p:nvGrpSpPr>
          <p:grpSpPr bwMode="auto">
            <a:xfrm>
              <a:off x="4696856" y="2595287"/>
              <a:ext cx="516791" cy="516791"/>
              <a:chOff x="4190" y="2983"/>
              <a:chExt cx="340" cy="340"/>
            </a:xfrm>
            <a:solidFill>
              <a:schemeClr val="bg1"/>
            </a:solidFill>
          </p:grpSpPr>
          <p:sp>
            <p:nvSpPr>
              <p:cNvPr id="102"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103"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104" name="Text Placeholder 2"/>
          <p:cNvSpPr>
            <a:spLocks noGrp="1"/>
          </p:cNvSpPr>
          <p:nvPr>
            <p:ph type="body" sz="quarter" idx="13"/>
          </p:nvPr>
        </p:nvSpPr>
        <p:spPr>
          <a:xfrm>
            <a:off x="501650" y="618146"/>
            <a:ext cx="11188700" cy="757255"/>
          </a:xfrm>
        </p:spPr>
        <p:txBody>
          <a:bodyPr/>
          <a:lstStyle/>
          <a:p>
            <a:r>
              <a:rPr lang="es-MX" altLang="es-MX" b="1" dirty="0"/>
              <a:t>Revisiones mas Comunes</a:t>
            </a:r>
          </a:p>
        </p:txBody>
      </p:sp>
      <p:grpSp>
        <p:nvGrpSpPr>
          <p:cNvPr id="9" name="Group 8"/>
          <p:cNvGrpSpPr/>
          <p:nvPr/>
        </p:nvGrpSpPr>
        <p:grpSpPr>
          <a:xfrm rot="5400000">
            <a:off x="10000743" y="2301941"/>
            <a:ext cx="1598641" cy="1320671"/>
            <a:chOff x="7063868" y="3802350"/>
            <a:chExt cx="1598641" cy="1320671"/>
          </a:xfrm>
        </p:grpSpPr>
        <p:sp>
          <p:nvSpPr>
            <p:cNvPr id="107" name="Hexagon 106">
              <a:extLst>
                <a:ext uri="{FF2B5EF4-FFF2-40B4-BE49-F238E27FC236}">
                  <a16:creationId xmlns:a16="http://schemas.microsoft.com/office/drawing/2014/main" id="{BAB72693-D087-4056-8E36-8053277E574E}"/>
                </a:ext>
              </a:extLst>
            </p:cNvPr>
            <p:cNvSpPr/>
            <p:nvPr/>
          </p:nvSpPr>
          <p:spPr bwMode="gray">
            <a:xfrm rot="16200000">
              <a:off x="7082814" y="3877163"/>
              <a:ext cx="1084781" cy="935156"/>
            </a:xfrm>
            <a:prstGeom prst="hexagon">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08" name="Straight Connector 107">
              <a:extLst>
                <a:ext uri="{FF2B5EF4-FFF2-40B4-BE49-F238E27FC236}">
                  <a16:creationId xmlns:a16="http://schemas.microsoft.com/office/drawing/2014/main" id="{C374A749-0585-4784-9822-B5042377F5C8}"/>
                </a:ext>
              </a:extLst>
            </p:cNvPr>
            <p:cNvCxnSpPr>
              <a:cxnSpLocks/>
            </p:cNvCxnSpPr>
            <p:nvPr/>
          </p:nvCxnSpPr>
          <p:spPr>
            <a:xfrm flipV="1">
              <a:off x="8187827" y="4468403"/>
              <a:ext cx="474682" cy="2022"/>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109" name="Freeform 54">
              <a:extLst>
                <a:ext uri="{FF2B5EF4-FFF2-40B4-BE49-F238E27FC236}">
                  <a16:creationId xmlns:a16="http://schemas.microsoft.com/office/drawing/2014/main" id="{DE0EF347-D103-4C4E-A0A4-BD2FE5B095FF}"/>
                </a:ext>
              </a:extLst>
            </p:cNvPr>
            <p:cNvSpPr>
              <a:spLocks noEditPoints="1"/>
            </p:cNvSpPr>
            <p:nvPr/>
          </p:nvSpPr>
          <p:spPr bwMode="auto">
            <a:xfrm>
              <a:off x="7389160" y="4111074"/>
              <a:ext cx="463222" cy="46541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110" name="Hexagon 58">
              <a:extLst>
                <a:ext uri="{FF2B5EF4-FFF2-40B4-BE49-F238E27FC236}">
                  <a16:creationId xmlns:a16="http://schemas.microsoft.com/office/drawing/2014/main" id="{4756334F-4805-44ED-AAC1-318B70ABA3FE}"/>
                </a:ext>
              </a:extLst>
            </p:cNvPr>
            <p:cNvSpPr/>
            <p:nvPr/>
          </p:nvSpPr>
          <p:spPr bwMode="gray">
            <a:xfrm rot="16200000">
              <a:off x="7488195" y="4415809"/>
              <a:ext cx="282885" cy="113153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grpSp>
      <p:grpSp>
        <p:nvGrpSpPr>
          <p:cNvPr id="111" name="Group 110"/>
          <p:cNvGrpSpPr/>
          <p:nvPr/>
        </p:nvGrpSpPr>
        <p:grpSpPr>
          <a:xfrm>
            <a:off x="9606013" y="3857941"/>
            <a:ext cx="2359354" cy="1229939"/>
            <a:chOff x="7873358" y="978253"/>
            <a:chExt cx="1097803" cy="507361"/>
          </a:xfrm>
        </p:grpSpPr>
        <p:sp>
          <p:nvSpPr>
            <p:cNvPr id="112" name="Rectangle 111">
              <a:extLst>
                <a:ext uri="{FF2B5EF4-FFF2-40B4-BE49-F238E27FC236}">
                  <a16:creationId xmlns:a16="http://schemas.microsoft.com/office/drawing/2014/main" id="{FF36E524-1298-445B-81CC-5F5266C44617}"/>
                </a:ext>
              </a:extLst>
            </p:cNvPr>
            <p:cNvSpPr/>
            <p:nvPr/>
          </p:nvSpPr>
          <p:spPr bwMode="gray">
            <a:xfrm>
              <a:off x="7873358" y="978253"/>
              <a:ext cx="1097803" cy="494752"/>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400" b="1" i="1" u="none" strike="noStrike" kern="1200" cap="none" spc="0" normalizeH="0" baseline="0" noProof="0" dirty="0">
                <a:ln>
                  <a:noFill/>
                </a:ln>
                <a:solidFill>
                  <a:prstClr val="black"/>
                </a:solidFill>
                <a:effectLst/>
                <a:uLnTx/>
                <a:uFillTx/>
                <a:latin typeface="Calibri"/>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1" i="1" u="none" strike="noStrike" kern="1200" cap="none" spc="0" normalizeH="0" baseline="0" noProof="0" dirty="0">
                  <a:ln>
                    <a:noFill/>
                  </a:ln>
                  <a:solidFill>
                    <a:prstClr val="black"/>
                  </a:solidFill>
                  <a:effectLst/>
                  <a:uLnTx/>
                  <a:uFillTx/>
                  <a:latin typeface="Calibri"/>
                  <a:ea typeface="Verdana" panose="020B0604030504040204" pitchFamily="34" charset="0"/>
                  <a:cs typeface="+mn-cs"/>
                </a:rPr>
                <a:t>Mantener un monitoreo de todas las causales de cancelación.</a:t>
              </a:r>
            </a:p>
          </p:txBody>
        </p:sp>
        <p:sp>
          <p:nvSpPr>
            <p:cNvPr id="113" name="Rectangle 112">
              <a:extLst>
                <a:ext uri="{FF2B5EF4-FFF2-40B4-BE49-F238E27FC236}">
                  <a16:creationId xmlns:a16="http://schemas.microsoft.com/office/drawing/2014/main" id="{875A85C2-DD85-4D2D-9BAB-86FD318B6471}"/>
                </a:ext>
              </a:extLst>
            </p:cNvPr>
            <p:cNvSpPr/>
            <p:nvPr/>
          </p:nvSpPr>
          <p:spPr bwMode="gray">
            <a:xfrm>
              <a:off x="7945456" y="1459228"/>
              <a:ext cx="953607" cy="2638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25" name="Group 124">
            <a:extLst>
              <a:ext uri="{FF2B5EF4-FFF2-40B4-BE49-F238E27FC236}">
                <a16:creationId xmlns:a16="http://schemas.microsoft.com/office/drawing/2014/main" id="{2DD88B24-BC08-4C92-A549-6127D8D17112}"/>
              </a:ext>
            </a:extLst>
          </p:cNvPr>
          <p:cNvGrpSpPr/>
          <p:nvPr/>
        </p:nvGrpSpPr>
        <p:grpSpPr>
          <a:xfrm>
            <a:off x="10544368" y="133472"/>
            <a:ext cx="1097803" cy="1199742"/>
            <a:chOff x="774459" y="2132409"/>
            <a:chExt cx="1944823" cy="2491327"/>
          </a:xfrm>
        </p:grpSpPr>
        <p:grpSp>
          <p:nvGrpSpPr>
            <p:cNvPr id="126" name="Group 489">
              <a:extLst>
                <a:ext uri="{FF2B5EF4-FFF2-40B4-BE49-F238E27FC236}">
                  <a16:creationId xmlns:a16="http://schemas.microsoft.com/office/drawing/2014/main" id="{7FEAE4CC-5295-4A32-97CB-1850C8626C72}"/>
                </a:ext>
              </a:extLst>
            </p:cNvPr>
            <p:cNvGrpSpPr>
              <a:grpSpLocks noChangeAspect="1"/>
            </p:cNvGrpSpPr>
            <p:nvPr/>
          </p:nvGrpSpPr>
          <p:grpSpPr bwMode="auto">
            <a:xfrm>
              <a:off x="1514663" y="2591717"/>
              <a:ext cx="464416" cy="460074"/>
              <a:chOff x="2920" y="2264"/>
              <a:chExt cx="340" cy="340"/>
            </a:xfrm>
            <a:solidFill>
              <a:schemeClr val="accent5"/>
            </a:solidFill>
          </p:grpSpPr>
          <p:sp>
            <p:nvSpPr>
              <p:cNvPr id="140" name="Freeform 490">
                <a:extLst>
                  <a:ext uri="{FF2B5EF4-FFF2-40B4-BE49-F238E27FC236}">
                    <a16:creationId xmlns:a16="http://schemas.microsoft.com/office/drawing/2014/main" id="{10D2A29D-DBBE-4AC2-AD41-B43ACDC9D7F2}"/>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1" name="Freeform 491">
                <a:extLst>
                  <a:ext uri="{FF2B5EF4-FFF2-40B4-BE49-F238E27FC236}">
                    <a16:creationId xmlns:a16="http://schemas.microsoft.com/office/drawing/2014/main" id="{376BE59F-A9DC-4808-88D4-031E3F07C08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42" name="Freeform 492">
                <a:extLst>
                  <a:ext uri="{FF2B5EF4-FFF2-40B4-BE49-F238E27FC236}">
                    <a16:creationId xmlns:a16="http://schemas.microsoft.com/office/drawing/2014/main" id="{EE25BD51-4CAB-4EB3-8BCE-D9B0D122B217}"/>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27" name="Group 126">
              <a:extLst>
                <a:ext uri="{FF2B5EF4-FFF2-40B4-BE49-F238E27FC236}">
                  <a16:creationId xmlns:a16="http://schemas.microsoft.com/office/drawing/2014/main" id="{3753DBF7-F4C2-43F5-BA8A-58D67E5D550F}"/>
                </a:ext>
              </a:extLst>
            </p:cNvPr>
            <p:cNvGrpSpPr/>
            <p:nvPr/>
          </p:nvGrpSpPr>
          <p:grpSpPr>
            <a:xfrm>
              <a:off x="774459" y="2132409"/>
              <a:ext cx="1944823" cy="358453"/>
              <a:chOff x="413228" y="1371600"/>
              <a:chExt cx="1947702" cy="476173"/>
            </a:xfrm>
          </p:grpSpPr>
          <p:sp>
            <p:nvSpPr>
              <p:cNvPr id="137" name="Right Triangle 49">
                <a:extLst>
                  <a:ext uri="{FF2B5EF4-FFF2-40B4-BE49-F238E27FC236}">
                    <a16:creationId xmlns:a16="http://schemas.microsoft.com/office/drawing/2014/main" id="{8BB8FC53-1E96-4DC4-8898-D056A8B6595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8" name="Right Triangle 49">
                <a:extLst>
                  <a:ext uri="{FF2B5EF4-FFF2-40B4-BE49-F238E27FC236}">
                    <a16:creationId xmlns:a16="http://schemas.microsoft.com/office/drawing/2014/main" id="{75CDBE30-AF30-449F-8811-E4507790FEAA}"/>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9" name="Round Same Side Corner Rectangle 43">
                <a:extLst>
                  <a:ext uri="{FF2B5EF4-FFF2-40B4-BE49-F238E27FC236}">
                    <a16:creationId xmlns:a16="http://schemas.microsoft.com/office/drawing/2014/main" id="{DCF124CE-2D28-4844-B557-98BA4BA642C7}"/>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Fundamento</a:t>
                </a:r>
              </a:p>
            </p:txBody>
          </p:sp>
        </p:grpSp>
        <p:grpSp>
          <p:nvGrpSpPr>
            <p:cNvPr id="128" name="Group 127">
              <a:extLst>
                <a:ext uri="{FF2B5EF4-FFF2-40B4-BE49-F238E27FC236}">
                  <a16:creationId xmlns:a16="http://schemas.microsoft.com/office/drawing/2014/main" id="{B35D1DD5-B226-475C-82C3-FEB3342B6C25}"/>
                </a:ext>
              </a:extLst>
            </p:cNvPr>
            <p:cNvGrpSpPr/>
            <p:nvPr/>
          </p:nvGrpSpPr>
          <p:grpSpPr>
            <a:xfrm>
              <a:off x="774459" y="3570175"/>
              <a:ext cx="1944823" cy="1053561"/>
              <a:chOff x="582909" y="4047068"/>
              <a:chExt cx="2642778" cy="1686277"/>
            </a:xfrm>
          </p:grpSpPr>
          <p:sp>
            <p:nvSpPr>
              <p:cNvPr id="135" name="Rectangle 134">
                <a:extLst>
                  <a:ext uri="{FF2B5EF4-FFF2-40B4-BE49-F238E27FC236}">
                    <a16:creationId xmlns:a16="http://schemas.microsoft.com/office/drawing/2014/main" id="{AD4A8DC2-4D05-489F-B03E-02F2B7FEFB2B}"/>
                  </a:ext>
                </a:extLst>
              </p:cNvPr>
              <p:cNvSpPr/>
              <p:nvPr/>
            </p:nvSpPr>
            <p:spPr bwMode="gray">
              <a:xfrm>
                <a:off x="582909" y="4047068"/>
                <a:ext cx="2642778" cy="1644370"/>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egla 1.3.3</a:t>
                </a: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de las RGCE 2022</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36" name="Rectangle 135">
                <a:extLst>
                  <a:ext uri="{FF2B5EF4-FFF2-40B4-BE49-F238E27FC236}">
                    <a16:creationId xmlns:a16="http://schemas.microsoft.com/office/drawing/2014/main" id="{8B837016-95A8-4C14-80C6-D57377909B57}"/>
                  </a:ext>
                </a:extLst>
              </p:cNvPr>
              <p:cNvSpPr/>
              <p:nvPr/>
            </p:nvSpPr>
            <p:spPr bwMode="gray">
              <a:xfrm>
                <a:off x="756473" y="5645648"/>
                <a:ext cx="2295650" cy="87697"/>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29" name="Group 128">
              <a:extLst>
                <a:ext uri="{FF2B5EF4-FFF2-40B4-BE49-F238E27FC236}">
                  <a16:creationId xmlns:a16="http://schemas.microsoft.com/office/drawing/2014/main" id="{3D140ACB-DC5D-4089-9C44-3766A7DBE493}"/>
                </a:ext>
              </a:extLst>
            </p:cNvPr>
            <p:cNvGrpSpPr/>
            <p:nvPr/>
          </p:nvGrpSpPr>
          <p:grpSpPr>
            <a:xfrm>
              <a:off x="1427950" y="2490862"/>
              <a:ext cx="637841" cy="1054731"/>
              <a:chOff x="757805" y="1635343"/>
              <a:chExt cx="1185062" cy="2012973"/>
            </a:xfrm>
          </p:grpSpPr>
          <p:sp>
            <p:nvSpPr>
              <p:cNvPr id="130" name="Freeform 36">
                <a:extLst>
                  <a:ext uri="{FF2B5EF4-FFF2-40B4-BE49-F238E27FC236}">
                    <a16:creationId xmlns:a16="http://schemas.microsoft.com/office/drawing/2014/main" id="{4CAD5BE1-6AB0-4BB1-BC23-E5C98F4E6D1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Round Same Side Corner Rectangle 37">
                <a:extLst>
                  <a:ext uri="{FF2B5EF4-FFF2-40B4-BE49-F238E27FC236}">
                    <a16:creationId xmlns:a16="http://schemas.microsoft.com/office/drawing/2014/main" id="{9F9A7BD1-18F0-4048-AD36-4BD80DC60A9E}"/>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2" name="Round Same Side Corner Rectangle 38">
                <a:extLst>
                  <a:ext uri="{FF2B5EF4-FFF2-40B4-BE49-F238E27FC236}">
                    <a16:creationId xmlns:a16="http://schemas.microsoft.com/office/drawing/2014/main" id="{02534B80-84B8-4449-B6A6-357751F4EF4F}"/>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3" name="Round Same Side Corner Rectangle 39">
                <a:extLst>
                  <a:ext uri="{FF2B5EF4-FFF2-40B4-BE49-F238E27FC236}">
                    <a16:creationId xmlns:a16="http://schemas.microsoft.com/office/drawing/2014/main" id="{76125077-5683-4E91-8D10-C79BDEAE10E7}"/>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4" name="Oval 133">
                <a:extLst>
                  <a:ext uri="{FF2B5EF4-FFF2-40B4-BE49-F238E27FC236}">
                    <a16:creationId xmlns:a16="http://schemas.microsoft.com/office/drawing/2014/main" id="{09F67A53-7FC1-4DDF-A972-BE42CEB8C0D6}"/>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cxnSp>
        <p:nvCxnSpPr>
          <p:cNvPr id="3" name="Straight Connector 2">
            <a:extLst>
              <a:ext uri="{FF2B5EF4-FFF2-40B4-BE49-F238E27FC236}">
                <a16:creationId xmlns:a16="http://schemas.microsoft.com/office/drawing/2014/main" id="{6590332C-C279-43B0-943B-B070B0E40DF6}"/>
              </a:ext>
            </a:extLst>
          </p:cNvPr>
          <p:cNvCxnSpPr>
            <a:cxnSpLocks/>
            <a:stCxn id="69" idx="2"/>
          </p:cNvCxnSpPr>
          <p:nvPr/>
        </p:nvCxnSpPr>
        <p:spPr>
          <a:xfrm flipH="1">
            <a:off x="3624323" y="4724587"/>
            <a:ext cx="845201" cy="7717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5C9BFD2-5446-4BDF-B2D4-C4CA76A0FA7D}"/>
              </a:ext>
            </a:extLst>
          </p:cNvPr>
          <p:cNvCxnSpPr/>
          <p:nvPr/>
        </p:nvCxnSpPr>
        <p:spPr>
          <a:xfrm>
            <a:off x="3643033" y="5490333"/>
            <a:ext cx="233278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CA851B59-B070-4479-94A3-607E8496A6FD}"/>
              </a:ext>
            </a:extLst>
          </p:cNvPr>
          <p:cNvSpPr/>
          <p:nvPr/>
        </p:nvSpPr>
        <p:spPr>
          <a:xfrm>
            <a:off x="535104" y="6329886"/>
            <a:ext cx="2700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6301780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10544370" y="133472"/>
            <a:ext cx="1097803" cy="1199742"/>
            <a:chOff x="774459" y="2132409"/>
            <a:chExt cx="1944823" cy="2491327"/>
          </a:xfrm>
        </p:grpSpPr>
        <p:grpSp>
          <p:nvGrpSpPr>
            <p:cNvPr id="118"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514663" y="2591717"/>
              <a:ext cx="464416" cy="460074"/>
              <a:chOff x="2920" y="2264"/>
              <a:chExt cx="340" cy="340"/>
            </a:xfrm>
            <a:solidFill>
              <a:schemeClr val="accent5"/>
            </a:solidFill>
          </p:grpSpPr>
          <p:sp>
            <p:nvSpPr>
              <p:cNvPr id="132"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3"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4"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19" name="Group 118">
              <a:extLst>
                <a:ext uri="{FF2B5EF4-FFF2-40B4-BE49-F238E27FC236}">
                  <a16:creationId xmlns:a16="http://schemas.microsoft.com/office/drawing/2014/main" id="{648D6542-F5A6-4271-A321-4012662AA23B}"/>
                </a:ext>
              </a:extLst>
            </p:cNvPr>
            <p:cNvGrpSpPr/>
            <p:nvPr/>
          </p:nvGrpSpPr>
          <p:grpSpPr>
            <a:xfrm>
              <a:off x="774459" y="2132409"/>
              <a:ext cx="1944823" cy="358453"/>
              <a:chOff x="413228" y="1371600"/>
              <a:chExt cx="1947702" cy="476173"/>
            </a:xfrm>
          </p:grpSpPr>
          <p:sp>
            <p:nvSpPr>
              <p:cNvPr id="129"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0"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Fundamento</a:t>
                </a:r>
              </a:p>
            </p:txBody>
          </p:sp>
        </p:grpSp>
        <p:grpSp>
          <p:nvGrpSpPr>
            <p:cNvPr id="120" name="Group 119">
              <a:extLst>
                <a:ext uri="{FF2B5EF4-FFF2-40B4-BE49-F238E27FC236}">
                  <a16:creationId xmlns:a16="http://schemas.microsoft.com/office/drawing/2014/main" id="{DFD3E7B2-3428-4824-A54D-B24C483AB07C}"/>
                </a:ext>
              </a:extLst>
            </p:cNvPr>
            <p:cNvGrpSpPr/>
            <p:nvPr/>
          </p:nvGrpSpPr>
          <p:grpSpPr>
            <a:xfrm>
              <a:off x="774459" y="3570175"/>
              <a:ext cx="1944823" cy="1053561"/>
              <a:chOff x="582909" y="4047068"/>
              <a:chExt cx="2642778" cy="1686277"/>
            </a:xfrm>
          </p:grpSpPr>
          <p:sp>
            <p:nvSpPr>
              <p:cNvPr id="127" name="Rectangle 126">
                <a:extLst>
                  <a:ext uri="{FF2B5EF4-FFF2-40B4-BE49-F238E27FC236}">
                    <a16:creationId xmlns:a16="http://schemas.microsoft.com/office/drawing/2014/main" id="{FF36E524-1298-445B-81CC-5F5266C44617}"/>
                  </a:ext>
                </a:extLst>
              </p:cNvPr>
              <p:cNvSpPr/>
              <p:nvPr/>
            </p:nvSpPr>
            <p:spPr bwMode="gray">
              <a:xfrm>
                <a:off x="582909" y="4047068"/>
                <a:ext cx="2642778" cy="1644369"/>
              </a:xfrm>
              <a:prstGeom prst="rect">
                <a:avLst/>
              </a:prstGeom>
              <a:solidFill>
                <a:schemeClr val="bg1">
                  <a:lumMod val="95000"/>
                </a:schemeClr>
              </a:solidFill>
              <a:ln w="19050" algn="ctr">
                <a:noFill/>
                <a:miter lim="800000"/>
                <a:headEnd/>
                <a:tailEnd/>
              </a:ln>
            </p:spPr>
            <p:txBody>
              <a:bodyPr wrap="square" lIns="30375" tIns="30375" rIns="20250" bIns="20250" numCol="1"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n-US" sz="7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TLCAN / T-MEC</a:t>
                </a:r>
              </a:p>
            </p:txBody>
          </p:sp>
          <p:sp>
            <p:nvSpPr>
              <p:cNvPr id="128" name="Rectangle 127">
                <a:extLst>
                  <a:ext uri="{FF2B5EF4-FFF2-40B4-BE49-F238E27FC236}">
                    <a16:creationId xmlns:a16="http://schemas.microsoft.com/office/drawing/2014/main" id="{875A85C2-DD85-4D2D-9BAB-86FD318B6471}"/>
                  </a:ext>
                </a:extLst>
              </p:cNvPr>
              <p:cNvSpPr/>
              <p:nvPr/>
            </p:nvSpPr>
            <p:spPr bwMode="gray">
              <a:xfrm>
                <a:off x="756473" y="5645648"/>
                <a:ext cx="2295650" cy="87697"/>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21" name="Group 120">
              <a:extLst>
                <a:ext uri="{FF2B5EF4-FFF2-40B4-BE49-F238E27FC236}">
                  <a16:creationId xmlns:a16="http://schemas.microsoft.com/office/drawing/2014/main" id="{D1192240-DB18-4602-BC96-F713F51F5EA2}"/>
                </a:ext>
              </a:extLst>
            </p:cNvPr>
            <p:cNvGrpSpPr/>
            <p:nvPr/>
          </p:nvGrpSpPr>
          <p:grpSpPr>
            <a:xfrm>
              <a:off x="1427950" y="2490862"/>
              <a:ext cx="637841" cy="1054731"/>
              <a:chOff x="757805" y="1635343"/>
              <a:chExt cx="1185062" cy="2012973"/>
            </a:xfrm>
          </p:grpSpPr>
          <p:sp>
            <p:nvSpPr>
              <p:cNvPr id="122"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3"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24"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25"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26" name="Oval 125">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sp>
        <p:nvSpPr>
          <p:cNvPr id="39" name="Rounded Rectangle 56">
            <a:extLst>
              <a:ext uri="{FF2B5EF4-FFF2-40B4-BE49-F238E27FC236}">
                <a16:creationId xmlns:a16="http://schemas.microsoft.com/office/drawing/2014/main" id="{02668AA5-3D4C-F34D-ABD3-EFF3057F174B}"/>
              </a:ext>
            </a:extLst>
          </p:cNvPr>
          <p:cNvSpPr/>
          <p:nvPr/>
        </p:nvSpPr>
        <p:spPr bwMode="gray">
          <a:xfrm>
            <a:off x="8540332" y="4083166"/>
            <a:ext cx="1585841" cy="782497"/>
          </a:xfrm>
          <a:prstGeom prst="roundRect">
            <a:avLst/>
          </a:prstGeom>
          <a:solidFill>
            <a:schemeClr val="bg1"/>
          </a:solidFill>
          <a:ln w="28575" algn="ctr">
            <a:solidFill>
              <a:srgbClr val="005587"/>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s un procedimiento poco común, derivado de la iniciativa de austeridad y la pandemia</a:t>
            </a:r>
          </a:p>
        </p:txBody>
      </p:sp>
      <p:sp>
        <p:nvSpPr>
          <p:cNvPr id="40" name="Rounded Rectangle 56">
            <a:extLst>
              <a:ext uri="{FF2B5EF4-FFF2-40B4-BE49-F238E27FC236}">
                <a16:creationId xmlns:a16="http://schemas.microsoft.com/office/drawing/2014/main" id="{0682AFEC-BDFB-4249-8D84-661F67B8D4AE}"/>
              </a:ext>
            </a:extLst>
          </p:cNvPr>
          <p:cNvSpPr/>
          <p:nvPr/>
        </p:nvSpPr>
        <p:spPr bwMode="gray">
          <a:xfrm>
            <a:off x="1844999" y="4083166"/>
            <a:ext cx="1804641" cy="2068201"/>
          </a:xfrm>
          <a:prstGeom prst="roundRect">
            <a:avLst/>
          </a:prstGeom>
          <a:solidFill>
            <a:schemeClr val="bg1"/>
          </a:solidFill>
          <a:ln w="28575" algn="ctr">
            <a:solidFill>
              <a:srgbClr val="92D050"/>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uál es el reto?</a:t>
            </a:r>
          </a:p>
          <a:p>
            <a:pPr marL="0" marR="0" lvl="0" indent="0" algn="ctr" defTabSz="401852" rtl="0" eaLnBrk="1" fontAlgn="auto" latinLnBrk="0" hangingPunct="1">
              <a:lnSpc>
                <a:spcPts val="975"/>
              </a:lnSpc>
              <a:spcBef>
                <a:spcPts val="0"/>
              </a:spcBef>
              <a:spcAft>
                <a:spcPts val="0"/>
              </a:spcAft>
              <a:buClrTx/>
              <a:buSzTx/>
              <a:buFontTx/>
              <a:buNone/>
              <a:tabLst/>
              <a:defRPr/>
            </a:pPr>
            <a:endPar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71450" marR="0" lvl="0" indent="-171450" algn="l" defTabSz="401852" rtl="0" eaLnBrk="1" fontAlgn="auto" latinLnBrk="0" hangingPunct="1">
              <a:lnSpc>
                <a:spcPts val="975"/>
              </a:lnSpc>
              <a:spcBef>
                <a:spcPts val="0"/>
              </a:spcBef>
              <a:spcAft>
                <a:spcPts val="0"/>
              </a:spcAft>
              <a:buClrTx/>
              <a:buSzTx/>
              <a:buFont typeface="Arial" panose="020B0604020202020204" pitchFamily="34" charset="0"/>
              <a:buChar char="•"/>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Demostrar trazabilidad</a:t>
            </a:r>
          </a:p>
          <a:p>
            <a:pPr marL="171450" marR="0" lvl="0" indent="-171450" algn="l" defTabSz="401852" rtl="0" eaLnBrk="1" fontAlgn="auto" latinLnBrk="0" hangingPunct="1">
              <a:lnSpc>
                <a:spcPts val="975"/>
              </a:lnSpc>
              <a:spcBef>
                <a:spcPts val="0"/>
              </a:spcBef>
              <a:spcAft>
                <a:spcPts val="0"/>
              </a:spcAft>
              <a:buClrTx/>
              <a:buSzTx/>
              <a:buFont typeface="Arial" panose="020B0604020202020204" pitchFamily="34" charset="0"/>
              <a:buChar char="•"/>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antenimiento perfecto de los registros y documentos</a:t>
            </a:r>
          </a:p>
          <a:p>
            <a:pPr marL="171450" marR="0" lvl="0" indent="-171450" algn="l" defTabSz="401852" rtl="0" eaLnBrk="1" fontAlgn="auto" latinLnBrk="0" hangingPunct="1">
              <a:lnSpc>
                <a:spcPts val="975"/>
              </a:lnSpc>
              <a:spcBef>
                <a:spcPts val="0"/>
              </a:spcBef>
              <a:spcAft>
                <a:spcPts val="0"/>
              </a:spcAft>
              <a:buClrTx/>
              <a:buSzTx/>
              <a:buFont typeface="Arial" panose="020B0604020202020204" pitchFamily="34" charset="0"/>
              <a:buChar char="•"/>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ontar con información consistente</a:t>
            </a:r>
          </a:p>
          <a:p>
            <a:pPr marL="171450" marR="0" lvl="0" indent="-171450" algn="l" defTabSz="401852" rtl="0" eaLnBrk="1" fontAlgn="auto" latinLnBrk="0" hangingPunct="1">
              <a:lnSpc>
                <a:spcPts val="975"/>
              </a:lnSpc>
              <a:spcBef>
                <a:spcPts val="0"/>
              </a:spcBef>
              <a:spcAft>
                <a:spcPts val="0"/>
              </a:spcAft>
              <a:buClrTx/>
              <a:buSzTx/>
              <a:buFont typeface="Arial" panose="020B0604020202020204" pitchFamily="34" charset="0"/>
              <a:buChar char="•"/>
              <a:tabLst/>
              <a:defRPr/>
            </a:pPr>
            <a:endPar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ctr" defTabSz="401852" rtl="0" eaLnBrk="1" fontAlgn="auto" latinLnBrk="0" hangingPunct="1">
              <a:lnSpc>
                <a:spcPts val="975"/>
              </a:lnSpc>
              <a:spcBef>
                <a:spcPts val="0"/>
              </a:spcBef>
              <a:spcAft>
                <a:spcPts val="0"/>
              </a:spcAft>
              <a:buClrTx/>
              <a:buSzTx/>
              <a:buFontTx/>
              <a:buNone/>
              <a:tabLst/>
              <a:defRPr/>
            </a:pPr>
            <a:endPar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41" name="Rounded Rectangle 56">
            <a:extLst>
              <a:ext uri="{FF2B5EF4-FFF2-40B4-BE49-F238E27FC236}">
                <a16:creationId xmlns:a16="http://schemas.microsoft.com/office/drawing/2014/main" id="{8F38352D-15E3-ED40-A26E-2C73B249C73E}"/>
              </a:ext>
            </a:extLst>
          </p:cNvPr>
          <p:cNvSpPr/>
          <p:nvPr/>
        </p:nvSpPr>
        <p:spPr bwMode="gray">
          <a:xfrm>
            <a:off x="1844999" y="1836409"/>
            <a:ext cx="1804641" cy="570007"/>
          </a:xfrm>
          <a:prstGeom prst="roundRect">
            <a:avLst/>
          </a:prstGeom>
          <a:solidFill>
            <a:schemeClr val="bg1"/>
          </a:solidFill>
          <a:ln w="28575" algn="ctr">
            <a:solidFill>
              <a:srgbClr val="92D050"/>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e inicia a través de un cuestionario y se solicita información</a:t>
            </a:r>
          </a:p>
        </p:txBody>
      </p:sp>
      <p:sp>
        <p:nvSpPr>
          <p:cNvPr id="42" name="Rounded Rectangle 56">
            <a:extLst>
              <a:ext uri="{FF2B5EF4-FFF2-40B4-BE49-F238E27FC236}">
                <a16:creationId xmlns:a16="http://schemas.microsoft.com/office/drawing/2014/main" id="{1748DDF0-1FB2-B240-9C5B-049DB29478E7}"/>
              </a:ext>
            </a:extLst>
          </p:cNvPr>
          <p:cNvSpPr/>
          <p:nvPr/>
        </p:nvSpPr>
        <p:spPr bwMode="gray">
          <a:xfrm>
            <a:off x="1844999" y="2959788"/>
            <a:ext cx="1815172" cy="570007"/>
          </a:xfrm>
          <a:prstGeom prst="roundRect">
            <a:avLst/>
          </a:prstGeom>
          <a:solidFill>
            <a:schemeClr val="bg1"/>
          </a:solidFill>
          <a:ln w="28575" algn="ctr">
            <a:solidFill>
              <a:srgbClr val="92D050"/>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e solicita cumplimiento de origen, así como, la comprobación del proceso productivo</a:t>
            </a:r>
          </a:p>
        </p:txBody>
      </p:sp>
      <p:sp>
        <p:nvSpPr>
          <p:cNvPr id="43" name="Rounded Rectangle 56">
            <a:extLst>
              <a:ext uri="{FF2B5EF4-FFF2-40B4-BE49-F238E27FC236}">
                <a16:creationId xmlns:a16="http://schemas.microsoft.com/office/drawing/2014/main" id="{3FF0B753-0612-5446-880A-61AABE1FEE6D}"/>
              </a:ext>
            </a:extLst>
          </p:cNvPr>
          <p:cNvSpPr/>
          <p:nvPr/>
        </p:nvSpPr>
        <p:spPr bwMode="gray">
          <a:xfrm>
            <a:off x="8540332" y="1836409"/>
            <a:ext cx="1649713" cy="570007"/>
          </a:xfrm>
          <a:prstGeom prst="roundRect">
            <a:avLst/>
          </a:prstGeom>
          <a:solidFill>
            <a:schemeClr val="bg1"/>
          </a:solidFill>
          <a:ln w="28575" algn="ctr">
            <a:solidFill>
              <a:srgbClr val="005587"/>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e inicia a través de una inspección en el país de origen</a:t>
            </a:r>
          </a:p>
        </p:txBody>
      </p:sp>
      <p:sp>
        <p:nvSpPr>
          <p:cNvPr id="44" name="Rounded Rectangle 56">
            <a:extLst>
              <a:ext uri="{FF2B5EF4-FFF2-40B4-BE49-F238E27FC236}">
                <a16:creationId xmlns:a16="http://schemas.microsoft.com/office/drawing/2014/main" id="{711C021B-475F-3F49-9F20-0B6F4DE717AF}"/>
              </a:ext>
            </a:extLst>
          </p:cNvPr>
          <p:cNvSpPr/>
          <p:nvPr/>
        </p:nvSpPr>
        <p:spPr bwMode="gray">
          <a:xfrm>
            <a:off x="8538364" y="2959788"/>
            <a:ext cx="1611198" cy="570007"/>
          </a:xfrm>
          <a:prstGeom prst="roundRect">
            <a:avLst/>
          </a:prstGeom>
          <a:solidFill>
            <a:schemeClr val="bg1"/>
          </a:solidFill>
          <a:ln w="28575" algn="ctr">
            <a:solidFill>
              <a:srgbClr val="005587"/>
            </a:solidFill>
            <a:miter lim="800000"/>
            <a:headEnd/>
            <a:tailEnd/>
          </a:ln>
        </p:spPr>
        <p:txBody>
          <a:bodyPr wrap="square" lIns="25718" tIns="45364" rIns="25718"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00" b="0"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e verifica en la planta productiva, el proceso de producción</a:t>
            </a:r>
          </a:p>
        </p:txBody>
      </p:sp>
      <p:grpSp>
        <p:nvGrpSpPr>
          <p:cNvPr id="45" name="Group 4">
            <a:extLst>
              <a:ext uri="{FF2B5EF4-FFF2-40B4-BE49-F238E27FC236}">
                <a16:creationId xmlns:a16="http://schemas.microsoft.com/office/drawing/2014/main" id="{99C2D958-ECAF-3B40-9EC4-74629E4522F2}"/>
              </a:ext>
            </a:extLst>
          </p:cNvPr>
          <p:cNvGrpSpPr>
            <a:grpSpLocks noChangeAspect="1"/>
          </p:cNvGrpSpPr>
          <p:nvPr/>
        </p:nvGrpSpPr>
        <p:grpSpPr bwMode="auto">
          <a:xfrm>
            <a:off x="6171084" y="1704328"/>
            <a:ext cx="1197541" cy="2924784"/>
            <a:chOff x="3899" y="1111"/>
            <a:chExt cx="1049" cy="2562"/>
          </a:xfrm>
        </p:grpSpPr>
        <p:sp>
          <p:nvSpPr>
            <p:cNvPr id="46" name="Freeform 5">
              <a:extLst>
                <a:ext uri="{FF2B5EF4-FFF2-40B4-BE49-F238E27FC236}">
                  <a16:creationId xmlns:a16="http://schemas.microsoft.com/office/drawing/2014/main" id="{DBAD9DEF-A178-5942-ABA2-B880984CAB02}"/>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47" name="Line 6">
              <a:extLst>
                <a:ext uri="{FF2B5EF4-FFF2-40B4-BE49-F238E27FC236}">
                  <a16:creationId xmlns:a16="http://schemas.microsoft.com/office/drawing/2014/main" id="{F31683BA-3BC6-A64B-9B03-FF8100C6C3A5}"/>
                </a:ext>
              </a:extLst>
            </p:cNvPr>
            <p:cNvSpPr>
              <a:spLocks noChangeShapeType="1"/>
            </p:cNvSpPr>
            <p:nvPr/>
          </p:nvSpPr>
          <p:spPr bwMode="auto">
            <a:xfrm>
              <a:off x="4152" y="1342"/>
              <a:ext cx="155"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48" name="Freeform 7">
              <a:extLst>
                <a:ext uri="{FF2B5EF4-FFF2-40B4-BE49-F238E27FC236}">
                  <a16:creationId xmlns:a16="http://schemas.microsoft.com/office/drawing/2014/main" id="{4248569F-C90A-8546-ACD4-6E2991B48D7E}"/>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49" name="Freeform 8">
              <a:extLst>
                <a:ext uri="{FF2B5EF4-FFF2-40B4-BE49-F238E27FC236}">
                  <a16:creationId xmlns:a16="http://schemas.microsoft.com/office/drawing/2014/main" id="{1FFD4990-5211-DC40-ACEA-B1364BAA478E}"/>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0" name="Freeform 9">
              <a:extLst>
                <a:ext uri="{FF2B5EF4-FFF2-40B4-BE49-F238E27FC236}">
                  <a16:creationId xmlns:a16="http://schemas.microsoft.com/office/drawing/2014/main" id="{99E6B1C2-F8FD-D44E-AE13-6E54370EF8C2}"/>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1" name="Freeform 10">
              <a:extLst>
                <a:ext uri="{FF2B5EF4-FFF2-40B4-BE49-F238E27FC236}">
                  <a16:creationId xmlns:a16="http://schemas.microsoft.com/office/drawing/2014/main" id="{0AB5F8C2-2696-6C48-BE9C-6B2866552612}"/>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2" name="Freeform 11">
              <a:extLst>
                <a:ext uri="{FF2B5EF4-FFF2-40B4-BE49-F238E27FC236}">
                  <a16:creationId xmlns:a16="http://schemas.microsoft.com/office/drawing/2014/main" id="{A2ECFC80-B02F-8341-B7B7-BBB0A8343B05}"/>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3" name="Freeform 12">
              <a:extLst>
                <a:ext uri="{FF2B5EF4-FFF2-40B4-BE49-F238E27FC236}">
                  <a16:creationId xmlns:a16="http://schemas.microsoft.com/office/drawing/2014/main" id="{210EAEED-53C2-AF44-859D-DC6A1F55F5CE}"/>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4" name="Freeform 13">
              <a:extLst>
                <a:ext uri="{FF2B5EF4-FFF2-40B4-BE49-F238E27FC236}">
                  <a16:creationId xmlns:a16="http://schemas.microsoft.com/office/drawing/2014/main" id="{D7BB21DA-0BCD-1742-9783-4FCA11535736}"/>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5" name="Freeform 14">
              <a:extLst>
                <a:ext uri="{FF2B5EF4-FFF2-40B4-BE49-F238E27FC236}">
                  <a16:creationId xmlns:a16="http://schemas.microsoft.com/office/drawing/2014/main" id="{3599F5DA-5690-F349-ABEA-0EAC014A98F1}"/>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6" name="Line 15">
              <a:extLst>
                <a:ext uri="{FF2B5EF4-FFF2-40B4-BE49-F238E27FC236}">
                  <a16:creationId xmlns:a16="http://schemas.microsoft.com/office/drawing/2014/main" id="{74D828EE-FBDF-F445-A54E-89E83F73A1EE}"/>
                </a:ext>
              </a:extLst>
            </p:cNvPr>
            <p:cNvSpPr>
              <a:spLocks noChangeShapeType="1"/>
            </p:cNvSpPr>
            <p:nvPr/>
          </p:nvSpPr>
          <p:spPr bwMode="auto">
            <a:xfrm flipH="1">
              <a:off x="4047" y="3537"/>
              <a:ext cx="162" cy="0"/>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7" name="Freeform 16">
              <a:extLst>
                <a:ext uri="{FF2B5EF4-FFF2-40B4-BE49-F238E27FC236}">
                  <a16:creationId xmlns:a16="http://schemas.microsoft.com/office/drawing/2014/main" id="{7A1157BD-B017-1A4C-B25F-E6431B158970}"/>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8" name="Freeform 17">
              <a:extLst>
                <a:ext uri="{FF2B5EF4-FFF2-40B4-BE49-F238E27FC236}">
                  <a16:creationId xmlns:a16="http://schemas.microsoft.com/office/drawing/2014/main" id="{D3D47C20-34E3-D946-AF72-CECB140A6035}"/>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59" name="Freeform 18">
              <a:extLst>
                <a:ext uri="{FF2B5EF4-FFF2-40B4-BE49-F238E27FC236}">
                  <a16:creationId xmlns:a16="http://schemas.microsoft.com/office/drawing/2014/main" id="{BBA402E1-B578-DD4C-8F77-23B54D078776}"/>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0" name="Freeform 19">
              <a:extLst>
                <a:ext uri="{FF2B5EF4-FFF2-40B4-BE49-F238E27FC236}">
                  <a16:creationId xmlns:a16="http://schemas.microsoft.com/office/drawing/2014/main" id="{01713CB5-8851-3E4C-A0C4-2A9639137381}"/>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1" name="Freeform 20">
              <a:extLst>
                <a:ext uri="{FF2B5EF4-FFF2-40B4-BE49-F238E27FC236}">
                  <a16:creationId xmlns:a16="http://schemas.microsoft.com/office/drawing/2014/main" id="{183AC8EE-1643-6143-9C43-45FF1B9EF2FF}"/>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2" name="Freeform 21">
              <a:extLst>
                <a:ext uri="{FF2B5EF4-FFF2-40B4-BE49-F238E27FC236}">
                  <a16:creationId xmlns:a16="http://schemas.microsoft.com/office/drawing/2014/main" id="{88160F75-88B5-214C-8990-62F1BA87719C}"/>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3" name="Freeform 22">
              <a:extLst>
                <a:ext uri="{FF2B5EF4-FFF2-40B4-BE49-F238E27FC236}">
                  <a16:creationId xmlns:a16="http://schemas.microsoft.com/office/drawing/2014/main" id="{4FF64C5D-8610-5D44-96E8-7123AD89C095}"/>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4" name="Freeform 23">
              <a:extLst>
                <a:ext uri="{FF2B5EF4-FFF2-40B4-BE49-F238E27FC236}">
                  <a16:creationId xmlns:a16="http://schemas.microsoft.com/office/drawing/2014/main" id="{8D239C05-1E83-CC48-85FF-A38A956D3118}"/>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5" name="Freeform 24">
              <a:extLst>
                <a:ext uri="{FF2B5EF4-FFF2-40B4-BE49-F238E27FC236}">
                  <a16:creationId xmlns:a16="http://schemas.microsoft.com/office/drawing/2014/main" id="{7017AD69-A76B-2143-8774-177B3AD8DF1A}"/>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6" name="Freeform 25">
              <a:extLst>
                <a:ext uri="{FF2B5EF4-FFF2-40B4-BE49-F238E27FC236}">
                  <a16:creationId xmlns:a16="http://schemas.microsoft.com/office/drawing/2014/main" id="{AD500F5A-2452-C34D-BBCF-5D1963240E0B}"/>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7" name="Freeform 26">
              <a:extLst>
                <a:ext uri="{FF2B5EF4-FFF2-40B4-BE49-F238E27FC236}">
                  <a16:creationId xmlns:a16="http://schemas.microsoft.com/office/drawing/2014/main" id="{BCBB3558-D392-694D-ACDC-9054D5894521}"/>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8" name="Freeform 27">
              <a:extLst>
                <a:ext uri="{FF2B5EF4-FFF2-40B4-BE49-F238E27FC236}">
                  <a16:creationId xmlns:a16="http://schemas.microsoft.com/office/drawing/2014/main" id="{DE46C4D3-D411-4D49-8AF6-AFA65DCDAB42}"/>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69" name="Freeform 28">
              <a:extLst>
                <a:ext uri="{FF2B5EF4-FFF2-40B4-BE49-F238E27FC236}">
                  <a16:creationId xmlns:a16="http://schemas.microsoft.com/office/drawing/2014/main" id="{916C734F-6E82-D346-ACDC-17790033F05D}"/>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0" name="Freeform 29">
              <a:extLst>
                <a:ext uri="{FF2B5EF4-FFF2-40B4-BE49-F238E27FC236}">
                  <a16:creationId xmlns:a16="http://schemas.microsoft.com/office/drawing/2014/main" id="{A36E3A66-6132-AC4F-8386-1660A623848E}"/>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1" name="Freeform 30">
              <a:extLst>
                <a:ext uri="{FF2B5EF4-FFF2-40B4-BE49-F238E27FC236}">
                  <a16:creationId xmlns:a16="http://schemas.microsoft.com/office/drawing/2014/main" id="{AF725E2C-0CD8-9A44-B04E-23921A07AFFD}"/>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2" name="Freeform 31">
              <a:extLst>
                <a:ext uri="{FF2B5EF4-FFF2-40B4-BE49-F238E27FC236}">
                  <a16:creationId xmlns:a16="http://schemas.microsoft.com/office/drawing/2014/main" id="{DFFEC78C-EEE3-EF4F-A678-A89936F8DEC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3" name="Freeform 32">
              <a:extLst>
                <a:ext uri="{FF2B5EF4-FFF2-40B4-BE49-F238E27FC236}">
                  <a16:creationId xmlns:a16="http://schemas.microsoft.com/office/drawing/2014/main" id="{FBECD0B4-86F8-D54F-A985-93F20D8646DA}"/>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4" name="Freeform 33">
              <a:extLst>
                <a:ext uri="{FF2B5EF4-FFF2-40B4-BE49-F238E27FC236}">
                  <a16:creationId xmlns:a16="http://schemas.microsoft.com/office/drawing/2014/main" id="{0B58CA71-871C-C348-94A1-08CBA9419EDC}"/>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5" name="Line 34">
              <a:extLst>
                <a:ext uri="{FF2B5EF4-FFF2-40B4-BE49-F238E27FC236}">
                  <a16:creationId xmlns:a16="http://schemas.microsoft.com/office/drawing/2014/main" id="{C01EEC80-B33B-784D-A357-7EA6D5D0A400}"/>
                </a:ext>
              </a:extLst>
            </p:cNvPr>
            <p:cNvSpPr>
              <a:spLocks noChangeShapeType="1"/>
            </p:cNvSpPr>
            <p:nvPr/>
          </p:nvSpPr>
          <p:spPr bwMode="auto">
            <a:xfrm>
              <a:off x="4364" y="2457"/>
              <a:ext cx="91" cy="95"/>
            </a:xfrm>
            <a:prstGeom prst="line">
              <a:avLst/>
            </a:prstGeom>
            <a:noFill/>
            <a:ln w="11113" cap="flat">
              <a:solidFill>
                <a:srgbClr val="29ABE2"/>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6" name="Freeform 35">
              <a:extLst>
                <a:ext uri="{FF2B5EF4-FFF2-40B4-BE49-F238E27FC236}">
                  <a16:creationId xmlns:a16="http://schemas.microsoft.com/office/drawing/2014/main" id="{452C54AF-B1A7-B141-ABE8-9B204056E65E}"/>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29ABE2"/>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77" name="Group 4">
            <a:extLst>
              <a:ext uri="{FF2B5EF4-FFF2-40B4-BE49-F238E27FC236}">
                <a16:creationId xmlns:a16="http://schemas.microsoft.com/office/drawing/2014/main" id="{717CFF29-2FD5-5D42-B0E2-2DE7143EA60F}"/>
              </a:ext>
            </a:extLst>
          </p:cNvPr>
          <p:cNvGrpSpPr>
            <a:grpSpLocks noChangeAspect="1"/>
          </p:cNvGrpSpPr>
          <p:nvPr/>
        </p:nvGrpSpPr>
        <p:grpSpPr bwMode="auto">
          <a:xfrm flipH="1">
            <a:off x="4832827" y="1704328"/>
            <a:ext cx="1197541" cy="2924784"/>
            <a:chOff x="3899" y="1111"/>
            <a:chExt cx="1049" cy="2562"/>
          </a:xfrm>
        </p:grpSpPr>
        <p:sp>
          <p:nvSpPr>
            <p:cNvPr id="78" name="Freeform 5">
              <a:extLst>
                <a:ext uri="{FF2B5EF4-FFF2-40B4-BE49-F238E27FC236}">
                  <a16:creationId xmlns:a16="http://schemas.microsoft.com/office/drawing/2014/main" id="{0AE5FCCC-4415-6B4F-8BE8-76D14C1E5487}"/>
                </a:ext>
              </a:extLst>
            </p:cNvPr>
            <p:cNvSpPr>
              <a:spLocks/>
            </p:cNvSpPr>
            <p:nvPr/>
          </p:nvSpPr>
          <p:spPr bwMode="auto">
            <a:xfrm>
              <a:off x="3955" y="1111"/>
              <a:ext cx="556" cy="1346"/>
            </a:xfrm>
            <a:custGeom>
              <a:avLst/>
              <a:gdLst>
                <a:gd name="T0" fmla="*/ 303 w 556"/>
                <a:gd name="T1" fmla="*/ 503 h 1346"/>
                <a:gd name="T2" fmla="*/ 303 w 556"/>
                <a:gd name="T3" fmla="*/ 340 h 1346"/>
                <a:gd name="T4" fmla="*/ 197 w 556"/>
                <a:gd name="T5" fmla="*/ 231 h 1346"/>
                <a:gd name="T6" fmla="*/ 71 w 556"/>
                <a:gd name="T7" fmla="*/ 231 h 1346"/>
                <a:gd name="T8" fmla="*/ 0 w 556"/>
                <a:gd name="T9" fmla="*/ 156 h 1346"/>
                <a:gd name="T10" fmla="*/ 0 w 556"/>
                <a:gd name="T11" fmla="*/ 75 h 1346"/>
                <a:gd name="T12" fmla="*/ 71 w 556"/>
                <a:gd name="T13" fmla="*/ 0 h 1346"/>
                <a:gd name="T14" fmla="*/ 254 w 556"/>
                <a:gd name="T15" fmla="*/ 0 h 1346"/>
                <a:gd name="T16" fmla="*/ 451 w 556"/>
                <a:gd name="T17" fmla="*/ 204 h 1346"/>
                <a:gd name="T18" fmla="*/ 451 w 556"/>
                <a:gd name="T19" fmla="*/ 523 h 1346"/>
                <a:gd name="T20" fmla="*/ 359 w 556"/>
                <a:gd name="T21" fmla="*/ 618 h 1346"/>
                <a:gd name="T22" fmla="*/ 556 w 556"/>
                <a:gd name="T23" fmla="*/ 822 h 1346"/>
                <a:gd name="T24" fmla="*/ 423 w 556"/>
                <a:gd name="T25" fmla="*/ 958 h 1346"/>
                <a:gd name="T26" fmla="*/ 423 w 556"/>
                <a:gd name="T27" fmla="*/ 1250 h 1346"/>
                <a:gd name="T28" fmla="*/ 331 w 556"/>
                <a:gd name="T29" fmla="*/ 1346 h 1346"/>
                <a:gd name="T30" fmla="*/ 169 w 556"/>
                <a:gd name="T31"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6" h="1346">
                  <a:moveTo>
                    <a:pt x="303" y="503"/>
                  </a:moveTo>
                  <a:lnTo>
                    <a:pt x="303" y="340"/>
                  </a:lnTo>
                  <a:lnTo>
                    <a:pt x="197" y="231"/>
                  </a:lnTo>
                  <a:lnTo>
                    <a:pt x="71" y="231"/>
                  </a:lnTo>
                  <a:lnTo>
                    <a:pt x="0" y="156"/>
                  </a:lnTo>
                  <a:lnTo>
                    <a:pt x="0" y="75"/>
                  </a:lnTo>
                  <a:lnTo>
                    <a:pt x="71" y="0"/>
                  </a:lnTo>
                  <a:lnTo>
                    <a:pt x="254" y="0"/>
                  </a:lnTo>
                  <a:lnTo>
                    <a:pt x="451" y="204"/>
                  </a:lnTo>
                  <a:lnTo>
                    <a:pt x="451" y="523"/>
                  </a:lnTo>
                  <a:lnTo>
                    <a:pt x="359" y="618"/>
                  </a:lnTo>
                  <a:lnTo>
                    <a:pt x="556" y="822"/>
                  </a:lnTo>
                  <a:lnTo>
                    <a:pt x="423" y="958"/>
                  </a:lnTo>
                  <a:lnTo>
                    <a:pt x="423" y="1250"/>
                  </a:lnTo>
                  <a:lnTo>
                    <a:pt x="331" y="1346"/>
                  </a:lnTo>
                  <a:lnTo>
                    <a:pt x="169" y="134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79" name="Line 6">
              <a:extLst>
                <a:ext uri="{FF2B5EF4-FFF2-40B4-BE49-F238E27FC236}">
                  <a16:creationId xmlns:a16="http://schemas.microsoft.com/office/drawing/2014/main" id="{08DFCF7A-5E31-A94D-9DA9-6AD1D65C8716}"/>
                </a:ext>
              </a:extLst>
            </p:cNvPr>
            <p:cNvSpPr>
              <a:spLocks noChangeShapeType="1"/>
            </p:cNvSpPr>
            <p:nvPr/>
          </p:nvSpPr>
          <p:spPr bwMode="auto">
            <a:xfrm>
              <a:off x="4152" y="1342"/>
              <a:ext cx="155"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0" name="Freeform 7">
              <a:extLst>
                <a:ext uri="{FF2B5EF4-FFF2-40B4-BE49-F238E27FC236}">
                  <a16:creationId xmlns:a16="http://schemas.microsoft.com/office/drawing/2014/main" id="{727DEDAA-281B-A14C-8969-DE2ECF867F72}"/>
                </a:ext>
              </a:extLst>
            </p:cNvPr>
            <p:cNvSpPr>
              <a:spLocks/>
            </p:cNvSpPr>
            <p:nvPr/>
          </p:nvSpPr>
          <p:spPr bwMode="auto">
            <a:xfrm>
              <a:off x="4068" y="1220"/>
              <a:ext cx="148" cy="122"/>
            </a:xfrm>
            <a:custGeom>
              <a:avLst/>
              <a:gdLst>
                <a:gd name="T0" fmla="*/ 148 w 148"/>
                <a:gd name="T1" fmla="*/ 122 h 122"/>
                <a:gd name="T2" fmla="*/ 148 w 148"/>
                <a:gd name="T3" fmla="*/ 88 h 122"/>
                <a:gd name="T4" fmla="*/ 70 w 148"/>
                <a:gd name="T5" fmla="*/ 0 h 122"/>
                <a:gd name="T6" fmla="*/ 0 w 148"/>
                <a:gd name="T7" fmla="*/ 0 h 122"/>
              </a:gdLst>
              <a:ahLst/>
              <a:cxnLst>
                <a:cxn ang="0">
                  <a:pos x="T0" y="T1"/>
                </a:cxn>
                <a:cxn ang="0">
                  <a:pos x="T2" y="T3"/>
                </a:cxn>
                <a:cxn ang="0">
                  <a:pos x="T4" y="T5"/>
                </a:cxn>
                <a:cxn ang="0">
                  <a:pos x="T6" y="T7"/>
                </a:cxn>
              </a:cxnLst>
              <a:rect l="0" t="0" r="r" b="b"/>
              <a:pathLst>
                <a:path w="148" h="122">
                  <a:moveTo>
                    <a:pt x="148" y="122"/>
                  </a:moveTo>
                  <a:lnTo>
                    <a:pt x="148" y="88"/>
                  </a:lnTo>
                  <a:lnTo>
                    <a:pt x="70" y="0"/>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1" name="Freeform 8">
              <a:extLst>
                <a:ext uri="{FF2B5EF4-FFF2-40B4-BE49-F238E27FC236}">
                  <a16:creationId xmlns:a16="http://schemas.microsoft.com/office/drawing/2014/main" id="{2720FDAE-DD46-ED46-BECD-4C8D8EFCDA33}"/>
                </a:ext>
              </a:extLst>
            </p:cNvPr>
            <p:cNvSpPr>
              <a:spLocks/>
            </p:cNvSpPr>
            <p:nvPr/>
          </p:nvSpPr>
          <p:spPr bwMode="auto">
            <a:xfrm>
              <a:off x="3934" y="1417"/>
              <a:ext cx="444" cy="503"/>
            </a:xfrm>
            <a:custGeom>
              <a:avLst/>
              <a:gdLst>
                <a:gd name="T0" fmla="*/ 444 w 444"/>
                <a:gd name="T1" fmla="*/ 503 h 503"/>
                <a:gd name="T2" fmla="*/ 324 w 444"/>
                <a:gd name="T3" fmla="*/ 503 h 503"/>
                <a:gd name="T4" fmla="*/ 232 w 444"/>
                <a:gd name="T5" fmla="*/ 408 h 503"/>
                <a:gd name="T6" fmla="*/ 92 w 444"/>
                <a:gd name="T7" fmla="*/ 408 h 503"/>
                <a:gd name="T8" fmla="*/ 0 w 444"/>
                <a:gd name="T9" fmla="*/ 312 h 503"/>
                <a:gd name="T10" fmla="*/ 0 w 444"/>
                <a:gd name="T11" fmla="*/ 68 h 503"/>
                <a:gd name="T12" fmla="*/ 63 w 444"/>
                <a:gd name="T13" fmla="*/ 0 h 503"/>
                <a:gd name="T14" fmla="*/ 169 w 444"/>
                <a:gd name="T15" fmla="*/ 0 h 503"/>
                <a:gd name="T16" fmla="*/ 240 w 444"/>
                <a:gd name="T17" fmla="*/ 75 h 503"/>
                <a:gd name="T18" fmla="*/ 240 w 444"/>
                <a:gd name="T19" fmla="*/ 285 h 503"/>
                <a:gd name="T20" fmla="*/ 345 w 444"/>
                <a:gd name="T21" fmla="*/ 40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4" h="503">
                  <a:moveTo>
                    <a:pt x="444" y="503"/>
                  </a:moveTo>
                  <a:lnTo>
                    <a:pt x="324" y="503"/>
                  </a:lnTo>
                  <a:lnTo>
                    <a:pt x="232" y="408"/>
                  </a:lnTo>
                  <a:lnTo>
                    <a:pt x="92" y="408"/>
                  </a:lnTo>
                  <a:lnTo>
                    <a:pt x="0" y="312"/>
                  </a:lnTo>
                  <a:lnTo>
                    <a:pt x="0" y="68"/>
                  </a:lnTo>
                  <a:lnTo>
                    <a:pt x="63" y="0"/>
                  </a:lnTo>
                  <a:lnTo>
                    <a:pt x="169" y="0"/>
                  </a:lnTo>
                  <a:lnTo>
                    <a:pt x="240" y="75"/>
                  </a:lnTo>
                  <a:lnTo>
                    <a:pt x="240" y="285"/>
                  </a:lnTo>
                  <a:lnTo>
                    <a:pt x="345" y="40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2" name="Freeform 9">
              <a:extLst>
                <a:ext uri="{FF2B5EF4-FFF2-40B4-BE49-F238E27FC236}">
                  <a16:creationId xmlns:a16="http://schemas.microsoft.com/office/drawing/2014/main" id="{4772D099-305E-1341-8C83-0BB58F247064}"/>
                </a:ext>
              </a:extLst>
            </p:cNvPr>
            <p:cNvSpPr>
              <a:spLocks/>
            </p:cNvSpPr>
            <p:nvPr/>
          </p:nvSpPr>
          <p:spPr bwMode="auto">
            <a:xfrm>
              <a:off x="4033" y="1594"/>
              <a:ext cx="141" cy="54"/>
            </a:xfrm>
            <a:custGeom>
              <a:avLst/>
              <a:gdLst>
                <a:gd name="T0" fmla="*/ 141 w 141"/>
                <a:gd name="T1" fmla="*/ 0 h 54"/>
                <a:gd name="T2" fmla="*/ 56 w 141"/>
                <a:gd name="T3" fmla="*/ 0 h 54"/>
                <a:gd name="T4" fmla="*/ 0 w 141"/>
                <a:gd name="T5" fmla="*/ 54 h 54"/>
              </a:gdLst>
              <a:ahLst/>
              <a:cxnLst>
                <a:cxn ang="0">
                  <a:pos x="T0" y="T1"/>
                </a:cxn>
                <a:cxn ang="0">
                  <a:pos x="T2" y="T3"/>
                </a:cxn>
                <a:cxn ang="0">
                  <a:pos x="T4" y="T5"/>
                </a:cxn>
              </a:cxnLst>
              <a:rect l="0" t="0" r="r" b="b"/>
              <a:pathLst>
                <a:path w="141" h="54">
                  <a:moveTo>
                    <a:pt x="141" y="0"/>
                  </a:moveTo>
                  <a:lnTo>
                    <a:pt x="56" y="0"/>
                  </a:lnTo>
                  <a:lnTo>
                    <a:pt x="0" y="5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3" name="Freeform 10">
              <a:extLst>
                <a:ext uri="{FF2B5EF4-FFF2-40B4-BE49-F238E27FC236}">
                  <a16:creationId xmlns:a16="http://schemas.microsoft.com/office/drawing/2014/main" id="{7390EF40-7C4B-144E-B294-39EF24025F00}"/>
                </a:ext>
              </a:extLst>
            </p:cNvPr>
            <p:cNvSpPr>
              <a:spLocks/>
            </p:cNvSpPr>
            <p:nvPr/>
          </p:nvSpPr>
          <p:spPr bwMode="auto">
            <a:xfrm>
              <a:off x="4406" y="1390"/>
              <a:ext cx="289" cy="421"/>
            </a:xfrm>
            <a:custGeom>
              <a:avLst/>
              <a:gdLst>
                <a:gd name="T0" fmla="*/ 0 w 289"/>
                <a:gd name="T1" fmla="*/ 0 h 421"/>
                <a:gd name="T2" fmla="*/ 105 w 289"/>
                <a:gd name="T3" fmla="*/ 0 h 421"/>
                <a:gd name="T4" fmla="*/ 289 w 289"/>
                <a:gd name="T5" fmla="*/ 197 h 421"/>
                <a:gd name="T6" fmla="*/ 289 w 289"/>
                <a:gd name="T7" fmla="*/ 421 h 421"/>
              </a:gdLst>
              <a:ahLst/>
              <a:cxnLst>
                <a:cxn ang="0">
                  <a:pos x="T0" y="T1"/>
                </a:cxn>
                <a:cxn ang="0">
                  <a:pos x="T2" y="T3"/>
                </a:cxn>
                <a:cxn ang="0">
                  <a:pos x="T4" y="T5"/>
                </a:cxn>
                <a:cxn ang="0">
                  <a:pos x="T6" y="T7"/>
                </a:cxn>
              </a:cxnLst>
              <a:rect l="0" t="0" r="r" b="b"/>
              <a:pathLst>
                <a:path w="289" h="421">
                  <a:moveTo>
                    <a:pt x="0" y="0"/>
                  </a:moveTo>
                  <a:lnTo>
                    <a:pt x="105" y="0"/>
                  </a:lnTo>
                  <a:lnTo>
                    <a:pt x="289" y="197"/>
                  </a:lnTo>
                  <a:lnTo>
                    <a:pt x="289" y="42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4" name="Freeform 11">
              <a:extLst>
                <a:ext uri="{FF2B5EF4-FFF2-40B4-BE49-F238E27FC236}">
                  <a16:creationId xmlns:a16="http://schemas.microsoft.com/office/drawing/2014/main" id="{4CCBB072-91C9-C645-8AE2-3AFF01CFC790}"/>
                </a:ext>
              </a:extLst>
            </p:cNvPr>
            <p:cNvSpPr>
              <a:spLocks/>
            </p:cNvSpPr>
            <p:nvPr/>
          </p:nvSpPr>
          <p:spPr bwMode="auto">
            <a:xfrm>
              <a:off x="4540" y="1573"/>
              <a:ext cx="331" cy="727"/>
            </a:xfrm>
            <a:custGeom>
              <a:avLst/>
              <a:gdLst>
                <a:gd name="T0" fmla="*/ 126 w 331"/>
                <a:gd name="T1" fmla="*/ 727 h 727"/>
                <a:gd name="T2" fmla="*/ 169 w 331"/>
                <a:gd name="T3" fmla="*/ 687 h 727"/>
                <a:gd name="T4" fmla="*/ 331 w 331"/>
                <a:gd name="T5" fmla="*/ 693 h 727"/>
                <a:gd name="T6" fmla="*/ 331 w 331"/>
                <a:gd name="T7" fmla="*/ 306 h 727"/>
                <a:gd name="T8" fmla="*/ 260 w 331"/>
                <a:gd name="T9" fmla="*/ 238 h 727"/>
                <a:gd name="T10" fmla="*/ 119 w 331"/>
                <a:gd name="T11" fmla="*/ 238 h 727"/>
                <a:gd name="T12" fmla="*/ 0 w 331"/>
                <a:gd name="T13" fmla="*/ 109 h 727"/>
                <a:gd name="T14" fmla="*/ 0 w 331"/>
                <a:gd name="T15" fmla="*/ 0 h 7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727">
                  <a:moveTo>
                    <a:pt x="126" y="727"/>
                  </a:moveTo>
                  <a:lnTo>
                    <a:pt x="169" y="687"/>
                  </a:lnTo>
                  <a:lnTo>
                    <a:pt x="331" y="693"/>
                  </a:lnTo>
                  <a:lnTo>
                    <a:pt x="331" y="306"/>
                  </a:lnTo>
                  <a:lnTo>
                    <a:pt x="260" y="238"/>
                  </a:lnTo>
                  <a:lnTo>
                    <a:pt x="119" y="238"/>
                  </a:lnTo>
                  <a:lnTo>
                    <a:pt x="0" y="10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5" name="Freeform 12">
              <a:extLst>
                <a:ext uri="{FF2B5EF4-FFF2-40B4-BE49-F238E27FC236}">
                  <a16:creationId xmlns:a16="http://schemas.microsoft.com/office/drawing/2014/main" id="{8478CB8C-40C6-C041-8101-B0354B8B04C1}"/>
                </a:ext>
              </a:extLst>
            </p:cNvPr>
            <p:cNvSpPr>
              <a:spLocks/>
            </p:cNvSpPr>
            <p:nvPr/>
          </p:nvSpPr>
          <p:spPr bwMode="auto">
            <a:xfrm>
              <a:off x="4096" y="2266"/>
              <a:ext cx="852" cy="1183"/>
            </a:xfrm>
            <a:custGeom>
              <a:avLst/>
              <a:gdLst>
                <a:gd name="T0" fmla="*/ 775 w 852"/>
                <a:gd name="T1" fmla="*/ 0 h 1183"/>
                <a:gd name="T2" fmla="*/ 852 w 852"/>
                <a:gd name="T3" fmla="*/ 82 h 1183"/>
                <a:gd name="T4" fmla="*/ 852 w 852"/>
                <a:gd name="T5" fmla="*/ 524 h 1183"/>
                <a:gd name="T6" fmla="*/ 768 w 852"/>
                <a:gd name="T7" fmla="*/ 612 h 1183"/>
                <a:gd name="T8" fmla="*/ 768 w 852"/>
                <a:gd name="T9" fmla="*/ 870 h 1183"/>
                <a:gd name="T10" fmla="*/ 599 w 852"/>
                <a:gd name="T11" fmla="*/ 1054 h 1183"/>
                <a:gd name="T12" fmla="*/ 331 w 852"/>
                <a:gd name="T13" fmla="*/ 1054 h 1183"/>
                <a:gd name="T14" fmla="*/ 204 w 852"/>
                <a:gd name="T15" fmla="*/ 1183 h 1183"/>
                <a:gd name="T16" fmla="*/ 0 w 852"/>
                <a:gd name="T17" fmla="*/ 1183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2" h="1183">
                  <a:moveTo>
                    <a:pt x="775" y="0"/>
                  </a:moveTo>
                  <a:lnTo>
                    <a:pt x="852" y="82"/>
                  </a:lnTo>
                  <a:lnTo>
                    <a:pt x="852" y="524"/>
                  </a:lnTo>
                  <a:lnTo>
                    <a:pt x="768" y="612"/>
                  </a:lnTo>
                  <a:lnTo>
                    <a:pt x="768" y="870"/>
                  </a:lnTo>
                  <a:lnTo>
                    <a:pt x="599" y="1054"/>
                  </a:lnTo>
                  <a:lnTo>
                    <a:pt x="331" y="1054"/>
                  </a:lnTo>
                  <a:lnTo>
                    <a:pt x="204" y="1183"/>
                  </a:lnTo>
                  <a:lnTo>
                    <a:pt x="0" y="118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6" name="Freeform 13">
              <a:extLst>
                <a:ext uri="{FF2B5EF4-FFF2-40B4-BE49-F238E27FC236}">
                  <a16:creationId xmlns:a16="http://schemas.microsoft.com/office/drawing/2014/main" id="{C334A1C9-7389-5849-BA06-9985D2258A93}"/>
                </a:ext>
              </a:extLst>
            </p:cNvPr>
            <p:cNvSpPr>
              <a:spLocks/>
            </p:cNvSpPr>
            <p:nvPr/>
          </p:nvSpPr>
          <p:spPr bwMode="auto">
            <a:xfrm>
              <a:off x="3913" y="3320"/>
              <a:ext cx="725" cy="353"/>
            </a:xfrm>
            <a:custGeom>
              <a:avLst/>
              <a:gdLst>
                <a:gd name="T0" fmla="*/ 725 w 725"/>
                <a:gd name="T1" fmla="*/ 0 h 353"/>
                <a:gd name="T2" fmla="*/ 535 w 725"/>
                <a:gd name="T3" fmla="*/ 190 h 353"/>
                <a:gd name="T4" fmla="*/ 451 w 725"/>
                <a:gd name="T5" fmla="*/ 190 h 353"/>
                <a:gd name="T6" fmla="*/ 303 w 725"/>
                <a:gd name="T7" fmla="*/ 353 h 353"/>
                <a:gd name="T8" fmla="*/ 106 w 725"/>
                <a:gd name="T9" fmla="*/ 353 h 353"/>
                <a:gd name="T10" fmla="*/ 0 w 725"/>
                <a:gd name="T11" fmla="*/ 244 h 353"/>
                <a:gd name="T12" fmla="*/ 0 w 725"/>
                <a:gd name="T13" fmla="*/ 170 h 353"/>
                <a:gd name="T14" fmla="*/ 99 w 725"/>
                <a:gd name="T15" fmla="*/ 68 h 3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5" h="353">
                  <a:moveTo>
                    <a:pt x="725" y="0"/>
                  </a:moveTo>
                  <a:lnTo>
                    <a:pt x="535" y="190"/>
                  </a:lnTo>
                  <a:lnTo>
                    <a:pt x="451" y="190"/>
                  </a:lnTo>
                  <a:lnTo>
                    <a:pt x="303" y="353"/>
                  </a:lnTo>
                  <a:lnTo>
                    <a:pt x="106" y="353"/>
                  </a:lnTo>
                  <a:lnTo>
                    <a:pt x="0" y="244"/>
                  </a:lnTo>
                  <a:lnTo>
                    <a:pt x="0" y="170"/>
                  </a:lnTo>
                  <a:lnTo>
                    <a:pt x="99" y="6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8" name="Freeform 14">
              <a:extLst>
                <a:ext uri="{FF2B5EF4-FFF2-40B4-BE49-F238E27FC236}">
                  <a16:creationId xmlns:a16="http://schemas.microsoft.com/office/drawing/2014/main" id="{42C853E4-860A-794E-BAE7-7C9A159E0246}"/>
                </a:ext>
              </a:extLst>
            </p:cNvPr>
            <p:cNvSpPr>
              <a:spLocks/>
            </p:cNvSpPr>
            <p:nvPr/>
          </p:nvSpPr>
          <p:spPr bwMode="auto">
            <a:xfrm>
              <a:off x="4061" y="3510"/>
              <a:ext cx="303" cy="102"/>
            </a:xfrm>
            <a:custGeom>
              <a:avLst/>
              <a:gdLst>
                <a:gd name="T0" fmla="*/ 303 w 303"/>
                <a:gd name="T1" fmla="*/ 0 h 102"/>
                <a:gd name="T2" fmla="*/ 183 w 303"/>
                <a:gd name="T3" fmla="*/ 0 h 102"/>
                <a:gd name="T4" fmla="*/ 84 w 303"/>
                <a:gd name="T5" fmla="*/ 102 h 102"/>
                <a:gd name="T6" fmla="*/ 0 w 303"/>
                <a:gd name="T7" fmla="*/ 102 h 102"/>
              </a:gdLst>
              <a:ahLst/>
              <a:cxnLst>
                <a:cxn ang="0">
                  <a:pos x="T0" y="T1"/>
                </a:cxn>
                <a:cxn ang="0">
                  <a:pos x="T2" y="T3"/>
                </a:cxn>
                <a:cxn ang="0">
                  <a:pos x="T4" y="T5"/>
                </a:cxn>
                <a:cxn ang="0">
                  <a:pos x="T6" y="T7"/>
                </a:cxn>
              </a:cxnLst>
              <a:rect l="0" t="0" r="r" b="b"/>
              <a:pathLst>
                <a:path w="303" h="102">
                  <a:moveTo>
                    <a:pt x="303" y="0"/>
                  </a:moveTo>
                  <a:lnTo>
                    <a:pt x="183" y="0"/>
                  </a:lnTo>
                  <a:lnTo>
                    <a:pt x="84" y="102"/>
                  </a:lnTo>
                  <a:lnTo>
                    <a:pt x="0" y="102"/>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89" name="Line 15">
              <a:extLst>
                <a:ext uri="{FF2B5EF4-FFF2-40B4-BE49-F238E27FC236}">
                  <a16:creationId xmlns:a16="http://schemas.microsoft.com/office/drawing/2014/main" id="{B89D2014-C0B6-9944-A8DD-78EFE1384624}"/>
                </a:ext>
              </a:extLst>
            </p:cNvPr>
            <p:cNvSpPr>
              <a:spLocks noChangeShapeType="1"/>
            </p:cNvSpPr>
            <p:nvPr/>
          </p:nvSpPr>
          <p:spPr bwMode="auto">
            <a:xfrm flipH="1">
              <a:off x="4047" y="3537"/>
              <a:ext cx="162" cy="0"/>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93" name="Freeform 16">
              <a:extLst>
                <a:ext uri="{FF2B5EF4-FFF2-40B4-BE49-F238E27FC236}">
                  <a16:creationId xmlns:a16="http://schemas.microsoft.com/office/drawing/2014/main" id="{4DC0C37D-834C-5440-9345-1518CB528623}"/>
                </a:ext>
              </a:extLst>
            </p:cNvPr>
            <p:cNvSpPr>
              <a:spLocks/>
            </p:cNvSpPr>
            <p:nvPr/>
          </p:nvSpPr>
          <p:spPr bwMode="auto">
            <a:xfrm>
              <a:off x="4279" y="1777"/>
              <a:ext cx="451" cy="775"/>
            </a:xfrm>
            <a:custGeom>
              <a:avLst/>
              <a:gdLst>
                <a:gd name="T0" fmla="*/ 197 w 451"/>
                <a:gd name="T1" fmla="*/ 0 h 775"/>
                <a:gd name="T2" fmla="*/ 324 w 451"/>
                <a:gd name="T3" fmla="*/ 122 h 775"/>
                <a:gd name="T4" fmla="*/ 451 w 451"/>
                <a:gd name="T5" fmla="*/ 122 h 775"/>
                <a:gd name="T6" fmla="*/ 451 w 451"/>
                <a:gd name="T7" fmla="*/ 306 h 775"/>
                <a:gd name="T8" fmla="*/ 0 w 451"/>
                <a:gd name="T9" fmla="*/ 775 h 775"/>
              </a:gdLst>
              <a:ahLst/>
              <a:cxnLst>
                <a:cxn ang="0">
                  <a:pos x="T0" y="T1"/>
                </a:cxn>
                <a:cxn ang="0">
                  <a:pos x="T2" y="T3"/>
                </a:cxn>
                <a:cxn ang="0">
                  <a:pos x="T4" y="T5"/>
                </a:cxn>
                <a:cxn ang="0">
                  <a:pos x="T6" y="T7"/>
                </a:cxn>
                <a:cxn ang="0">
                  <a:pos x="T8" y="T9"/>
                </a:cxn>
              </a:cxnLst>
              <a:rect l="0" t="0" r="r" b="b"/>
              <a:pathLst>
                <a:path w="451" h="775">
                  <a:moveTo>
                    <a:pt x="197" y="0"/>
                  </a:moveTo>
                  <a:lnTo>
                    <a:pt x="324" y="122"/>
                  </a:lnTo>
                  <a:lnTo>
                    <a:pt x="451" y="122"/>
                  </a:lnTo>
                  <a:lnTo>
                    <a:pt x="451" y="306"/>
                  </a:lnTo>
                  <a:lnTo>
                    <a:pt x="0" y="775"/>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94" name="Freeform 17">
              <a:extLst>
                <a:ext uri="{FF2B5EF4-FFF2-40B4-BE49-F238E27FC236}">
                  <a16:creationId xmlns:a16="http://schemas.microsoft.com/office/drawing/2014/main" id="{BEC8B025-C979-6344-9DF5-A872D5174AA1}"/>
                </a:ext>
              </a:extLst>
            </p:cNvPr>
            <p:cNvSpPr>
              <a:spLocks/>
            </p:cNvSpPr>
            <p:nvPr/>
          </p:nvSpPr>
          <p:spPr bwMode="auto">
            <a:xfrm>
              <a:off x="4469" y="2008"/>
              <a:ext cx="261" cy="136"/>
            </a:xfrm>
            <a:custGeom>
              <a:avLst/>
              <a:gdLst>
                <a:gd name="T0" fmla="*/ 261 w 261"/>
                <a:gd name="T1" fmla="*/ 0 h 136"/>
                <a:gd name="T2" fmla="*/ 134 w 261"/>
                <a:gd name="T3" fmla="*/ 0 h 136"/>
                <a:gd name="T4" fmla="*/ 0 w 261"/>
                <a:gd name="T5" fmla="*/ 136 h 136"/>
              </a:gdLst>
              <a:ahLst/>
              <a:cxnLst>
                <a:cxn ang="0">
                  <a:pos x="T0" y="T1"/>
                </a:cxn>
                <a:cxn ang="0">
                  <a:pos x="T2" y="T3"/>
                </a:cxn>
                <a:cxn ang="0">
                  <a:pos x="T4" y="T5"/>
                </a:cxn>
              </a:cxnLst>
              <a:rect l="0" t="0" r="r" b="b"/>
              <a:pathLst>
                <a:path w="261" h="136">
                  <a:moveTo>
                    <a:pt x="261" y="0"/>
                  </a:moveTo>
                  <a:lnTo>
                    <a:pt x="134" y="0"/>
                  </a:lnTo>
                  <a:lnTo>
                    <a:pt x="0" y="13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02" name="Freeform 18">
              <a:extLst>
                <a:ext uri="{FF2B5EF4-FFF2-40B4-BE49-F238E27FC236}">
                  <a16:creationId xmlns:a16="http://schemas.microsoft.com/office/drawing/2014/main" id="{BB20352D-4BAF-6C48-B951-70DB53576601}"/>
                </a:ext>
              </a:extLst>
            </p:cNvPr>
            <p:cNvSpPr>
              <a:spLocks/>
            </p:cNvSpPr>
            <p:nvPr/>
          </p:nvSpPr>
          <p:spPr bwMode="auto">
            <a:xfrm>
              <a:off x="3948" y="1825"/>
              <a:ext cx="366" cy="530"/>
            </a:xfrm>
            <a:custGeom>
              <a:avLst/>
              <a:gdLst>
                <a:gd name="T0" fmla="*/ 78 w 366"/>
                <a:gd name="T1" fmla="*/ 0 h 530"/>
                <a:gd name="T2" fmla="*/ 0 w 366"/>
                <a:gd name="T3" fmla="*/ 74 h 530"/>
                <a:gd name="T4" fmla="*/ 0 w 366"/>
                <a:gd name="T5" fmla="*/ 203 h 530"/>
                <a:gd name="T6" fmla="*/ 0 w 366"/>
                <a:gd name="T7" fmla="*/ 387 h 530"/>
                <a:gd name="T8" fmla="*/ 134 w 366"/>
                <a:gd name="T9" fmla="*/ 530 h 530"/>
                <a:gd name="T10" fmla="*/ 310 w 366"/>
                <a:gd name="T11" fmla="*/ 530 h 530"/>
                <a:gd name="T12" fmla="*/ 366 w 366"/>
                <a:gd name="T13" fmla="*/ 462 h 530"/>
                <a:gd name="T14" fmla="*/ 366 w 366"/>
                <a:gd name="T15" fmla="*/ 197 h 5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 h="530">
                  <a:moveTo>
                    <a:pt x="78" y="0"/>
                  </a:moveTo>
                  <a:lnTo>
                    <a:pt x="0" y="74"/>
                  </a:lnTo>
                  <a:lnTo>
                    <a:pt x="0" y="203"/>
                  </a:lnTo>
                  <a:lnTo>
                    <a:pt x="0" y="387"/>
                  </a:lnTo>
                  <a:lnTo>
                    <a:pt x="134" y="530"/>
                  </a:lnTo>
                  <a:lnTo>
                    <a:pt x="310" y="530"/>
                  </a:lnTo>
                  <a:lnTo>
                    <a:pt x="366" y="462"/>
                  </a:lnTo>
                  <a:lnTo>
                    <a:pt x="366" y="197"/>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03" name="Freeform 19">
              <a:extLst>
                <a:ext uri="{FF2B5EF4-FFF2-40B4-BE49-F238E27FC236}">
                  <a16:creationId xmlns:a16="http://schemas.microsoft.com/office/drawing/2014/main" id="{AFCDA3EA-4A90-4E48-83CA-AA39402682DA}"/>
                </a:ext>
              </a:extLst>
            </p:cNvPr>
            <p:cNvSpPr>
              <a:spLocks/>
            </p:cNvSpPr>
            <p:nvPr/>
          </p:nvSpPr>
          <p:spPr bwMode="auto">
            <a:xfrm>
              <a:off x="4223" y="1988"/>
              <a:ext cx="91" cy="244"/>
            </a:xfrm>
            <a:custGeom>
              <a:avLst/>
              <a:gdLst>
                <a:gd name="T0" fmla="*/ 91 w 91"/>
                <a:gd name="T1" fmla="*/ 244 h 244"/>
                <a:gd name="T2" fmla="*/ 0 w 91"/>
                <a:gd name="T3" fmla="*/ 149 h 244"/>
                <a:gd name="T4" fmla="*/ 0 w 91"/>
                <a:gd name="T5" fmla="*/ 0 h 244"/>
              </a:gdLst>
              <a:ahLst/>
              <a:cxnLst>
                <a:cxn ang="0">
                  <a:pos x="T0" y="T1"/>
                </a:cxn>
                <a:cxn ang="0">
                  <a:pos x="T2" y="T3"/>
                </a:cxn>
                <a:cxn ang="0">
                  <a:pos x="T4" y="T5"/>
                </a:cxn>
              </a:cxnLst>
              <a:rect l="0" t="0" r="r" b="b"/>
              <a:pathLst>
                <a:path w="91" h="244">
                  <a:moveTo>
                    <a:pt x="91" y="244"/>
                  </a:moveTo>
                  <a:lnTo>
                    <a:pt x="0" y="149"/>
                  </a:lnTo>
                  <a:lnTo>
                    <a:pt x="0" y="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04" name="Freeform 20">
              <a:extLst>
                <a:ext uri="{FF2B5EF4-FFF2-40B4-BE49-F238E27FC236}">
                  <a16:creationId xmlns:a16="http://schemas.microsoft.com/office/drawing/2014/main" id="{34E9EF95-7697-5C47-926D-035839E12EC6}"/>
                </a:ext>
              </a:extLst>
            </p:cNvPr>
            <p:cNvSpPr>
              <a:spLocks/>
            </p:cNvSpPr>
            <p:nvPr/>
          </p:nvSpPr>
          <p:spPr bwMode="auto">
            <a:xfrm>
              <a:off x="3948" y="1899"/>
              <a:ext cx="127" cy="293"/>
            </a:xfrm>
            <a:custGeom>
              <a:avLst/>
              <a:gdLst>
                <a:gd name="T0" fmla="*/ 0 w 127"/>
                <a:gd name="T1" fmla="*/ 0 h 293"/>
                <a:gd name="T2" fmla="*/ 127 w 127"/>
                <a:gd name="T3" fmla="*/ 136 h 293"/>
                <a:gd name="T4" fmla="*/ 127 w 127"/>
                <a:gd name="T5" fmla="*/ 293 h 293"/>
              </a:gdLst>
              <a:ahLst/>
              <a:cxnLst>
                <a:cxn ang="0">
                  <a:pos x="T0" y="T1"/>
                </a:cxn>
                <a:cxn ang="0">
                  <a:pos x="T2" y="T3"/>
                </a:cxn>
                <a:cxn ang="0">
                  <a:pos x="T4" y="T5"/>
                </a:cxn>
              </a:cxnLst>
              <a:rect l="0" t="0" r="r" b="b"/>
              <a:pathLst>
                <a:path w="127" h="293">
                  <a:moveTo>
                    <a:pt x="0" y="0"/>
                  </a:moveTo>
                  <a:lnTo>
                    <a:pt x="127" y="136"/>
                  </a:lnTo>
                  <a:lnTo>
                    <a:pt x="127" y="29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05" name="Freeform 21">
              <a:extLst>
                <a:ext uri="{FF2B5EF4-FFF2-40B4-BE49-F238E27FC236}">
                  <a16:creationId xmlns:a16="http://schemas.microsoft.com/office/drawing/2014/main" id="{ACBC9669-89D1-9940-BAA7-BF15BB92B4A5}"/>
                </a:ext>
              </a:extLst>
            </p:cNvPr>
            <p:cNvSpPr>
              <a:spLocks/>
            </p:cNvSpPr>
            <p:nvPr/>
          </p:nvSpPr>
          <p:spPr bwMode="auto">
            <a:xfrm>
              <a:off x="4054" y="2409"/>
              <a:ext cx="521" cy="265"/>
            </a:xfrm>
            <a:custGeom>
              <a:avLst/>
              <a:gdLst>
                <a:gd name="T0" fmla="*/ 521 w 521"/>
                <a:gd name="T1" fmla="*/ 0 h 265"/>
                <a:gd name="T2" fmla="*/ 521 w 521"/>
                <a:gd name="T3" fmla="*/ 170 h 265"/>
                <a:gd name="T4" fmla="*/ 429 w 521"/>
                <a:gd name="T5" fmla="*/ 265 h 265"/>
                <a:gd name="T6" fmla="*/ 197 w 521"/>
                <a:gd name="T7" fmla="*/ 265 h 265"/>
                <a:gd name="T8" fmla="*/ 105 w 521"/>
                <a:gd name="T9" fmla="*/ 163 h 265"/>
                <a:gd name="T10" fmla="*/ 0 w 521"/>
                <a:gd name="T11" fmla="*/ 163 h 265"/>
              </a:gdLst>
              <a:ahLst/>
              <a:cxnLst>
                <a:cxn ang="0">
                  <a:pos x="T0" y="T1"/>
                </a:cxn>
                <a:cxn ang="0">
                  <a:pos x="T2" y="T3"/>
                </a:cxn>
                <a:cxn ang="0">
                  <a:pos x="T4" y="T5"/>
                </a:cxn>
                <a:cxn ang="0">
                  <a:pos x="T6" y="T7"/>
                </a:cxn>
                <a:cxn ang="0">
                  <a:pos x="T8" y="T9"/>
                </a:cxn>
                <a:cxn ang="0">
                  <a:pos x="T10" y="T11"/>
                </a:cxn>
              </a:cxnLst>
              <a:rect l="0" t="0" r="r" b="b"/>
              <a:pathLst>
                <a:path w="521" h="265">
                  <a:moveTo>
                    <a:pt x="521" y="0"/>
                  </a:moveTo>
                  <a:lnTo>
                    <a:pt x="521" y="170"/>
                  </a:lnTo>
                  <a:lnTo>
                    <a:pt x="429" y="265"/>
                  </a:lnTo>
                  <a:lnTo>
                    <a:pt x="197" y="265"/>
                  </a:lnTo>
                  <a:lnTo>
                    <a:pt x="105" y="163"/>
                  </a:lnTo>
                  <a:lnTo>
                    <a:pt x="0" y="16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09" name="Freeform 22">
              <a:extLst>
                <a:ext uri="{FF2B5EF4-FFF2-40B4-BE49-F238E27FC236}">
                  <a16:creationId xmlns:a16="http://schemas.microsoft.com/office/drawing/2014/main" id="{8CF0F65D-449B-AB42-8665-DC81EDBFDF01}"/>
                </a:ext>
              </a:extLst>
            </p:cNvPr>
            <p:cNvSpPr>
              <a:spLocks/>
            </p:cNvSpPr>
            <p:nvPr/>
          </p:nvSpPr>
          <p:spPr bwMode="auto">
            <a:xfrm>
              <a:off x="3941" y="2307"/>
              <a:ext cx="331" cy="822"/>
            </a:xfrm>
            <a:custGeom>
              <a:avLst/>
              <a:gdLst>
                <a:gd name="T0" fmla="*/ 92 w 331"/>
                <a:gd name="T1" fmla="*/ 0 h 822"/>
                <a:gd name="T2" fmla="*/ 0 w 331"/>
                <a:gd name="T3" fmla="*/ 95 h 822"/>
                <a:gd name="T4" fmla="*/ 0 w 331"/>
                <a:gd name="T5" fmla="*/ 720 h 822"/>
                <a:gd name="T6" fmla="*/ 99 w 331"/>
                <a:gd name="T7" fmla="*/ 822 h 822"/>
                <a:gd name="T8" fmla="*/ 190 w 331"/>
                <a:gd name="T9" fmla="*/ 822 h 822"/>
                <a:gd name="T10" fmla="*/ 331 w 331"/>
                <a:gd name="T11" fmla="*/ 673 h 822"/>
                <a:gd name="T12" fmla="*/ 331 w 331"/>
                <a:gd name="T13" fmla="*/ 523 h 822"/>
              </a:gdLst>
              <a:ahLst/>
              <a:cxnLst>
                <a:cxn ang="0">
                  <a:pos x="T0" y="T1"/>
                </a:cxn>
                <a:cxn ang="0">
                  <a:pos x="T2" y="T3"/>
                </a:cxn>
                <a:cxn ang="0">
                  <a:pos x="T4" y="T5"/>
                </a:cxn>
                <a:cxn ang="0">
                  <a:pos x="T6" y="T7"/>
                </a:cxn>
                <a:cxn ang="0">
                  <a:pos x="T8" y="T9"/>
                </a:cxn>
                <a:cxn ang="0">
                  <a:pos x="T10" y="T11"/>
                </a:cxn>
                <a:cxn ang="0">
                  <a:pos x="T12" y="T13"/>
                </a:cxn>
              </a:cxnLst>
              <a:rect l="0" t="0" r="r" b="b"/>
              <a:pathLst>
                <a:path w="331" h="822">
                  <a:moveTo>
                    <a:pt x="92" y="0"/>
                  </a:moveTo>
                  <a:lnTo>
                    <a:pt x="0" y="95"/>
                  </a:lnTo>
                  <a:lnTo>
                    <a:pt x="0" y="720"/>
                  </a:lnTo>
                  <a:lnTo>
                    <a:pt x="99" y="822"/>
                  </a:lnTo>
                  <a:lnTo>
                    <a:pt x="190" y="822"/>
                  </a:lnTo>
                  <a:lnTo>
                    <a:pt x="331" y="673"/>
                  </a:lnTo>
                  <a:lnTo>
                    <a:pt x="331" y="523"/>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13" name="Freeform 23">
              <a:extLst>
                <a:ext uri="{FF2B5EF4-FFF2-40B4-BE49-F238E27FC236}">
                  <a16:creationId xmlns:a16="http://schemas.microsoft.com/office/drawing/2014/main" id="{D0DCD918-E8FA-0042-95C7-95B78C7A87AA}"/>
                </a:ext>
              </a:extLst>
            </p:cNvPr>
            <p:cNvSpPr>
              <a:spLocks/>
            </p:cNvSpPr>
            <p:nvPr/>
          </p:nvSpPr>
          <p:spPr bwMode="auto">
            <a:xfrm>
              <a:off x="3899" y="2960"/>
              <a:ext cx="472" cy="421"/>
            </a:xfrm>
            <a:custGeom>
              <a:avLst/>
              <a:gdLst>
                <a:gd name="T0" fmla="*/ 472 w 472"/>
                <a:gd name="T1" fmla="*/ 0 h 421"/>
                <a:gd name="T2" fmla="*/ 239 w 472"/>
                <a:gd name="T3" fmla="*/ 244 h 421"/>
                <a:gd name="T4" fmla="*/ 239 w 472"/>
                <a:gd name="T5" fmla="*/ 366 h 421"/>
                <a:gd name="T6" fmla="*/ 183 w 472"/>
                <a:gd name="T7" fmla="*/ 421 h 421"/>
                <a:gd name="T8" fmla="*/ 77 w 472"/>
                <a:gd name="T9" fmla="*/ 421 h 421"/>
                <a:gd name="T10" fmla="*/ 0 w 472"/>
                <a:gd name="T11" fmla="*/ 339 h 421"/>
                <a:gd name="T12" fmla="*/ 0 w 472"/>
                <a:gd name="T13" fmla="*/ 183 h 421"/>
                <a:gd name="T14" fmla="*/ 84 w 472"/>
                <a:gd name="T15" fmla="*/ 108 h 4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2" h="421">
                  <a:moveTo>
                    <a:pt x="472" y="0"/>
                  </a:moveTo>
                  <a:lnTo>
                    <a:pt x="239" y="244"/>
                  </a:lnTo>
                  <a:lnTo>
                    <a:pt x="239" y="366"/>
                  </a:lnTo>
                  <a:lnTo>
                    <a:pt x="183" y="421"/>
                  </a:lnTo>
                  <a:lnTo>
                    <a:pt x="77" y="421"/>
                  </a:lnTo>
                  <a:lnTo>
                    <a:pt x="0" y="339"/>
                  </a:lnTo>
                  <a:lnTo>
                    <a:pt x="0" y="183"/>
                  </a:lnTo>
                  <a:lnTo>
                    <a:pt x="84" y="108"/>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14" name="Freeform 24">
              <a:extLst>
                <a:ext uri="{FF2B5EF4-FFF2-40B4-BE49-F238E27FC236}">
                  <a16:creationId xmlns:a16="http://schemas.microsoft.com/office/drawing/2014/main" id="{50CEA896-2E30-3E46-AD84-D47D04DCBE65}"/>
                </a:ext>
              </a:extLst>
            </p:cNvPr>
            <p:cNvSpPr>
              <a:spLocks/>
            </p:cNvSpPr>
            <p:nvPr/>
          </p:nvSpPr>
          <p:spPr bwMode="auto">
            <a:xfrm>
              <a:off x="3983" y="3129"/>
              <a:ext cx="57" cy="184"/>
            </a:xfrm>
            <a:custGeom>
              <a:avLst/>
              <a:gdLst>
                <a:gd name="T0" fmla="*/ 57 w 57"/>
                <a:gd name="T1" fmla="*/ 0 h 184"/>
                <a:gd name="T2" fmla="*/ 0 w 57"/>
                <a:gd name="T3" fmla="*/ 62 h 184"/>
                <a:gd name="T4" fmla="*/ 0 w 57"/>
                <a:gd name="T5" fmla="*/ 184 h 184"/>
              </a:gdLst>
              <a:ahLst/>
              <a:cxnLst>
                <a:cxn ang="0">
                  <a:pos x="T0" y="T1"/>
                </a:cxn>
                <a:cxn ang="0">
                  <a:pos x="T2" y="T3"/>
                </a:cxn>
                <a:cxn ang="0">
                  <a:pos x="T4" y="T5"/>
                </a:cxn>
              </a:cxnLst>
              <a:rect l="0" t="0" r="r" b="b"/>
              <a:pathLst>
                <a:path w="57" h="184">
                  <a:moveTo>
                    <a:pt x="57" y="0"/>
                  </a:moveTo>
                  <a:lnTo>
                    <a:pt x="0" y="62"/>
                  </a:lnTo>
                  <a:lnTo>
                    <a:pt x="0" y="18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15" name="Freeform 25">
              <a:extLst>
                <a:ext uri="{FF2B5EF4-FFF2-40B4-BE49-F238E27FC236}">
                  <a16:creationId xmlns:a16="http://schemas.microsoft.com/office/drawing/2014/main" id="{6399D75B-EA1B-7D44-97DA-8068957BBFF1}"/>
                </a:ext>
              </a:extLst>
            </p:cNvPr>
            <p:cNvSpPr>
              <a:spLocks/>
            </p:cNvSpPr>
            <p:nvPr/>
          </p:nvSpPr>
          <p:spPr bwMode="auto">
            <a:xfrm>
              <a:off x="4314" y="2361"/>
              <a:ext cx="430" cy="449"/>
            </a:xfrm>
            <a:custGeom>
              <a:avLst/>
              <a:gdLst>
                <a:gd name="T0" fmla="*/ 430 w 430"/>
                <a:gd name="T1" fmla="*/ 0 h 449"/>
                <a:gd name="T2" fmla="*/ 430 w 430"/>
                <a:gd name="T3" fmla="*/ 218 h 449"/>
                <a:gd name="T4" fmla="*/ 205 w 430"/>
                <a:gd name="T5" fmla="*/ 449 h 449"/>
                <a:gd name="T6" fmla="*/ 71 w 430"/>
                <a:gd name="T7" fmla="*/ 449 h 449"/>
                <a:gd name="T8" fmla="*/ 0 w 430"/>
                <a:gd name="T9" fmla="*/ 374 h 449"/>
              </a:gdLst>
              <a:ahLst/>
              <a:cxnLst>
                <a:cxn ang="0">
                  <a:pos x="T0" y="T1"/>
                </a:cxn>
                <a:cxn ang="0">
                  <a:pos x="T2" y="T3"/>
                </a:cxn>
                <a:cxn ang="0">
                  <a:pos x="T4" y="T5"/>
                </a:cxn>
                <a:cxn ang="0">
                  <a:pos x="T6" y="T7"/>
                </a:cxn>
                <a:cxn ang="0">
                  <a:pos x="T8" y="T9"/>
                </a:cxn>
              </a:cxnLst>
              <a:rect l="0" t="0" r="r" b="b"/>
              <a:pathLst>
                <a:path w="430" h="449">
                  <a:moveTo>
                    <a:pt x="430" y="0"/>
                  </a:moveTo>
                  <a:lnTo>
                    <a:pt x="430" y="218"/>
                  </a:lnTo>
                  <a:lnTo>
                    <a:pt x="205" y="449"/>
                  </a:lnTo>
                  <a:lnTo>
                    <a:pt x="71" y="449"/>
                  </a:lnTo>
                  <a:lnTo>
                    <a:pt x="0" y="37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16" name="Freeform 26">
              <a:extLst>
                <a:ext uri="{FF2B5EF4-FFF2-40B4-BE49-F238E27FC236}">
                  <a16:creationId xmlns:a16="http://schemas.microsoft.com/office/drawing/2014/main" id="{90D680A9-5541-3043-81AB-DC2A931BB310}"/>
                </a:ext>
              </a:extLst>
            </p:cNvPr>
            <p:cNvSpPr>
              <a:spLocks/>
            </p:cNvSpPr>
            <p:nvPr/>
          </p:nvSpPr>
          <p:spPr bwMode="auto">
            <a:xfrm>
              <a:off x="4272" y="2810"/>
              <a:ext cx="247" cy="394"/>
            </a:xfrm>
            <a:custGeom>
              <a:avLst/>
              <a:gdLst>
                <a:gd name="T0" fmla="*/ 247 w 247"/>
                <a:gd name="T1" fmla="*/ 0 h 394"/>
                <a:gd name="T2" fmla="*/ 247 w 247"/>
                <a:gd name="T3" fmla="*/ 129 h 394"/>
                <a:gd name="T4" fmla="*/ 0 w 247"/>
                <a:gd name="T5" fmla="*/ 394 h 394"/>
              </a:gdLst>
              <a:ahLst/>
              <a:cxnLst>
                <a:cxn ang="0">
                  <a:pos x="T0" y="T1"/>
                </a:cxn>
                <a:cxn ang="0">
                  <a:pos x="T2" y="T3"/>
                </a:cxn>
                <a:cxn ang="0">
                  <a:pos x="T4" y="T5"/>
                </a:cxn>
              </a:cxnLst>
              <a:rect l="0" t="0" r="r" b="b"/>
              <a:pathLst>
                <a:path w="247" h="394">
                  <a:moveTo>
                    <a:pt x="247" y="0"/>
                  </a:moveTo>
                  <a:lnTo>
                    <a:pt x="247" y="129"/>
                  </a:lnTo>
                  <a:lnTo>
                    <a:pt x="0" y="39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35" name="Freeform 27">
              <a:extLst>
                <a:ext uri="{FF2B5EF4-FFF2-40B4-BE49-F238E27FC236}">
                  <a16:creationId xmlns:a16="http://schemas.microsoft.com/office/drawing/2014/main" id="{B13714D9-53B8-A548-9B94-48F7ACF22A0A}"/>
                </a:ext>
              </a:extLst>
            </p:cNvPr>
            <p:cNvSpPr>
              <a:spLocks/>
            </p:cNvSpPr>
            <p:nvPr/>
          </p:nvSpPr>
          <p:spPr bwMode="auto">
            <a:xfrm>
              <a:off x="4265" y="3061"/>
              <a:ext cx="141" cy="306"/>
            </a:xfrm>
            <a:custGeom>
              <a:avLst/>
              <a:gdLst>
                <a:gd name="T0" fmla="*/ 141 w 141"/>
                <a:gd name="T1" fmla="*/ 0 h 306"/>
                <a:gd name="T2" fmla="*/ 141 w 141"/>
                <a:gd name="T3" fmla="*/ 157 h 306"/>
                <a:gd name="T4" fmla="*/ 0 w 141"/>
                <a:gd name="T5" fmla="*/ 306 h 306"/>
              </a:gdLst>
              <a:ahLst/>
              <a:cxnLst>
                <a:cxn ang="0">
                  <a:pos x="T0" y="T1"/>
                </a:cxn>
                <a:cxn ang="0">
                  <a:pos x="T2" y="T3"/>
                </a:cxn>
                <a:cxn ang="0">
                  <a:pos x="T4" y="T5"/>
                </a:cxn>
              </a:cxnLst>
              <a:rect l="0" t="0" r="r" b="b"/>
              <a:pathLst>
                <a:path w="141" h="306">
                  <a:moveTo>
                    <a:pt x="141" y="0"/>
                  </a:moveTo>
                  <a:lnTo>
                    <a:pt x="141" y="157"/>
                  </a:lnTo>
                  <a:lnTo>
                    <a:pt x="0" y="30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36" name="Freeform 28">
              <a:extLst>
                <a:ext uri="{FF2B5EF4-FFF2-40B4-BE49-F238E27FC236}">
                  <a16:creationId xmlns:a16="http://schemas.microsoft.com/office/drawing/2014/main" id="{E56692EB-768A-2E40-830F-07CCB7720344}"/>
                </a:ext>
              </a:extLst>
            </p:cNvPr>
            <p:cNvSpPr>
              <a:spLocks/>
            </p:cNvSpPr>
            <p:nvPr/>
          </p:nvSpPr>
          <p:spPr bwMode="auto">
            <a:xfrm>
              <a:off x="4511" y="2878"/>
              <a:ext cx="353" cy="204"/>
            </a:xfrm>
            <a:custGeom>
              <a:avLst/>
              <a:gdLst>
                <a:gd name="T0" fmla="*/ 353 w 353"/>
                <a:gd name="T1" fmla="*/ 0 h 204"/>
                <a:gd name="T2" fmla="*/ 198 w 353"/>
                <a:gd name="T3" fmla="*/ 0 h 204"/>
                <a:gd name="T4" fmla="*/ 0 w 353"/>
                <a:gd name="T5" fmla="*/ 204 h 204"/>
              </a:gdLst>
              <a:ahLst/>
              <a:cxnLst>
                <a:cxn ang="0">
                  <a:pos x="T0" y="T1"/>
                </a:cxn>
                <a:cxn ang="0">
                  <a:pos x="T2" y="T3"/>
                </a:cxn>
                <a:cxn ang="0">
                  <a:pos x="T4" y="T5"/>
                </a:cxn>
              </a:cxnLst>
              <a:rect l="0" t="0" r="r" b="b"/>
              <a:pathLst>
                <a:path w="353" h="204">
                  <a:moveTo>
                    <a:pt x="353" y="0"/>
                  </a:moveTo>
                  <a:lnTo>
                    <a:pt x="198" y="0"/>
                  </a:lnTo>
                  <a:lnTo>
                    <a:pt x="0" y="20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37" name="Freeform 29">
              <a:extLst>
                <a:ext uri="{FF2B5EF4-FFF2-40B4-BE49-F238E27FC236}">
                  <a16:creationId xmlns:a16="http://schemas.microsoft.com/office/drawing/2014/main" id="{E338CB3E-4FE8-AC4C-96A2-6E0A187DEF43}"/>
                </a:ext>
              </a:extLst>
            </p:cNvPr>
            <p:cNvSpPr>
              <a:spLocks/>
            </p:cNvSpPr>
            <p:nvPr/>
          </p:nvSpPr>
          <p:spPr bwMode="auto">
            <a:xfrm>
              <a:off x="4617" y="2409"/>
              <a:ext cx="239" cy="449"/>
            </a:xfrm>
            <a:custGeom>
              <a:avLst/>
              <a:gdLst>
                <a:gd name="T0" fmla="*/ 239 w 239"/>
                <a:gd name="T1" fmla="*/ 0 h 449"/>
                <a:gd name="T2" fmla="*/ 239 w 239"/>
                <a:gd name="T3" fmla="*/ 204 h 449"/>
                <a:gd name="T4" fmla="*/ 0 w 239"/>
                <a:gd name="T5" fmla="*/ 449 h 449"/>
              </a:gdLst>
              <a:ahLst/>
              <a:cxnLst>
                <a:cxn ang="0">
                  <a:pos x="T0" y="T1"/>
                </a:cxn>
                <a:cxn ang="0">
                  <a:pos x="T2" y="T3"/>
                </a:cxn>
                <a:cxn ang="0">
                  <a:pos x="T4" y="T5"/>
                </a:cxn>
              </a:cxnLst>
              <a:rect l="0" t="0" r="r" b="b"/>
              <a:pathLst>
                <a:path w="239" h="449">
                  <a:moveTo>
                    <a:pt x="239" y="0"/>
                  </a:moveTo>
                  <a:lnTo>
                    <a:pt x="239" y="204"/>
                  </a:lnTo>
                  <a:lnTo>
                    <a:pt x="0" y="449"/>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38" name="Freeform 30">
              <a:extLst>
                <a:ext uri="{FF2B5EF4-FFF2-40B4-BE49-F238E27FC236}">
                  <a16:creationId xmlns:a16="http://schemas.microsoft.com/office/drawing/2014/main" id="{4A705FD9-89D8-B749-A01B-3E29F27D7AE1}"/>
                </a:ext>
              </a:extLst>
            </p:cNvPr>
            <p:cNvSpPr>
              <a:spLocks/>
            </p:cNvSpPr>
            <p:nvPr/>
          </p:nvSpPr>
          <p:spPr bwMode="auto">
            <a:xfrm>
              <a:off x="4772" y="2701"/>
              <a:ext cx="63" cy="116"/>
            </a:xfrm>
            <a:custGeom>
              <a:avLst/>
              <a:gdLst>
                <a:gd name="T0" fmla="*/ 0 w 63"/>
                <a:gd name="T1" fmla="*/ 0 h 116"/>
                <a:gd name="T2" fmla="*/ 63 w 63"/>
                <a:gd name="T3" fmla="*/ 68 h 116"/>
                <a:gd name="T4" fmla="*/ 14 w 63"/>
                <a:gd name="T5" fmla="*/ 116 h 116"/>
              </a:gdLst>
              <a:ahLst/>
              <a:cxnLst>
                <a:cxn ang="0">
                  <a:pos x="T0" y="T1"/>
                </a:cxn>
                <a:cxn ang="0">
                  <a:pos x="T2" y="T3"/>
                </a:cxn>
                <a:cxn ang="0">
                  <a:pos x="T4" y="T5"/>
                </a:cxn>
              </a:cxnLst>
              <a:rect l="0" t="0" r="r" b="b"/>
              <a:pathLst>
                <a:path w="63" h="116">
                  <a:moveTo>
                    <a:pt x="0" y="0"/>
                  </a:moveTo>
                  <a:lnTo>
                    <a:pt x="63" y="68"/>
                  </a:lnTo>
                  <a:lnTo>
                    <a:pt x="14"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39" name="Freeform 31">
              <a:extLst>
                <a:ext uri="{FF2B5EF4-FFF2-40B4-BE49-F238E27FC236}">
                  <a16:creationId xmlns:a16="http://schemas.microsoft.com/office/drawing/2014/main" id="{36092DE1-2929-2F45-A42E-1789BEAC67F5}"/>
                </a:ext>
              </a:extLst>
            </p:cNvPr>
            <p:cNvSpPr>
              <a:spLocks/>
            </p:cNvSpPr>
            <p:nvPr/>
          </p:nvSpPr>
          <p:spPr bwMode="auto">
            <a:xfrm>
              <a:off x="4012" y="2674"/>
              <a:ext cx="239" cy="116"/>
            </a:xfrm>
            <a:custGeom>
              <a:avLst/>
              <a:gdLst>
                <a:gd name="T0" fmla="*/ 239 w 239"/>
                <a:gd name="T1" fmla="*/ 0 h 116"/>
                <a:gd name="T2" fmla="*/ 126 w 239"/>
                <a:gd name="T3" fmla="*/ 116 h 116"/>
                <a:gd name="T4" fmla="*/ 0 w 239"/>
                <a:gd name="T5" fmla="*/ 116 h 116"/>
              </a:gdLst>
              <a:ahLst/>
              <a:cxnLst>
                <a:cxn ang="0">
                  <a:pos x="T0" y="T1"/>
                </a:cxn>
                <a:cxn ang="0">
                  <a:pos x="T2" y="T3"/>
                </a:cxn>
                <a:cxn ang="0">
                  <a:pos x="T4" y="T5"/>
                </a:cxn>
              </a:cxnLst>
              <a:rect l="0" t="0" r="r" b="b"/>
              <a:pathLst>
                <a:path w="239" h="116">
                  <a:moveTo>
                    <a:pt x="239" y="0"/>
                  </a:moveTo>
                  <a:lnTo>
                    <a:pt x="126" y="116"/>
                  </a:lnTo>
                  <a:lnTo>
                    <a:pt x="0" y="116"/>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40" name="Freeform 32">
              <a:extLst>
                <a:ext uri="{FF2B5EF4-FFF2-40B4-BE49-F238E27FC236}">
                  <a16:creationId xmlns:a16="http://schemas.microsoft.com/office/drawing/2014/main" id="{DCA8F752-4759-6D4C-B130-E4FADD0EC7AC}"/>
                </a:ext>
              </a:extLst>
            </p:cNvPr>
            <p:cNvSpPr>
              <a:spLocks/>
            </p:cNvSpPr>
            <p:nvPr/>
          </p:nvSpPr>
          <p:spPr bwMode="auto">
            <a:xfrm>
              <a:off x="4047" y="2790"/>
              <a:ext cx="91" cy="224"/>
            </a:xfrm>
            <a:custGeom>
              <a:avLst/>
              <a:gdLst>
                <a:gd name="T0" fmla="*/ 91 w 91"/>
                <a:gd name="T1" fmla="*/ 0 h 224"/>
                <a:gd name="T2" fmla="*/ 91 w 91"/>
                <a:gd name="T3" fmla="*/ 136 h 224"/>
                <a:gd name="T4" fmla="*/ 0 w 91"/>
                <a:gd name="T5" fmla="*/ 224 h 224"/>
              </a:gdLst>
              <a:ahLst/>
              <a:cxnLst>
                <a:cxn ang="0">
                  <a:pos x="T0" y="T1"/>
                </a:cxn>
                <a:cxn ang="0">
                  <a:pos x="T2" y="T3"/>
                </a:cxn>
                <a:cxn ang="0">
                  <a:pos x="T4" y="T5"/>
                </a:cxn>
              </a:cxnLst>
              <a:rect l="0" t="0" r="r" b="b"/>
              <a:pathLst>
                <a:path w="91" h="224">
                  <a:moveTo>
                    <a:pt x="91" y="0"/>
                  </a:moveTo>
                  <a:lnTo>
                    <a:pt x="91" y="136"/>
                  </a:lnTo>
                  <a:lnTo>
                    <a:pt x="0" y="224"/>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41" name="Freeform 33">
              <a:extLst>
                <a:ext uri="{FF2B5EF4-FFF2-40B4-BE49-F238E27FC236}">
                  <a16:creationId xmlns:a16="http://schemas.microsoft.com/office/drawing/2014/main" id="{B5001C12-4EC6-CB47-82CB-41D841C7CEA3}"/>
                </a:ext>
              </a:extLst>
            </p:cNvPr>
            <p:cNvSpPr>
              <a:spLocks/>
            </p:cNvSpPr>
            <p:nvPr/>
          </p:nvSpPr>
          <p:spPr bwMode="auto">
            <a:xfrm>
              <a:off x="4610" y="2987"/>
              <a:ext cx="106" cy="231"/>
            </a:xfrm>
            <a:custGeom>
              <a:avLst/>
              <a:gdLst>
                <a:gd name="T0" fmla="*/ 0 w 106"/>
                <a:gd name="T1" fmla="*/ 0 h 231"/>
                <a:gd name="T2" fmla="*/ 106 w 106"/>
                <a:gd name="T3" fmla="*/ 115 h 231"/>
                <a:gd name="T4" fmla="*/ 0 w 106"/>
                <a:gd name="T5" fmla="*/ 231 h 231"/>
              </a:gdLst>
              <a:ahLst/>
              <a:cxnLst>
                <a:cxn ang="0">
                  <a:pos x="T0" y="T1"/>
                </a:cxn>
                <a:cxn ang="0">
                  <a:pos x="T2" y="T3"/>
                </a:cxn>
                <a:cxn ang="0">
                  <a:pos x="T4" y="T5"/>
                </a:cxn>
              </a:cxnLst>
              <a:rect l="0" t="0" r="r" b="b"/>
              <a:pathLst>
                <a:path w="106" h="231">
                  <a:moveTo>
                    <a:pt x="0" y="0"/>
                  </a:moveTo>
                  <a:lnTo>
                    <a:pt x="106" y="115"/>
                  </a:lnTo>
                  <a:lnTo>
                    <a:pt x="0" y="231"/>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42" name="Line 34">
              <a:extLst>
                <a:ext uri="{FF2B5EF4-FFF2-40B4-BE49-F238E27FC236}">
                  <a16:creationId xmlns:a16="http://schemas.microsoft.com/office/drawing/2014/main" id="{067874A8-85BD-0B47-8663-914FD89A0862}"/>
                </a:ext>
              </a:extLst>
            </p:cNvPr>
            <p:cNvSpPr>
              <a:spLocks noChangeShapeType="1"/>
            </p:cNvSpPr>
            <p:nvPr/>
          </p:nvSpPr>
          <p:spPr bwMode="auto">
            <a:xfrm>
              <a:off x="4364" y="2457"/>
              <a:ext cx="91" cy="95"/>
            </a:xfrm>
            <a:prstGeom prst="line">
              <a:avLst/>
            </a:prstGeom>
            <a:noFill/>
            <a:ln w="11113" cap="flat">
              <a:solidFill>
                <a:srgbClr val="86BC25"/>
              </a:solidFill>
              <a:prstDash val="solid"/>
              <a:miter lim="800000"/>
              <a:headEnd/>
              <a:tailEnd type="oval"/>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43" name="Freeform 35">
              <a:extLst>
                <a:ext uri="{FF2B5EF4-FFF2-40B4-BE49-F238E27FC236}">
                  <a16:creationId xmlns:a16="http://schemas.microsoft.com/office/drawing/2014/main" id="{64AF0AB6-E14D-A945-9356-9952DBFC09C9}"/>
                </a:ext>
              </a:extLst>
            </p:cNvPr>
            <p:cNvSpPr>
              <a:spLocks/>
            </p:cNvSpPr>
            <p:nvPr/>
          </p:nvSpPr>
          <p:spPr bwMode="auto">
            <a:xfrm>
              <a:off x="3934" y="1301"/>
              <a:ext cx="49" cy="150"/>
            </a:xfrm>
            <a:custGeom>
              <a:avLst/>
              <a:gdLst>
                <a:gd name="T0" fmla="*/ 49 w 49"/>
                <a:gd name="T1" fmla="*/ 0 h 150"/>
                <a:gd name="T2" fmla="*/ 0 w 49"/>
                <a:gd name="T3" fmla="*/ 48 h 150"/>
                <a:gd name="T4" fmla="*/ 0 w 49"/>
                <a:gd name="T5" fmla="*/ 116 h 150"/>
                <a:gd name="T6" fmla="*/ 35 w 49"/>
                <a:gd name="T7" fmla="*/ 150 h 150"/>
              </a:gdLst>
              <a:ahLst/>
              <a:cxnLst>
                <a:cxn ang="0">
                  <a:pos x="T0" y="T1"/>
                </a:cxn>
                <a:cxn ang="0">
                  <a:pos x="T2" y="T3"/>
                </a:cxn>
                <a:cxn ang="0">
                  <a:pos x="T4" y="T5"/>
                </a:cxn>
                <a:cxn ang="0">
                  <a:pos x="T6" y="T7"/>
                </a:cxn>
              </a:cxnLst>
              <a:rect l="0" t="0" r="r" b="b"/>
              <a:pathLst>
                <a:path w="49" h="150">
                  <a:moveTo>
                    <a:pt x="49" y="0"/>
                  </a:moveTo>
                  <a:lnTo>
                    <a:pt x="0" y="48"/>
                  </a:lnTo>
                  <a:lnTo>
                    <a:pt x="0" y="116"/>
                  </a:lnTo>
                  <a:lnTo>
                    <a:pt x="35" y="150"/>
                  </a:lnTo>
                </a:path>
              </a:pathLst>
            </a:custGeom>
            <a:noFill/>
            <a:ln w="11113" cap="flat">
              <a:solidFill>
                <a:srgbClr val="86BC25"/>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145" name="Group 144">
            <a:extLst>
              <a:ext uri="{FF2B5EF4-FFF2-40B4-BE49-F238E27FC236}">
                <a16:creationId xmlns:a16="http://schemas.microsoft.com/office/drawing/2014/main" id="{BD79FFAE-D316-8C40-9713-F528AB34FDD1}"/>
              </a:ext>
            </a:extLst>
          </p:cNvPr>
          <p:cNvGrpSpPr/>
          <p:nvPr/>
        </p:nvGrpSpPr>
        <p:grpSpPr>
          <a:xfrm>
            <a:off x="7280721" y="2145914"/>
            <a:ext cx="1262060" cy="528173"/>
            <a:chOff x="6435796" y="3049357"/>
            <a:chExt cx="3845966" cy="449748"/>
          </a:xfrm>
        </p:grpSpPr>
        <p:cxnSp>
          <p:nvCxnSpPr>
            <p:cNvPr id="146" name="Straight Connector 145">
              <a:extLst>
                <a:ext uri="{FF2B5EF4-FFF2-40B4-BE49-F238E27FC236}">
                  <a16:creationId xmlns:a16="http://schemas.microsoft.com/office/drawing/2014/main" id="{3854AD4C-A717-3B43-8031-14939AD26D90}"/>
                </a:ext>
              </a:extLst>
            </p:cNvPr>
            <p:cNvCxnSpPr/>
            <p:nvPr/>
          </p:nvCxnSpPr>
          <p:spPr>
            <a:xfrm flipH="1">
              <a:off x="8707735" y="3049357"/>
              <a:ext cx="1574027" cy="0"/>
            </a:xfrm>
            <a:prstGeom prst="line">
              <a:avLst/>
            </a:prstGeom>
            <a:noFill/>
            <a:ln w="9525" cap="rnd" cmpd="sng" algn="ctr">
              <a:solidFill>
                <a:srgbClr val="0070C0"/>
              </a:solidFill>
              <a:prstDash val="sysDash"/>
              <a:headEnd type="oval"/>
              <a:tailEnd type="none"/>
            </a:ln>
            <a:effectLst/>
          </p:spPr>
        </p:cxnSp>
        <p:cxnSp>
          <p:nvCxnSpPr>
            <p:cNvPr id="147" name="Straight Connector 146">
              <a:extLst>
                <a:ext uri="{FF2B5EF4-FFF2-40B4-BE49-F238E27FC236}">
                  <a16:creationId xmlns:a16="http://schemas.microsoft.com/office/drawing/2014/main" id="{A16684C7-4B37-154A-96BC-52EF9BD3CDAA}"/>
                </a:ext>
              </a:extLst>
            </p:cNvPr>
            <p:cNvCxnSpPr>
              <a:cxnSpLocks/>
            </p:cNvCxnSpPr>
            <p:nvPr/>
          </p:nvCxnSpPr>
          <p:spPr>
            <a:xfrm flipH="1">
              <a:off x="6435796" y="3499105"/>
              <a:ext cx="1732409" cy="0"/>
            </a:xfrm>
            <a:prstGeom prst="line">
              <a:avLst/>
            </a:prstGeom>
            <a:noFill/>
            <a:ln w="9525" cap="rnd" cmpd="sng" algn="ctr">
              <a:solidFill>
                <a:srgbClr val="0070C0"/>
              </a:solidFill>
              <a:prstDash val="sysDash"/>
              <a:headEnd type="none"/>
              <a:tailEnd type="none"/>
            </a:ln>
            <a:effectLst/>
          </p:spPr>
        </p:cxnSp>
        <p:cxnSp>
          <p:nvCxnSpPr>
            <p:cNvPr id="148" name="Straight Connector 147">
              <a:extLst>
                <a:ext uri="{FF2B5EF4-FFF2-40B4-BE49-F238E27FC236}">
                  <a16:creationId xmlns:a16="http://schemas.microsoft.com/office/drawing/2014/main" id="{9E3C5B68-B5A7-FF49-9F50-247D3417ADE9}"/>
                </a:ext>
              </a:extLst>
            </p:cNvPr>
            <p:cNvCxnSpPr>
              <a:cxnSpLocks/>
            </p:cNvCxnSpPr>
            <p:nvPr/>
          </p:nvCxnSpPr>
          <p:spPr>
            <a:xfrm flipV="1">
              <a:off x="8168202" y="3049357"/>
              <a:ext cx="539533" cy="449748"/>
            </a:xfrm>
            <a:prstGeom prst="line">
              <a:avLst/>
            </a:prstGeom>
            <a:noFill/>
            <a:ln w="9525" cap="rnd" cmpd="sng" algn="ctr">
              <a:solidFill>
                <a:srgbClr val="0070C0"/>
              </a:solidFill>
              <a:prstDash val="sysDash"/>
              <a:headEnd type="none"/>
              <a:tailEnd type="none"/>
            </a:ln>
            <a:effectLst/>
          </p:spPr>
        </p:cxnSp>
      </p:grpSp>
      <p:grpSp>
        <p:nvGrpSpPr>
          <p:cNvPr id="149" name="Group 148">
            <a:extLst>
              <a:ext uri="{FF2B5EF4-FFF2-40B4-BE49-F238E27FC236}">
                <a16:creationId xmlns:a16="http://schemas.microsoft.com/office/drawing/2014/main" id="{6BCDF952-AAAE-1E42-B08B-27D86CBAD72C}"/>
              </a:ext>
            </a:extLst>
          </p:cNvPr>
          <p:cNvGrpSpPr/>
          <p:nvPr/>
        </p:nvGrpSpPr>
        <p:grpSpPr>
          <a:xfrm flipV="1">
            <a:off x="7280722" y="3831069"/>
            <a:ext cx="1257643" cy="528173"/>
            <a:chOff x="6449256" y="3049357"/>
            <a:chExt cx="3832506" cy="449748"/>
          </a:xfrm>
        </p:grpSpPr>
        <p:cxnSp>
          <p:nvCxnSpPr>
            <p:cNvPr id="150" name="Straight Connector 149">
              <a:extLst>
                <a:ext uri="{FF2B5EF4-FFF2-40B4-BE49-F238E27FC236}">
                  <a16:creationId xmlns:a16="http://schemas.microsoft.com/office/drawing/2014/main" id="{EC41165B-A423-2A4A-9DA5-75A1BA8B0F71}"/>
                </a:ext>
              </a:extLst>
            </p:cNvPr>
            <p:cNvCxnSpPr/>
            <p:nvPr/>
          </p:nvCxnSpPr>
          <p:spPr>
            <a:xfrm flipH="1">
              <a:off x="8707735" y="3049357"/>
              <a:ext cx="1574027" cy="0"/>
            </a:xfrm>
            <a:prstGeom prst="line">
              <a:avLst/>
            </a:prstGeom>
            <a:noFill/>
            <a:ln w="9525" cap="rnd" cmpd="sng" algn="ctr">
              <a:solidFill>
                <a:srgbClr val="0070C0"/>
              </a:solidFill>
              <a:prstDash val="sysDash"/>
              <a:headEnd type="oval"/>
              <a:tailEnd type="none"/>
            </a:ln>
            <a:effectLst/>
          </p:spPr>
        </p:cxnSp>
        <p:cxnSp>
          <p:nvCxnSpPr>
            <p:cNvPr id="151" name="Straight Connector 150">
              <a:extLst>
                <a:ext uri="{FF2B5EF4-FFF2-40B4-BE49-F238E27FC236}">
                  <a16:creationId xmlns:a16="http://schemas.microsoft.com/office/drawing/2014/main" id="{E5EDF3F6-AFED-5C47-99C7-4C50617544E9}"/>
                </a:ext>
              </a:extLst>
            </p:cNvPr>
            <p:cNvCxnSpPr>
              <a:cxnSpLocks/>
            </p:cNvCxnSpPr>
            <p:nvPr/>
          </p:nvCxnSpPr>
          <p:spPr>
            <a:xfrm flipH="1" flipV="1">
              <a:off x="6449256" y="3499105"/>
              <a:ext cx="1718951" cy="0"/>
            </a:xfrm>
            <a:prstGeom prst="line">
              <a:avLst/>
            </a:prstGeom>
            <a:noFill/>
            <a:ln w="9525" cap="rnd" cmpd="sng" algn="ctr">
              <a:solidFill>
                <a:srgbClr val="0070C0"/>
              </a:solidFill>
              <a:prstDash val="sysDash"/>
              <a:headEnd type="none"/>
              <a:tailEnd type="none"/>
            </a:ln>
            <a:effectLst/>
          </p:spPr>
        </p:cxnSp>
        <p:cxnSp>
          <p:nvCxnSpPr>
            <p:cNvPr id="152" name="Straight Connector 151">
              <a:extLst>
                <a:ext uri="{FF2B5EF4-FFF2-40B4-BE49-F238E27FC236}">
                  <a16:creationId xmlns:a16="http://schemas.microsoft.com/office/drawing/2014/main" id="{D1A22F93-175A-A84E-BC29-A8BCDED51147}"/>
                </a:ext>
              </a:extLst>
            </p:cNvPr>
            <p:cNvCxnSpPr>
              <a:cxnSpLocks/>
            </p:cNvCxnSpPr>
            <p:nvPr/>
          </p:nvCxnSpPr>
          <p:spPr>
            <a:xfrm flipV="1">
              <a:off x="8168202" y="3049357"/>
              <a:ext cx="539533" cy="449748"/>
            </a:xfrm>
            <a:prstGeom prst="line">
              <a:avLst/>
            </a:prstGeom>
            <a:noFill/>
            <a:ln w="9525" cap="rnd" cmpd="sng" algn="ctr">
              <a:solidFill>
                <a:srgbClr val="0070C0"/>
              </a:solidFill>
              <a:prstDash val="sysDash"/>
              <a:headEnd type="none"/>
              <a:tailEnd type="none"/>
            </a:ln>
            <a:effectLst/>
          </p:spPr>
        </p:cxnSp>
      </p:grpSp>
      <p:cxnSp>
        <p:nvCxnSpPr>
          <p:cNvPr id="153" name="Straight Arrow Connector 152">
            <a:extLst>
              <a:ext uri="{FF2B5EF4-FFF2-40B4-BE49-F238E27FC236}">
                <a16:creationId xmlns:a16="http://schemas.microsoft.com/office/drawing/2014/main" id="{6BB8D130-49FD-4345-9CF0-70446E8159AA}"/>
              </a:ext>
            </a:extLst>
          </p:cNvPr>
          <p:cNvCxnSpPr>
            <a:cxnSpLocks/>
            <a:stCxn id="44" idx="1"/>
          </p:cNvCxnSpPr>
          <p:nvPr/>
        </p:nvCxnSpPr>
        <p:spPr>
          <a:xfrm flipH="1" flipV="1">
            <a:off x="7368622" y="3244789"/>
            <a:ext cx="1169742" cy="3"/>
          </a:xfrm>
          <a:prstGeom prst="straightConnector1">
            <a:avLst/>
          </a:prstGeom>
          <a:noFill/>
          <a:ln w="9525" cap="rnd" cmpd="sng" algn="ctr">
            <a:solidFill>
              <a:srgbClr val="0070C0"/>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grpSp>
        <p:nvGrpSpPr>
          <p:cNvPr id="154" name="Group 153">
            <a:extLst>
              <a:ext uri="{FF2B5EF4-FFF2-40B4-BE49-F238E27FC236}">
                <a16:creationId xmlns:a16="http://schemas.microsoft.com/office/drawing/2014/main" id="{C40AB4BA-0848-7A4B-A871-7B8E0B75A9E6}"/>
              </a:ext>
            </a:extLst>
          </p:cNvPr>
          <p:cNvGrpSpPr/>
          <p:nvPr/>
        </p:nvGrpSpPr>
        <p:grpSpPr>
          <a:xfrm flipH="1">
            <a:off x="3660171" y="2145914"/>
            <a:ext cx="1262060" cy="528173"/>
            <a:chOff x="6435796" y="3049357"/>
            <a:chExt cx="3845966" cy="449748"/>
          </a:xfrm>
        </p:grpSpPr>
        <p:cxnSp>
          <p:nvCxnSpPr>
            <p:cNvPr id="155" name="Straight Connector 154">
              <a:extLst>
                <a:ext uri="{FF2B5EF4-FFF2-40B4-BE49-F238E27FC236}">
                  <a16:creationId xmlns:a16="http://schemas.microsoft.com/office/drawing/2014/main" id="{39E30812-48B5-6549-96CD-1BFA91FBF25E}"/>
                </a:ext>
              </a:extLst>
            </p:cNvPr>
            <p:cNvCxnSpPr/>
            <p:nvPr/>
          </p:nvCxnSpPr>
          <p:spPr>
            <a:xfrm flipH="1">
              <a:off x="8707735" y="3049357"/>
              <a:ext cx="1574027" cy="0"/>
            </a:xfrm>
            <a:prstGeom prst="line">
              <a:avLst/>
            </a:prstGeom>
            <a:noFill/>
            <a:ln w="9525" cap="rnd" cmpd="sng" algn="ctr">
              <a:solidFill>
                <a:srgbClr val="92D050"/>
              </a:solidFill>
              <a:prstDash val="sysDash"/>
              <a:headEnd type="oval"/>
              <a:tailEnd type="none"/>
            </a:ln>
            <a:effectLst/>
          </p:spPr>
        </p:cxnSp>
        <p:cxnSp>
          <p:nvCxnSpPr>
            <p:cNvPr id="156" name="Straight Connector 155">
              <a:extLst>
                <a:ext uri="{FF2B5EF4-FFF2-40B4-BE49-F238E27FC236}">
                  <a16:creationId xmlns:a16="http://schemas.microsoft.com/office/drawing/2014/main" id="{BCBF3140-82A6-C34A-8C6A-C7060B574FEA}"/>
                </a:ext>
              </a:extLst>
            </p:cNvPr>
            <p:cNvCxnSpPr>
              <a:cxnSpLocks/>
            </p:cNvCxnSpPr>
            <p:nvPr/>
          </p:nvCxnSpPr>
          <p:spPr>
            <a:xfrm flipH="1">
              <a:off x="6435796" y="3499105"/>
              <a:ext cx="1732409" cy="0"/>
            </a:xfrm>
            <a:prstGeom prst="line">
              <a:avLst/>
            </a:prstGeom>
            <a:noFill/>
            <a:ln w="9525" cap="rnd" cmpd="sng" algn="ctr">
              <a:solidFill>
                <a:srgbClr val="92D050"/>
              </a:solidFill>
              <a:prstDash val="sysDash"/>
              <a:headEnd type="none"/>
              <a:tailEnd type="none"/>
            </a:ln>
            <a:effectLst/>
          </p:spPr>
        </p:cxnSp>
        <p:cxnSp>
          <p:nvCxnSpPr>
            <p:cNvPr id="157" name="Straight Connector 156">
              <a:extLst>
                <a:ext uri="{FF2B5EF4-FFF2-40B4-BE49-F238E27FC236}">
                  <a16:creationId xmlns:a16="http://schemas.microsoft.com/office/drawing/2014/main" id="{9745FED8-1E79-684B-B445-85A370E56A88}"/>
                </a:ext>
              </a:extLst>
            </p:cNvPr>
            <p:cNvCxnSpPr>
              <a:cxnSpLocks/>
            </p:cNvCxnSpPr>
            <p:nvPr/>
          </p:nvCxnSpPr>
          <p:spPr>
            <a:xfrm flipV="1">
              <a:off x="8168202" y="3049357"/>
              <a:ext cx="539533" cy="449748"/>
            </a:xfrm>
            <a:prstGeom prst="line">
              <a:avLst/>
            </a:prstGeom>
            <a:noFill/>
            <a:ln w="9525" cap="rnd" cmpd="sng" algn="ctr">
              <a:solidFill>
                <a:srgbClr val="92D050"/>
              </a:solidFill>
              <a:prstDash val="sysDash"/>
              <a:headEnd type="none"/>
              <a:tailEnd type="none"/>
            </a:ln>
            <a:effectLst/>
          </p:spPr>
        </p:cxnSp>
      </p:grpSp>
      <p:grpSp>
        <p:nvGrpSpPr>
          <p:cNvPr id="158" name="Group 157">
            <a:extLst>
              <a:ext uri="{FF2B5EF4-FFF2-40B4-BE49-F238E27FC236}">
                <a16:creationId xmlns:a16="http://schemas.microsoft.com/office/drawing/2014/main" id="{70683F75-97AD-FF4F-A1E6-E5A8C86883B0}"/>
              </a:ext>
            </a:extLst>
          </p:cNvPr>
          <p:cNvGrpSpPr/>
          <p:nvPr/>
        </p:nvGrpSpPr>
        <p:grpSpPr>
          <a:xfrm flipH="1" flipV="1">
            <a:off x="3643047" y="3831069"/>
            <a:ext cx="1271193" cy="528173"/>
            <a:chOff x="6407963" y="3049357"/>
            <a:chExt cx="3873799" cy="449748"/>
          </a:xfrm>
        </p:grpSpPr>
        <p:cxnSp>
          <p:nvCxnSpPr>
            <p:cNvPr id="159" name="Straight Connector 158">
              <a:extLst>
                <a:ext uri="{FF2B5EF4-FFF2-40B4-BE49-F238E27FC236}">
                  <a16:creationId xmlns:a16="http://schemas.microsoft.com/office/drawing/2014/main" id="{F145FC1F-AA6B-FC44-8628-56D8A09051A3}"/>
                </a:ext>
              </a:extLst>
            </p:cNvPr>
            <p:cNvCxnSpPr/>
            <p:nvPr/>
          </p:nvCxnSpPr>
          <p:spPr>
            <a:xfrm flipH="1">
              <a:off x="8707735" y="3049357"/>
              <a:ext cx="1574027" cy="0"/>
            </a:xfrm>
            <a:prstGeom prst="line">
              <a:avLst/>
            </a:prstGeom>
            <a:noFill/>
            <a:ln w="9525" cap="rnd" cmpd="sng" algn="ctr">
              <a:solidFill>
                <a:srgbClr val="92D050"/>
              </a:solidFill>
              <a:prstDash val="sysDash"/>
              <a:headEnd type="oval"/>
              <a:tailEnd type="none"/>
            </a:ln>
            <a:effectLst/>
          </p:spPr>
        </p:cxnSp>
        <p:cxnSp>
          <p:nvCxnSpPr>
            <p:cNvPr id="160" name="Straight Connector 159">
              <a:extLst>
                <a:ext uri="{FF2B5EF4-FFF2-40B4-BE49-F238E27FC236}">
                  <a16:creationId xmlns:a16="http://schemas.microsoft.com/office/drawing/2014/main" id="{1B3EA6D3-BA44-9640-ABE8-D01C976C3BD2}"/>
                </a:ext>
              </a:extLst>
            </p:cNvPr>
            <p:cNvCxnSpPr>
              <a:cxnSpLocks/>
            </p:cNvCxnSpPr>
            <p:nvPr/>
          </p:nvCxnSpPr>
          <p:spPr>
            <a:xfrm flipH="1" flipV="1">
              <a:off x="6407963" y="3499105"/>
              <a:ext cx="1760242" cy="0"/>
            </a:xfrm>
            <a:prstGeom prst="line">
              <a:avLst/>
            </a:prstGeom>
            <a:noFill/>
            <a:ln w="9525" cap="rnd" cmpd="sng" algn="ctr">
              <a:solidFill>
                <a:srgbClr val="92D050"/>
              </a:solidFill>
              <a:prstDash val="sysDash"/>
              <a:headEnd type="none"/>
              <a:tailEnd type="none"/>
            </a:ln>
            <a:effectLst/>
          </p:spPr>
        </p:cxnSp>
        <p:cxnSp>
          <p:nvCxnSpPr>
            <p:cNvPr id="161" name="Straight Connector 160">
              <a:extLst>
                <a:ext uri="{FF2B5EF4-FFF2-40B4-BE49-F238E27FC236}">
                  <a16:creationId xmlns:a16="http://schemas.microsoft.com/office/drawing/2014/main" id="{D1BA80C2-A861-674B-BA15-002B009013A2}"/>
                </a:ext>
              </a:extLst>
            </p:cNvPr>
            <p:cNvCxnSpPr>
              <a:cxnSpLocks/>
            </p:cNvCxnSpPr>
            <p:nvPr/>
          </p:nvCxnSpPr>
          <p:spPr>
            <a:xfrm flipV="1">
              <a:off x="8168202" y="3049357"/>
              <a:ext cx="539533" cy="449748"/>
            </a:xfrm>
            <a:prstGeom prst="line">
              <a:avLst/>
            </a:prstGeom>
            <a:noFill/>
            <a:ln w="9525" cap="rnd" cmpd="sng" algn="ctr">
              <a:solidFill>
                <a:srgbClr val="92D050"/>
              </a:solidFill>
              <a:prstDash val="sysDash"/>
              <a:headEnd type="none"/>
              <a:tailEnd type="none"/>
            </a:ln>
            <a:effectLst/>
          </p:spPr>
        </p:cxnSp>
      </p:grpSp>
      <p:cxnSp>
        <p:nvCxnSpPr>
          <p:cNvPr id="162" name="Straight Arrow Connector 161">
            <a:extLst>
              <a:ext uri="{FF2B5EF4-FFF2-40B4-BE49-F238E27FC236}">
                <a16:creationId xmlns:a16="http://schemas.microsoft.com/office/drawing/2014/main" id="{9D7FE698-8A25-AF48-97C1-DEEBAB9AB714}"/>
              </a:ext>
            </a:extLst>
          </p:cNvPr>
          <p:cNvCxnSpPr>
            <a:cxnSpLocks/>
            <a:stCxn id="42" idx="3"/>
          </p:cNvCxnSpPr>
          <p:nvPr/>
        </p:nvCxnSpPr>
        <p:spPr>
          <a:xfrm flipV="1">
            <a:off x="3660171" y="3244789"/>
            <a:ext cx="1159182" cy="2"/>
          </a:xfrm>
          <a:prstGeom prst="straightConnector1">
            <a:avLst/>
          </a:prstGeom>
          <a:noFill/>
          <a:ln w="9525" cap="rnd" cmpd="sng" algn="ctr">
            <a:solidFill>
              <a:srgbClr val="92D050"/>
            </a:solidFill>
            <a:prstDash val="sysDash"/>
            <a:headEnd type="oval"/>
            <a:tailEnd type="none"/>
          </a:ln>
          <a:effectLst/>
          <a:extLst>
            <a:ext uri="{909E8E84-426E-40DD-AFC4-6F175D3DCCD1}">
              <a14:hiddenFill xmlns:a14="http://schemas.microsoft.com/office/drawing/2010/main">
                <a:solidFill>
                  <a:srgbClr val="FFFFFF"/>
                </a:solidFill>
              </a14:hiddenFill>
            </a:ext>
          </a:extLst>
        </p:spPr>
      </p:cxnSp>
      <p:sp>
        <p:nvSpPr>
          <p:cNvPr id="163" name="Round Same Side Corner Rectangle 30">
            <a:extLst>
              <a:ext uri="{FF2B5EF4-FFF2-40B4-BE49-F238E27FC236}">
                <a16:creationId xmlns:a16="http://schemas.microsoft.com/office/drawing/2014/main" id="{7F20B8E5-38B9-874E-801A-0C94EA39DC03}"/>
              </a:ext>
            </a:extLst>
          </p:cNvPr>
          <p:cNvSpPr/>
          <p:nvPr/>
        </p:nvSpPr>
        <p:spPr bwMode="gray">
          <a:xfrm>
            <a:off x="2071713" y="1114312"/>
            <a:ext cx="3400142" cy="391644"/>
          </a:xfrm>
          <a:prstGeom prst="round2SameRect">
            <a:avLst>
              <a:gd name="adj1" fmla="val 24620"/>
              <a:gd name="adj2" fmla="val 0"/>
            </a:avLst>
          </a:prstGeom>
          <a:solidFill>
            <a:srgbClr val="86BC25"/>
          </a:solidFill>
          <a:ln w="19050" algn="ctr">
            <a:noFill/>
            <a:miter lim="800000"/>
            <a:headEnd/>
            <a:tailEnd/>
          </a:ln>
        </p:spPr>
        <p:txBody>
          <a:bodyPr wrap="square" lIns="45364" tIns="45364" rIns="45364"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5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ediante cuestionario a proveedores en el extranjero</a:t>
            </a:r>
          </a:p>
        </p:txBody>
      </p:sp>
      <p:sp>
        <p:nvSpPr>
          <p:cNvPr id="164" name="Round Same Side Corner Rectangle 30">
            <a:extLst>
              <a:ext uri="{FF2B5EF4-FFF2-40B4-BE49-F238E27FC236}">
                <a16:creationId xmlns:a16="http://schemas.microsoft.com/office/drawing/2014/main" id="{0EE35670-FFF5-8643-9393-2B74118E3F36}"/>
              </a:ext>
            </a:extLst>
          </p:cNvPr>
          <p:cNvSpPr/>
          <p:nvPr/>
        </p:nvSpPr>
        <p:spPr bwMode="gray">
          <a:xfrm>
            <a:off x="6734848" y="1118082"/>
            <a:ext cx="3190088" cy="391644"/>
          </a:xfrm>
          <a:prstGeom prst="round2SameRect">
            <a:avLst>
              <a:gd name="adj1" fmla="val 24620"/>
              <a:gd name="adj2" fmla="val 0"/>
            </a:avLst>
          </a:prstGeom>
          <a:solidFill>
            <a:srgbClr val="00A3E0"/>
          </a:solidFill>
          <a:ln w="19050" algn="ctr">
            <a:noFill/>
            <a:miter lim="800000"/>
            <a:headEnd/>
            <a:tailEnd/>
          </a:ln>
        </p:spPr>
        <p:txBody>
          <a:bodyPr wrap="square" lIns="45364" tIns="45364" rIns="45364" bIns="45364" rtlCol="0" anchor="ctr"/>
          <a:lstStyle/>
          <a:p>
            <a:pPr marL="0" marR="0" lvl="0" indent="0" algn="ctr" defTabSz="401852" rtl="0" eaLnBrk="1" fontAlgn="auto" latinLnBrk="0" hangingPunct="1">
              <a:lnSpc>
                <a:spcPts val="975"/>
              </a:lnSpc>
              <a:spcBef>
                <a:spcPts val="0"/>
              </a:spcBef>
              <a:spcAft>
                <a:spcPts val="0"/>
              </a:spcAft>
              <a:buClrTx/>
              <a:buSzTx/>
              <a:buFontTx/>
              <a:buNone/>
              <a:tabLst/>
              <a:defRPr/>
            </a:pPr>
            <a:r>
              <a:rPr kumimoji="0" lang="es-MX" sz="105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ediante visita de inspección a lugar de origen</a:t>
            </a:r>
          </a:p>
        </p:txBody>
      </p:sp>
      <p:sp>
        <p:nvSpPr>
          <p:cNvPr id="165" name="Freeform 927">
            <a:extLst>
              <a:ext uri="{FF2B5EF4-FFF2-40B4-BE49-F238E27FC236}">
                <a16:creationId xmlns:a16="http://schemas.microsoft.com/office/drawing/2014/main" id="{B7451C38-35A6-C54D-957E-755428ED5EAE}"/>
              </a:ext>
            </a:extLst>
          </p:cNvPr>
          <p:cNvSpPr>
            <a:spLocks noEditPoints="1"/>
          </p:cNvSpPr>
          <p:nvPr/>
        </p:nvSpPr>
        <p:spPr bwMode="auto">
          <a:xfrm>
            <a:off x="1844998" y="1203361"/>
            <a:ext cx="217408" cy="216275"/>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0" cap="none" spc="0" normalizeH="0" baseline="0" noProof="0">
              <a:ln>
                <a:noFill/>
              </a:ln>
              <a:solidFill>
                <a:prstClr val="black"/>
              </a:solidFill>
              <a:effectLst/>
              <a:uLnTx/>
              <a:uFillTx/>
              <a:latin typeface="Calibri Light"/>
              <a:ea typeface="+mn-ea"/>
              <a:cs typeface="+mn-cs"/>
            </a:endParaRPr>
          </a:p>
        </p:txBody>
      </p:sp>
      <p:sp>
        <p:nvSpPr>
          <p:cNvPr id="166" name="Freeform 464">
            <a:extLst>
              <a:ext uri="{FF2B5EF4-FFF2-40B4-BE49-F238E27FC236}">
                <a16:creationId xmlns:a16="http://schemas.microsoft.com/office/drawing/2014/main" id="{4F91F6EB-99E8-5B4A-AF11-4922DC4E5334}"/>
              </a:ext>
            </a:extLst>
          </p:cNvPr>
          <p:cNvSpPr>
            <a:spLocks noEditPoints="1"/>
          </p:cNvSpPr>
          <p:nvPr/>
        </p:nvSpPr>
        <p:spPr bwMode="auto">
          <a:xfrm>
            <a:off x="9995535" y="1243078"/>
            <a:ext cx="252263" cy="17610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ysClr val="windowText" lastClr="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0" cap="none" spc="0" normalizeH="0" baseline="0" noProof="0">
              <a:ln>
                <a:noFill/>
              </a:ln>
              <a:solidFill>
                <a:prstClr val="black"/>
              </a:solidFill>
              <a:effectLst/>
              <a:uLnTx/>
              <a:uFillTx/>
              <a:latin typeface="Calibri Light"/>
              <a:ea typeface="+mn-ea"/>
              <a:cs typeface="+mn-cs"/>
            </a:endParaRPr>
          </a:p>
        </p:txBody>
      </p:sp>
      <p:cxnSp>
        <p:nvCxnSpPr>
          <p:cNvPr id="167" name="Connector: Elbow 47">
            <a:extLst>
              <a:ext uri="{FF2B5EF4-FFF2-40B4-BE49-F238E27FC236}">
                <a16:creationId xmlns:a16="http://schemas.microsoft.com/office/drawing/2014/main" id="{3DC90C3B-62C6-3540-BE8E-173B21A2D722}"/>
              </a:ext>
            </a:extLst>
          </p:cNvPr>
          <p:cNvCxnSpPr>
            <a:cxnSpLocks/>
          </p:cNvCxnSpPr>
          <p:nvPr/>
        </p:nvCxnSpPr>
        <p:spPr>
          <a:xfrm>
            <a:off x="5491107" y="1296676"/>
            <a:ext cx="333617" cy="376637"/>
          </a:xfrm>
          <a:prstGeom prst="bentConnector3">
            <a:avLst>
              <a:gd name="adj1" fmla="val 100302"/>
            </a:avLst>
          </a:prstGeom>
          <a:noFill/>
          <a:ln w="9525" cap="flat" cmpd="sng" algn="ctr">
            <a:solidFill>
              <a:srgbClr val="86BC25"/>
            </a:solidFill>
            <a:prstDash val="solid"/>
            <a:headEnd type="oval"/>
          </a:ln>
          <a:effectLst/>
        </p:spPr>
      </p:cxnSp>
      <p:cxnSp>
        <p:nvCxnSpPr>
          <p:cNvPr id="168" name="Connector: Elbow 515">
            <a:extLst>
              <a:ext uri="{FF2B5EF4-FFF2-40B4-BE49-F238E27FC236}">
                <a16:creationId xmlns:a16="http://schemas.microsoft.com/office/drawing/2014/main" id="{EB14F99E-7DF3-714C-A1D0-B4B311027419}"/>
              </a:ext>
            </a:extLst>
          </p:cNvPr>
          <p:cNvCxnSpPr>
            <a:cxnSpLocks/>
          </p:cNvCxnSpPr>
          <p:nvPr/>
        </p:nvCxnSpPr>
        <p:spPr>
          <a:xfrm flipH="1">
            <a:off x="6375667" y="1306297"/>
            <a:ext cx="333617" cy="376637"/>
          </a:xfrm>
          <a:prstGeom prst="bentConnector3">
            <a:avLst>
              <a:gd name="adj1" fmla="val 100302"/>
            </a:avLst>
          </a:prstGeom>
          <a:noFill/>
          <a:ln w="9525" cap="flat" cmpd="sng" algn="ctr">
            <a:solidFill>
              <a:srgbClr val="00A3E0"/>
            </a:solidFill>
            <a:prstDash val="solid"/>
            <a:headEnd type="oval"/>
          </a:ln>
          <a:effectLst/>
        </p:spPr>
      </p:cxnSp>
      <p:sp>
        <p:nvSpPr>
          <p:cNvPr id="170" name="Hexagon 10">
            <a:extLst>
              <a:ext uri="{FF2B5EF4-FFF2-40B4-BE49-F238E27FC236}">
                <a16:creationId xmlns:a16="http://schemas.microsoft.com/office/drawing/2014/main" id="{4ED4AE5B-720C-45AB-AA9B-8BBC3938757E}"/>
              </a:ext>
            </a:extLst>
          </p:cNvPr>
          <p:cNvSpPr/>
          <p:nvPr/>
        </p:nvSpPr>
        <p:spPr bwMode="gray">
          <a:xfrm rot="5400000">
            <a:off x="3780215" y="4950448"/>
            <a:ext cx="1285695" cy="1116150"/>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171" name="Hexagon 170">
            <a:extLst>
              <a:ext uri="{FF2B5EF4-FFF2-40B4-BE49-F238E27FC236}">
                <a16:creationId xmlns:a16="http://schemas.microsoft.com/office/drawing/2014/main" id="{BAB72693-D087-4056-8E36-8053277E574E}"/>
              </a:ext>
            </a:extLst>
          </p:cNvPr>
          <p:cNvSpPr/>
          <p:nvPr/>
        </p:nvSpPr>
        <p:spPr bwMode="gray">
          <a:xfrm rot="16200000">
            <a:off x="3876239" y="5045377"/>
            <a:ext cx="1084781" cy="935156"/>
          </a:xfrm>
          <a:prstGeom prst="hexagon">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72" name="Straight Connector 171">
            <a:extLst>
              <a:ext uri="{FF2B5EF4-FFF2-40B4-BE49-F238E27FC236}">
                <a16:creationId xmlns:a16="http://schemas.microsoft.com/office/drawing/2014/main" id="{C374A749-0585-4784-9822-B5042377F5C8}"/>
              </a:ext>
            </a:extLst>
          </p:cNvPr>
          <p:cNvCxnSpPr>
            <a:cxnSpLocks/>
          </p:cNvCxnSpPr>
          <p:nvPr/>
        </p:nvCxnSpPr>
        <p:spPr>
          <a:xfrm flipV="1">
            <a:off x="4981252" y="5636617"/>
            <a:ext cx="474682" cy="2022"/>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173" name="Freeform 54">
            <a:extLst>
              <a:ext uri="{FF2B5EF4-FFF2-40B4-BE49-F238E27FC236}">
                <a16:creationId xmlns:a16="http://schemas.microsoft.com/office/drawing/2014/main" id="{DE0EF347-D103-4C4E-A0A4-BD2FE5B095FF}"/>
              </a:ext>
            </a:extLst>
          </p:cNvPr>
          <p:cNvSpPr>
            <a:spLocks noEditPoints="1"/>
          </p:cNvSpPr>
          <p:nvPr/>
        </p:nvSpPr>
        <p:spPr bwMode="auto">
          <a:xfrm>
            <a:off x="4182585" y="5279288"/>
            <a:ext cx="463222" cy="46541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174" name="Hexagon 58">
            <a:extLst>
              <a:ext uri="{FF2B5EF4-FFF2-40B4-BE49-F238E27FC236}">
                <a16:creationId xmlns:a16="http://schemas.microsoft.com/office/drawing/2014/main" id="{4756334F-4805-44ED-AAC1-318B70ABA3FE}"/>
              </a:ext>
            </a:extLst>
          </p:cNvPr>
          <p:cNvSpPr/>
          <p:nvPr/>
        </p:nvSpPr>
        <p:spPr bwMode="gray">
          <a:xfrm rot="16200000">
            <a:off x="4281620" y="5584023"/>
            <a:ext cx="282885" cy="113153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75" name="Group 174"/>
          <p:cNvGrpSpPr/>
          <p:nvPr/>
        </p:nvGrpSpPr>
        <p:grpSpPr>
          <a:xfrm>
            <a:off x="5664662" y="5026155"/>
            <a:ext cx="3094130" cy="1229939"/>
            <a:chOff x="7873358" y="978253"/>
            <a:chExt cx="1097803" cy="507361"/>
          </a:xfrm>
        </p:grpSpPr>
        <p:sp>
          <p:nvSpPr>
            <p:cNvPr id="176" name="Rectangle 175">
              <a:extLst>
                <a:ext uri="{FF2B5EF4-FFF2-40B4-BE49-F238E27FC236}">
                  <a16:creationId xmlns:a16="http://schemas.microsoft.com/office/drawing/2014/main" id="{FF36E524-1298-445B-81CC-5F5266C44617}"/>
                </a:ext>
              </a:extLst>
            </p:cNvPr>
            <p:cNvSpPr/>
            <p:nvPr/>
          </p:nvSpPr>
          <p:spPr bwMode="gray">
            <a:xfrm>
              <a:off x="7873358" y="978253"/>
              <a:ext cx="1097803" cy="494752"/>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9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mn-cs"/>
                </a:rPr>
                <a:t>Resolución Anticipada</a:t>
              </a:r>
            </a:p>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e puede solicita en materia de origen, respecto a la clasificación arancelaria, o aplicación de criterios de valoración aduanera</a:t>
              </a:r>
            </a:p>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5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9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ecanismo previsto en la regla 1.2.10 de las RGCE para 2020.</a:t>
              </a:r>
            </a:p>
          </p:txBody>
        </p:sp>
        <p:sp>
          <p:nvSpPr>
            <p:cNvPr id="177" name="Rectangle 176">
              <a:extLst>
                <a:ext uri="{FF2B5EF4-FFF2-40B4-BE49-F238E27FC236}">
                  <a16:creationId xmlns:a16="http://schemas.microsoft.com/office/drawing/2014/main" id="{875A85C2-DD85-4D2D-9BAB-86FD318B6471}"/>
                </a:ext>
              </a:extLst>
            </p:cNvPr>
            <p:cNvSpPr/>
            <p:nvPr/>
          </p:nvSpPr>
          <p:spPr bwMode="gray">
            <a:xfrm>
              <a:off x="7945456" y="1459228"/>
              <a:ext cx="953607" cy="2638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69" name="Title 3"/>
          <p:cNvSpPr>
            <a:spLocks noGrp="1"/>
          </p:cNvSpPr>
          <p:nvPr>
            <p:ph type="title"/>
          </p:nvPr>
        </p:nvSpPr>
        <p:spPr>
          <a:xfrm>
            <a:off x="501650" y="317500"/>
            <a:ext cx="11188700" cy="698501"/>
          </a:xfrm>
        </p:spPr>
        <p:txBody>
          <a:bodyPr vert="horz" lIns="0" tIns="0" rIns="0" bIns="0" rtlCol="0" anchor="t" anchorCtr="0">
            <a:noAutofit/>
          </a:bodyPr>
          <a:lstStyle/>
          <a:p>
            <a:r>
              <a:rPr lang="es-MX" altLang="es-MX" b="1" dirty="0">
                <a:latin typeface="+mn-lt"/>
              </a:rPr>
              <a:t>Verificación de origen</a:t>
            </a:r>
          </a:p>
        </p:txBody>
      </p:sp>
      <p:sp>
        <p:nvSpPr>
          <p:cNvPr id="144" name="Rectangle 143">
            <a:extLst>
              <a:ext uri="{FF2B5EF4-FFF2-40B4-BE49-F238E27FC236}">
                <a16:creationId xmlns:a16="http://schemas.microsoft.com/office/drawing/2014/main" id="{BA110FF4-BCD6-4877-AAD4-8BB31AC11C2E}"/>
              </a:ext>
            </a:extLst>
          </p:cNvPr>
          <p:cNvSpPr/>
          <p:nvPr/>
        </p:nvSpPr>
        <p:spPr>
          <a:xfrm>
            <a:off x="535104" y="6329886"/>
            <a:ext cx="2700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8797312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1"/>
          <p:cNvSpPr txBox="1">
            <a:spLocks/>
          </p:cNvSpPr>
          <p:nvPr/>
        </p:nvSpPr>
        <p:spPr bwMode="gray">
          <a:xfrm>
            <a:off x="4481512" y="1700213"/>
            <a:ext cx="7240587" cy="1592403"/>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600" b="1" kern="1200">
                <a:solidFill>
                  <a:schemeClr val="bg1"/>
                </a:solidFill>
                <a:latin typeface="+mj-lt"/>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a:xfrm>
            <a:off x="457200" y="3048430"/>
            <a:ext cx="5181599" cy="761140"/>
          </a:xfrm>
        </p:spPr>
        <p:txBody>
          <a:bodyPr/>
          <a:lstStyle/>
          <a:p>
            <a:r>
              <a:rPr lang="es-MX" dirty="0">
                <a:solidFill>
                  <a:schemeClr val="bg1"/>
                </a:solidFill>
              </a:rPr>
              <a:t>Principales Modificaciones en Materia Regulatoria</a:t>
            </a:r>
            <a:endParaRPr lang="es-ES_tradnl" dirty="0">
              <a:solidFill>
                <a:schemeClr val="bg1"/>
              </a:solidFill>
            </a:endParaRP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2625" r="17277"/>
          <a:stretch/>
        </p:blipFill>
        <p:spPr>
          <a:xfrm>
            <a:off x="6007100" y="0"/>
            <a:ext cx="6184900" cy="6858000"/>
          </a:xfrm>
          <a:prstGeom prst="rect">
            <a:avLst/>
          </a:prstGeom>
        </p:spPr>
      </p:pic>
    </p:spTree>
    <p:extLst>
      <p:ext uri="{BB962C8B-B14F-4D97-AF65-F5344CB8AC3E}">
        <p14:creationId xmlns:p14="http://schemas.microsoft.com/office/powerpoint/2010/main" val="257190122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a:xfrm>
            <a:off x="374015" y="3811578"/>
            <a:ext cx="11162349" cy="698501"/>
          </a:xfrm>
        </p:spPr>
        <p:txBody>
          <a:bodyPr/>
          <a:lstStyle/>
          <a:p>
            <a:r>
              <a:rPr lang="es-MX" sz="3200" dirty="0"/>
              <a:t>Principales reformas a las Reglas y </a:t>
            </a:r>
            <a:br>
              <a:rPr lang="es-MX" sz="3200" dirty="0"/>
            </a:br>
            <a:r>
              <a:rPr lang="es-MX" sz="3200" dirty="0"/>
              <a:t>Criterios de Carácter General en </a:t>
            </a:r>
            <a:br>
              <a:rPr lang="es-MX" sz="3200" dirty="0"/>
            </a:br>
            <a:r>
              <a:rPr lang="es-MX" sz="3200" dirty="0"/>
              <a:t>Materia de Comercio Exterior por </a:t>
            </a:r>
            <a:br>
              <a:rPr lang="es-MX" sz="3200" dirty="0"/>
            </a:br>
            <a:r>
              <a:rPr lang="es-MX" sz="3200" dirty="0"/>
              <a:t>Secretaría de Economía.</a:t>
            </a:r>
            <a:br>
              <a:rPr lang="es-MX" dirty="0"/>
            </a:br>
            <a:endParaRPr lang="es-MX" dirty="0"/>
          </a:p>
        </p:txBody>
      </p:sp>
      <p:sp>
        <p:nvSpPr>
          <p:cNvPr id="18" name="TextBox 17"/>
          <p:cNvSpPr txBox="1"/>
          <p:nvPr/>
        </p:nvSpPr>
        <p:spPr>
          <a:xfrm>
            <a:off x="11382377" y="6477000"/>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15</a:t>
            </a:fld>
            <a:endParaRPr kumimoji="0" lang="en-US" sz="9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1" name="Rectangle 20"/>
          <p:cNvSpPr/>
          <p:nvPr/>
        </p:nvSpPr>
        <p:spPr bwMode="gray">
          <a:xfrm>
            <a:off x="8630816" y="6223518"/>
            <a:ext cx="2827176" cy="410547"/>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TextBox 16"/>
          <p:cNvSpPr txBox="1"/>
          <p:nvPr/>
        </p:nvSpPr>
        <p:spPr>
          <a:xfrm>
            <a:off x="6335184" y="6469257"/>
            <a:ext cx="4896560" cy="41549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15" name="Group 14"/>
          <p:cNvGrpSpPr/>
          <p:nvPr/>
        </p:nvGrpSpPr>
        <p:grpSpPr>
          <a:xfrm>
            <a:off x="7730535" y="2568778"/>
            <a:ext cx="2869723" cy="2869723"/>
            <a:chOff x="-951258" y="1193925"/>
            <a:chExt cx="2857926" cy="2857926"/>
          </a:xfrm>
          <a:solidFill>
            <a:schemeClr val="accent6">
              <a:lumMod val="60000"/>
              <a:lumOff val="40000"/>
              <a:alpha val="69804"/>
            </a:schemeClr>
          </a:solidFill>
        </p:grpSpPr>
        <p:sp>
          <p:nvSpPr>
            <p:cNvPr id="16" name="Oval 15"/>
            <p:cNvSpPr/>
            <p:nvPr/>
          </p:nvSpPr>
          <p:spPr bwMode="gray">
            <a:xfrm>
              <a:off x="-951258" y="1193925"/>
              <a:ext cx="2857926" cy="2857926"/>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Oval 19"/>
            <p:cNvSpPr/>
            <p:nvPr/>
          </p:nvSpPr>
          <p:spPr bwMode="gray">
            <a:xfrm>
              <a:off x="-847540" y="1297643"/>
              <a:ext cx="2650491" cy="2650491"/>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p:cNvSpPr/>
            <p:nvPr/>
          </p:nvSpPr>
          <p:spPr bwMode="gray">
            <a:xfrm>
              <a:off x="-700076" y="1433125"/>
              <a:ext cx="2381102" cy="2381103"/>
            </a:xfrm>
            <a:prstGeom prst="ellipse">
              <a:avLst/>
            </a:prstGeom>
            <a:grpFill/>
            <a:ln w="15875" cmpd="sng" algn="ctr">
              <a:solidFill>
                <a:schemeClr val="bg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Light"/>
                  <a:ea typeface="+mn-ea"/>
                  <a:cs typeface="Arial" pitchFamily="34" charset="0"/>
                </a:rPr>
                <a:t> </a:t>
              </a:r>
            </a:p>
          </p:txBody>
        </p:sp>
      </p:grpSp>
      <p:grpSp>
        <p:nvGrpSpPr>
          <p:cNvPr id="24" name="Group 23"/>
          <p:cNvGrpSpPr/>
          <p:nvPr/>
        </p:nvGrpSpPr>
        <p:grpSpPr>
          <a:xfrm rot="219170">
            <a:off x="7133448" y="1949593"/>
            <a:ext cx="4105581" cy="4076928"/>
            <a:chOff x="3246439" y="2191227"/>
            <a:chExt cx="3028795" cy="3019830"/>
          </a:xfrm>
          <a:solidFill>
            <a:srgbClr val="37C4FF">
              <a:alpha val="50196"/>
            </a:srgbClr>
          </a:solidFill>
        </p:grpSpPr>
        <p:sp>
          <p:nvSpPr>
            <p:cNvPr id="25" name="Block Arc 24"/>
            <p:cNvSpPr/>
            <p:nvPr/>
          </p:nvSpPr>
          <p:spPr>
            <a:xfrm flipV="1">
              <a:off x="3246439" y="2191227"/>
              <a:ext cx="3019828" cy="3019829"/>
            </a:xfrm>
            <a:prstGeom prst="blockArc">
              <a:avLst>
                <a:gd name="adj1" fmla="val 11191580"/>
                <a:gd name="adj2" fmla="val 132976"/>
                <a:gd name="adj3" fmla="val 27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Block Arc 26"/>
            <p:cNvSpPr/>
            <p:nvPr/>
          </p:nvSpPr>
          <p:spPr>
            <a:xfrm>
              <a:off x="3255405" y="2191228"/>
              <a:ext cx="3019829" cy="3019829"/>
            </a:xfrm>
            <a:prstGeom prst="blockArc">
              <a:avLst>
                <a:gd name="adj1" fmla="val 10803362"/>
                <a:gd name="adj2" fmla="val 21151827"/>
                <a:gd name="adj3" fmla="val 333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Oval 27"/>
          <p:cNvSpPr/>
          <p:nvPr/>
        </p:nvSpPr>
        <p:spPr bwMode="gray">
          <a:xfrm>
            <a:off x="7496910" y="2347510"/>
            <a:ext cx="3360663" cy="3321092"/>
          </a:xfrm>
          <a:prstGeom prst="ellipse">
            <a:avLst/>
          </a:prstGeom>
          <a:noFill/>
          <a:ln w="19050" cmpd="sng" algn="ctr">
            <a:solidFill>
              <a:schemeClr val="accent6">
                <a:alpha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9" name="Oval 18">
            <a:extLst>
              <a:ext uri="{FF2B5EF4-FFF2-40B4-BE49-F238E27FC236}">
                <a16:creationId xmlns:a16="http://schemas.microsoft.com/office/drawing/2014/main" id="{7A1BE266-FD02-46D3-8B58-A07151EB0F3F}"/>
              </a:ext>
            </a:extLst>
          </p:cNvPr>
          <p:cNvSpPr/>
          <p:nvPr/>
        </p:nvSpPr>
        <p:spPr bwMode="gray">
          <a:xfrm>
            <a:off x="8161379" y="2953831"/>
            <a:ext cx="2131525" cy="2074169"/>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0" name="Freeform 13">
            <a:extLst>
              <a:ext uri="{FF2B5EF4-FFF2-40B4-BE49-F238E27FC236}">
                <a16:creationId xmlns:a16="http://schemas.microsoft.com/office/drawing/2014/main" id="{D8D6F038-DDA2-4F6A-B5CC-BF3DDE4C72E8}"/>
              </a:ext>
            </a:extLst>
          </p:cNvPr>
          <p:cNvSpPr>
            <a:spLocks noEditPoints="1"/>
          </p:cNvSpPr>
          <p:nvPr/>
        </p:nvSpPr>
        <p:spPr bwMode="auto">
          <a:xfrm>
            <a:off x="8816561" y="3507305"/>
            <a:ext cx="766255" cy="102652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14">
            <a:extLst>
              <a:ext uri="{FF2B5EF4-FFF2-40B4-BE49-F238E27FC236}">
                <a16:creationId xmlns:a16="http://schemas.microsoft.com/office/drawing/2014/main" id="{D199BB1D-8565-4771-867C-CB80E4BC2417}"/>
              </a:ext>
            </a:extLst>
          </p:cNvPr>
          <p:cNvSpPr>
            <a:spLocks noEditPoints="1"/>
          </p:cNvSpPr>
          <p:nvPr/>
        </p:nvSpPr>
        <p:spPr bwMode="auto">
          <a:xfrm>
            <a:off x="8266777" y="3064870"/>
            <a:ext cx="1920727" cy="1902467"/>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19816144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01650" y="751988"/>
            <a:ext cx="11188700" cy="552830"/>
          </a:xfrm>
        </p:spPr>
        <p:txBody>
          <a:bodyPr/>
          <a:lstStyle/>
          <a:p>
            <a:r>
              <a:rPr lang="en-US" sz="2800" dirty="0" err="1"/>
              <a:t>Regla</a:t>
            </a:r>
            <a:r>
              <a:rPr lang="en-US" sz="2800" dirty="0"/>
              <a:t> 2.2.26</a:t>
            </a:r>
          </a:p>
        </p:txBody>
      </p:sp>
      <p:sp>
        <p:nvSpPr>
          <p:cNvPr id="3" name="Title 2"/>
          <p:cNvSpPr>
            <a:spLocks noGrp="1"/>
          </p:cNvSpPr>
          <p:nvPr>
            <p:ph type="title"/>
          </p:nvPr>
        </p:nvSpPr>
        <p:spPr>
          <a:xfrm>
            <a:off x="275619" y="112017"/>
            <a:ext cx="11188700" cy="668198"/>
          </a:xfrm>
        </p:spPr>
        <p:txBody>
          <a:bodyPr/>
          <a:lstStyle/>
          <a:p>
            <a:r>
              <a:rPr lang="en-US" sz="4000" dirty="0" err="1"/>
              <a:t>Comparación</a:t>
            </a:r>
            <a:endParaRPr lang="en-US" dirty="0"/>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nvGraphicFramePr>
        <p:xfrm>
          <a:off x="727681" y="2537460"/>
          <a:ext cx="5368319" cy="178308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o de mayo 2022</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s-MX" sz="1400" b="1" dirty="0">
                          <a:solidFill>
                            <a:schemeClr val="tx1"/>
                          </a:solidFill>
                        </a:rPr>
                        <a:t>d)</a:t>
                      </a:r>
                      <a:r>
                        <a:rPr lang="es-MX" sz="1400" b="0" dirty="0">
                          <a:solidFill>
                            <a:schemeClr val="tx1"/>
                          </a:solidFill>
                        </a:rPr>
                        <a:t> País de origen de la mercancía.</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schemeClr val="tx1"/>
                          </a:solidFill>
                          <a:effectLst/>
                          <a:uLnTx/>
                          <a:uFillTx/>
                          <a:latin typeface="+mn-lt"/>
                          <a:ea typeface="+mn-ea"/>
                          <a:cs typeface="Calibri Light" panose="020F0302020204030204" pitchFamily="34" charset="0"/>
                        </a:rPr>
                        <a:t>f)</a:t>
                      </a:r>
                      <a:r>
                        <a:rPr kumimoji="0" lang="es-MX" sz="1400" b="0" i="0" u="none" strike="noStrike" kern="1200" cap="none" spc="0" normalizeH="0" baseline="0" noProof="0" dirty="0">
                          <a:ln>
                            <a:noFill/>
                          </a:ln>
                          <a:solidFill>
                            <a:schemeClr val="tx1"/>
                          </a:solidFill>
                          <a:effectLst/>
                          <a:uLnTx/>
                          <a:uFillTx/>
                          <a:latin typeface="+mn-lt"/>
                          <a:ea typeface="+mn-ea"/>
                          <a:cs typeface="Calibri Light" panose="020F0302020204030204" pitchFamily="34" charset="0"/>
                        </a:rPr>
                        <a:t> Número de Certificado de molino y/o de calidad, </a:t>
                      </a:r>
                      <a:r>
                        <a:rPr kumimoji="0" lang="es-MX" sz="1400" b="0" i="0" u="sng" strike="noStrike" kern="1200" cap="none" spc="0" normalizeH="0" baseline="0" noProof="0" dirty="0">
                          <a:ln>
                            <a:noFill/>
                          </a:ln>
                          <a:solidFill>
                            <a:schemeClr val="tx1"/>
                          </a:solidFill>
                          <a:effectLst/>
                          <a:uLnTx/>
                          <a:uFillTx/>
                          <a:latin typeface="+mn-lt"/>
                          <a:ea typeface="+mn-ea"/>
                          <a:cs typeface="Calibri Light" panose="020F0302020204030204" pitchFamily="34" charset="0"/>
                        </a:rPr>
                        <a:t>según corresponda conforme a lo establecido en el Anexo 2.2.2, numeral 7, fracción II.</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schemeClr val="tx1"/>
                          </a:solidFill>
                          <a:effectLst/>
                          <a:uLnTx/>
                          <a:uFillTx/>
                          <a:latin typeface="+mn-lt"/>
                          <a:ea typeface="+mn-ea"/>
                          <a:cs typeface="Calibri Light" panose="020F0302020204030204" pitchFamily="34" charset="0"/>
                        </a:rPr>
                        <a:t>g)</a:t>
                      </a:r>
                      <a:r>
                        <a:rPr kumimoji="0" lang="es-MX" sz="1400" b="0" i="0" u="none" strike="noStrike" kern="1200" cap="none" spc="0" normalizeH="0" baseline="0" noProof="0" dirty="0">
                          <a:ln>
                            <a:noFill/>
                          </a:ln>
                          <a:solidFill>
                            <a:schemeClr val="tx1"/>
                          </a:solidFill>
                          <a:effectLst/>
                          <a:uLnTx/>
                          <a:uFillTx/>
                          <a:latin typeface="+mn-lt"/>
                          <a:ea typeface="+mn-ea"/>
                          <a:cs typeface="Calibri Light" panose="020F0302020204030204" pitchFamily="34" charset="0"/>
                        </a:rPr>
                        <a:t> Fecha de expedición del Certificado de molino y/o de calidad.</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nvGraphicFramePr>
        <p:xfrm>
          <a:off x="6558338" y="2529538"/>
          <a:ext cx="5368319" cy="316484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Reforma de octubre 2022</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d)</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 País de origen de la mercancía; </a:t>
                      </a:r>
                      <a:r>
                        <a:rPr kumimoji="0" lang="es-MX" sz="14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rPr>
                        <a:t>que es el país en donde se fundió y coló el acero.</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f) </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Número de Certificado de molino y/o de calidad, </a:t>
                      </a:r>
                      <a:r>
                        <a:rPr kumimoji="0" lang="es-MX" sz="14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rPr>
                        <a:t>deberá capturar: S/N (sin número).</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g) </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Fecha de expedición del Certificado de molino y/o de calidad; </a:t>
                      </a:r>
                      <a:r>
                        <a:rPr kumimoji="0" lang="es-MX" sz="14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rPr>
                        <a:t>deberá capturar la fecha de presentación de su solicitud de aviso automático de importación de productos siderúrgicos;</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4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8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a:extLst>
              <a:ext uri="{FF2B5EF4-FFF2-40B4-BE49-F238E27FC236}">
                <a16:creationId xmlns:a16="http://schemas.microsoft.com/office/drawing/2014/main" id="{668F748E-3308-4D61-8100-87700EAF624C}"/>
              </a:ext>
            </a:extLst>
          </p:cNvPr>
          <p:cNvSpPr txBox="1"/>
          <p:nvPr/>
        </p:nvSpPr>
        <p:spPr>
          <a:xfrm>
            <a:off x="7960832" y="140306"/>
            <a:ext cx="4118153" cy="110799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s-MX" sz="1800" b="0" i="0" u="none" strike="noStrike" kern="1200" cap="none" spc="0" normalizeH="0" baseline="0" noProof="0" dirty="0">
                <a:ln>
                  <a:noFill/>
                </a:ln>
                <a:solidFill>
                  <a:srgbClr val="313131"/>
                </a:solidFill>
                <a:effectLst/>
                <a:uLnTx/>
                <a:uFillTx/>
                <a:latin typeface="Calibri"/>
                <a:ea typeface="+mn-ea"/>
                <a:cs typeface="+mn-cs"/>
              </a:rPr>
              <a:t>Actualización de la información que debe incluirse en las solicitudes de aviso automático de importación de productos siderúrgicos.</a:t>
            </a:r>
          </a:p>
        </p:txBody>
      </p:sp>
      <p:grpSp>
        <p:nvGrpSpPr>
          <p:cNvPr id="7" name="Group 6">
            <a:extLst>
              <a:ext uri="{FF2B5EF4-FFF2-40B4-BE49-F238E27FC236}">
                <a16:creationId xmlns:a16="http://schemas.microsoft.com/office/drawing/2014/main" id="{C787C92E-7614-4619-950A-92E4BFDB0826}"/>
              </a:ext>
            </a:extLst>
          </p:cNvPr>
          <p:cNvGrpSpPr/>
          <p:nvPr/>
        </p:nvGrpSpPr>
        <p:grpSpPr>
          <a:xfrm>
            <a:off x="410966" y="6369978"/>
            <a:ext cx="11053353" cy="488022"/>
            <a:chOff x="410966" y="6369978"/>
            <a:chExt cx="11053353" cy="488022"/>
          </a:xfrm>
        </p:grpSpPr>
        <p:sp>
          <p:nvSpPr>
            <p:cNvPr id="9" name="Rectangle 8">
              <a:extLst>
                <a:ext uri="{FF2B5EF4-FFF2-40B4-BE49-F238E27FC236}">
                  <a16:creationId xmlns:a16="http://schemas.microsoft.com/office/drawing/2014/main" id="{F792E954-2B8E-4415-84C7-EAD714C7954F}"/>
                </a:ext>
              </a:extLst>
            </p:cNvPr>
            <p:cNvSpPr/>
            <p:nvPr/>
          </p:nvSpPr>
          <p:spPr bwMode="gray">
            <a:xfrm>
              <a:off x="410966" y="6369978"/>
              <a:ext cx="11053353" cy="48802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588B8DBF-1723-4A02-B711-0DD6C61171A3}"/>
                </a:ext>
              </a:extLst>
            </p:cNvPr>
            <p:cNvSpPr txBox="1"/>
            <p:nvPr/>
          </p:nvSpPr>
          <p:spPr>
            <a:xfrm>
              <a:off x="688369" y="6575461"/>
              <a:ext cx="1890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800" b="0" i="0" u="none" strike="noStrike" kern="1200" cap="none" spc="0" normalizeH="0" baseline="0" noProof="0" dirty="0">
                  <a:ln>
                    <a:noFill/>
                  </a:ln>
                  <a:solidFill>
                    <a:srgbClr val="313131"/>
                  </a:solidFill>
                  <a:effectLst/>
                  <a:uLnTx/>
                  <a:uFillTx/>
                  <a:latin typeface="Calibri"/>
                  <a:ea typeface="+mn-ea"/>
                  <a:cs typeface="+mn-cs"/>
                </a:rPr>
                <a:t>2022 Deloitte Impuestos y Servicios Legales</a:t>
              </a:r>
            </a:p>
          </p:txBody>
        </p:sp>
      </p:grpSp>
      <p:pic>
        <p:nvPicPr>
          <p:cNvPr id="9218" name="Picture 2">
            <a:extLst>
              <a:ext uri="{FF2B5EF4-FFF2-40B4-BE49-F238E27FC236}">
                <a16:creationId xmlns:a16="http://schemas.microsoft.com/office/drawing/2014/main" id="{7AA34B51-7D92-4945-9288-5543C191B8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4608852"/>
            <a:ext cx="4572000" cy="1552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6322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01650" y="751988"/>
            <a:ext cx="11188700" cy="552830"/>
          </a:xfrm>
        </p:spPr>
        <p:txBody>
          <a:bodyPr/>
          <a:lstStyle/>
          <a:p>
            <a:r>
              <a:rPr lang="en-US" sz="2800" dirty="0" err="1"/>
              <a:t>Regla</a:t>
            </a:r>
            <a:r>
              <a:rPr lang="en-US" sz="2800" dirty="0"/>
              <a:t> 2.2.26</a:t>
            </a:r>
          </a:p>
        </p:txBody>
      </p:sp>
      <p:sp>
        <p:nvSpPr>
          <p:cNvPr id="3" name="Title 2"/>
          <p:cNvSpPr>
            <a:spLocks noGrp="1"/>
          </p:cNvSpPr>
          <p:nvPr>
            <p:ph type="title"/>
          </p:nvPr>
        </p:nvSpPr>
        <p:spPr>
          <a:xfrm>
            <a:off x="275619" y="112017"/>
            <a:ext cx="11188700" cy="668198"/>
          </a:xfrm>
        </p:spPr>
        <p:txBody>
          <a:bodyPr/>
          <a:lstStyle/>
          <a:p>
            <a:r>
              <a:rPr lang="en-US" sz="4000" dirty="0" err="1"/>
              <a:t>Comparación</a:t>
            </a:r>
            <a:endParaRPr lang="en-US" dirty="0"/>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nvGraphicFramePr>
        <p:xfrm>
          <a:off x="388633" y="2224546"/>
          <a:ext cx="11690352" cy="3235960"/>
        </p:xfrm>
        <a:graphic>
          <a:graphicData uri="http://schemas.openxmlformats.org/drawingml/2006/table">
            <a:tbl>
              <a:tblPr firstRow="1" bandRow="1">
                <a:tableStyleId>{5C22544A-7EE6-4342-B048-85BDC9FD1C3A}</a:tableStyleId>
              </a:tblPr>
              <a:tblGrid>
                <a:gridCol w="11690352">
                  <a:extLst>
                    <a:ext uri="{9D8B030D-6E8A-4147-A177-3AD203B41FA5}">
                      <a16:colId xmlns:a16="http://schemas.microsoft.com/office/drawing/2014/main" val="20000"/>
                    </a:ext>
                  </a:extLst>
                </a:gridCol>
              </a:tblGrid>
              <a:tr h="2605981">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o de mayo 2022</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1" dirty="0">
                          <a:solidFill>
                            <a:schemeClr val="tx1"/>
                          </a:solidFill>
                        </a:rPr>
                        <a:t>i)</a:t>
                      </a:r>
                      <a:r>
                        <a:rPr lang="es-MX" sz="1400" b="0" dirty="0">
                          <a:solidFill>
                            <a:schemeClr val="tx1"/>
                          </a:solidFill>
                        </a:rPr>
                        <a:t> Descripción detallada de la mercancía (en español) amparada por el Certificado de molino o de calidad tomando en cuenta lo siguiente: </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I. Descripción del producto. Tales como: lámina, placa, barras, perfiles, tubo de perforación, tubo de conducción, etc.</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II. Acero del que se trate. Tales como: sin alear, aleado, </a:t>
                      </a:r>
                      <a:r>
                        <a:rPr lang="es-MX" sz="1400" b="0" dirty="0" err="1">
                          <a:solidFill>
                            <a:schemeClr val="tx1"/>
                          </a:solidFill>
                        </a:rPr>
                        <a:t>microaleado</a:t>
                      </a:r>
                      <a:r>
                        <a:rPr lang="es-MX" sz="1400" b="0" dirty="0">
                          <a:solidFill>
                            <a:schemeClr val="tx1"/>
                          </a:solidFill>
                        </a:rPr>
                        <a:t>, laminado en caliente, laminado en frío, inoxidable etc.</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III. Tipo de recubrimiento utilizado (metálico o no metálico) en caso de productos revestidos o recubiertos</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IV. Tipo de acabado o trabajo complementario en su caso. Tales como: perforaciones, raspado o </a:t>
                      </a:r>
                      <a:r>
                        <a:rPr lang="es-MX" sz="1400" b="0" dirty="0" err="1">
                          <a:solidFill>
                            <a:schemeClr val="tx1"/>
                          </a:solidFill>
                        </a:rPr>
                        <a:t>agranallado</a:t>
                      </a:r>
                      <a:r>
                        <a:rPr lang="es-MX" sz="1400" b="0" dirty="0">
                          <a:solidFill>
                            <a:schemeClr val="tx1"/>
                          </a:solidFill>
                        </a:rPr>
                        <a:t>, botones, muescas, surcos o relieves, biselados.</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V. Clave de identificación del producto de acuerdo a las normas internacionales. Tales como: ASTM, ASME, API, SAE, etc.</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VI. Composición química porcentual únicamente de los elementos químicos que conforman el producto</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VII. Presentación del producto. Tales como: en hoja, en rollo, pieza etc.</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VIII. Accesorios integrados al producto. Tales como: </a:t>
                      </a:r>
                      <a:r>
                        <a:rPr lang="es-MX" sz="1400" b="0" dirty="0" err="1">
                          <a:solidFill>
                            <a:schemeClr val="tx1"/>
                          </a:solidFill>
                        </a:rPr>
                        <a:t>Tees</a:t>
                      </a:r>
                      <a:r>
                        <a:rPr lang="es-MX" sz="1400" b="0" dirty="0">
                          <a:solidFill>
                            <a:schemeClr val="tx1"/>
                          </a:solidFill>
                        </a:rPr>
                        <a:t>, ganchos, rieles de unión, codos, bridas, soportes, </a:t>
                      </a:r>
                      <a:r>
                        <a:rPr lang="es-MX" sz="1400" b="0" dirty="0" err="1">
                          <a:solidFill>
                            <a:schemeClr val="tx1"/>
                          </a:solidFill>
                        </a:rPr>
                        <a:t>etc</a:t>
                      </a:r>
                      <a:endParaRPr lang="es-MX" sz="1400" b="0" dirty="0">
                        <a:solidFill>
                          <a:schemeClr val="tx1"/>
                        </a:solidFill>
                      </a:endParaRP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IX. Dimensiones</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X. Número de colada</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lang="es-MX" sz="1400" b="0" dirty="0">
                          <a:solidFill>
                            <a:schemeClr val="tx1"/>
                          </a:solidFill>
                        </a:rPr>
                        <a:t>XI. Valor y precio unitario</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a:extLst>
              <a:ext uri="{FF2B5EF4-FFF2-40B4-BE49-F238E27FC236}">
                <a16:creationId xmlns:a16="http://schemas.microsoft.com/office/drawing/2014/main" id="{668F748E-3308-4D61-8100-87700EAF624C}"/>
              </a:ext>
            </a:extLst>
          </p:cNvPr>
          <p:cNvSpPr txBox="1"/>
          <p:nvPr/>
        </p:nvSpPr>
        <p:spPr>
          <a:xfrm>
            <a:off x="7960832" y="140306"/>
            <a:ext cx="4118153" cy="110799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s-MX" sz="1800" b="0" i="0" u="none" strike="noStrike" kern="1200" cap="none" spc="0" normalizeH="0" baseline="0" noProof="0" dirty="0">
                <a:ln>
                  <a:noFill/>
                </a:ln>
                <a:solidFill>
                  <a:srgbClr val="313131"/>
                </a:solidFill>
                <a:effectLst/>
                <a:uLnTx/>
                <a:uFillTx/>
                <a:latin typeface="Calibri"/>
                <a:ea typeface="+mn-ea"/>
                <a:cs typeface="+mn-cs"/>
              </a:rPr>
              <a:t>Actualización de la información que debe incluirse en las solicitudes de aviso automático de importación de productos siderúrgicos.</a:t>
            </a:r>
          </a:p>
        </p:txBody>
      </p:sp>
      <p:sp>
        <p:nvSpPr>
          <p:cNvPr id="4" name="Rectangle 3">
            <a:extLst>
              <a:ext uri="{FF2B5EF4-FFF2-40B4-BE49-F238E27FC236}">
                <a16:creationId xmlns:a16="http://schemas.microsoft.com/office/drawing/2014/main" id="{72D48539-FE06-41DD-9ADD-CA8B789198E9}"/>
              </a:ext>
            </a:extLst>
          </p:cNvPr>
          <p:cNvSpPr/>
          <p:nvPr/>
        </p:nvSpPr>
        <p:spPr bwMode="gray">
          <a:xfrm>
            <a:off x="8647415" y="6421348"/>
            <a:ext cx="2744985" cy="4297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id="{0BE602B1-AF6E-422E-AB6A-781A4A99C99F}"/>
              </a:ext>
            </a:extLst>
          </p:cNvPr>
          <p:cNvGrpSpPr/>
          <p:nvPr/>
        </p:nvGrpSpPr>
        <p:grpSpPr>
          <a:xfrm>
            <a:off x="330414" y="6421348"/>
            <a:ext cx="2744985" cy="429774"/>
            <a:chOff x="330414" y="6421348"/>
            <a:chExt cx="2744985" cy="429774"/>
          </a:xfrm>
        </p:grpSpPr>
        <p:sp>
          <p:nvSpPr>
            <p:cNvPr id="14" name="Rectangle 13">
              <a:extLst>
                <a:ext uri="{FF2B5EF4-FFF2-40B4-BE49-F238E27FC236}">
                  <a16:creationId xmlns:a16="http://schemas.microsoft.com/office/drawing/2014/main" id="{0A362FA7-9BE7-4F25-A5A9-F8C5241AA033}"/>
                </a:ext>
              </a:extLst>
            </p:cNvPr>
            <p:cNvSpPr/>
            <p:nvPr/>
          </p:nvSpPr>
          <p:spPr bwMode="gray">
            <a:xfrm>
              <a:off x="330414" y="6421348"/>
              <a:ext cx="2744985" cy="4297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2108B6BB-FFDB-4632-B0A2-FCAD27FE534E}"/>
                </a:ext>
              </a:extLst>
            </p:cNvPr>
            <p:cNvSpPr txBox="1"/>
            <p:nvPr/>
          </p:nvSpPr>
          <p:spPr>
            <a:xfrm>
              <a:off x="501650" y="6493267"/>
              <a:ext cx="257374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900" b="0" i="0" u="none" strike="noStrike" kern="1200" cap="none" spc="0" normalizeH="0" baseline="0" noProof="0" dirty="0">
                  <a:ln>
                    <a:noFill/>
                  </a:ln>
                  <a:solidFill>
                    <a:srgbClr val="313131"/>
                  </a:solidFill>
                  <a:effectLst/>
                  <a:uLnTx/>
                  <a:uFillTx/>
                  <a:latin typeface="Calibri"/>
                  <a:ea typeface="+mn-ea"/>
                  <a:cs typeface="+mn-cs"/>
                </a:rPr>
                <a:t>2022 Deloitte Impuestos y Servicios Legales</a:t>
              </a:r>
              <a:endParaRPr kumimoji="0" lang="es-MX" sz="1800" b="0" i="0" u="none" strike="noStrike" kern="1200" cap="none" spc="0" normalizeH="0" baseline="0" noProof="0" dirty="0">
                <a:ln>
                  <a:noFill/>
                </a:ln>
                <a:solidFill>
                  <a:srgbClr val="313131"/>
                </a:solidFill>
                <a:effectLst/>
                <a:uLnTx/>
                <a:uFillTx/>
                <a:latin typeface="Calibri"/>
                <a:ea typeface="+mn-ea"/>
                <a:cs typeface="+mn-cs"/>
              </a:endParaRPr>
            </a:p>
          </p:txBody>
        </p:sp>
      </p:grpSp>
    </p:spTree>
    <p:extLst>
      <p:ext uri="{BB962C8B-B14F-4D97-AF65-F5344CB8AC3E}">
        <p14:creationId xmlns:p14="http://schemas.microsoft.com/office/powerpoint/2010/main" val="38950929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01650" y="751988"/>
            <a:ext cx="11188700" cy="552830"/>
          </a:xfrm>
        </p:spPr>
        <p:txBody>
          <a:bodyPr/>
          <a:lstStyle/>
          <a:p>
            <a:r>
              <a:rPr lang="en-US" sz="2800" dirty="0" err="1"/>
              <a:t>Regla</a:t>
            </a:r>
            <a:r>
              <a:rPr lang="en-US" sz="2800" dirty="0"/>
              <a:t> 2.2.26</a:t>
            </a:r>
          </a:p>
        </p:txBody>
      </p:sp>
      <p:sp>
        <p:nvSpPr>
          <p:cNvPr id="3" name="Title 2"/>
          <p:cNvSpPr>
            <a:spLocks noGrp="1"/>
          </p:cNvSpPr>
          <p:nvPr>
            <p:ph type="title"/>
          </p:nvPr>
        </p:nvSpPr>
        <p:spPr>
          <a:xfrm>
            <a:off x="275619" y="112017"/>
            <a:ext cx="11188700" cy="668198"/>
          </a:xfrm>
        </p:spPr>
        <p:txBody>
          <a:bodyPr/>
          <a:lstStyle/>
          <a:p>
            <a:r>
              <a:rPr lang="en-US" sz="4000" dirty="0" err="1"/>
              <a:t>Comparación</a:t>
            </a:r>
            <a:endParaRPr lang="en-US" dirty="0"/>
          </a:p>
        </p:txBody>
      </p:sp>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nvGraphicFramePr>
        <p:xfrm>
          <a:off x="2019692" y="1832135"/>
          <a:ext cx="7700553" cy="2595880"/>
        </p:xfrm>
        <a:graphic>
          <a:graphicData uri="http://schemas.openxmlformats.org/drawingml/2006/table">
            <a:tbl>
              <a:tblPr firstRow="1" bandRow="1">
                <a:tableStyleId>{5C22544A-7EE6-4342-B048-85BDC9FD1C3A}</a:tableStyleId>
              </a:tblPr>
              <a:tblGrid>
                <a:gridCol w="7700553">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Reforma de octubre 2022</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i)    </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Descripción detallada de la mercancía a importar (en español), así como datos de la importación, conforme a lo siguiente:</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I.    Descripción del producto a importar, que incluya según aplique: tipo de acero, dimensiones, número de colada, composición química, clave de identificación del producto de acuerdo a las normas internacionales, como: ASTM, ASME, API, SAE, etc.; tipo de recubrimiento y acabado, en su caso</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II.   Valor en dólares y precio unitario en dólares por kilogramo</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III.   Aduana de entrada prevista</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IV.   Fecha en que se espera el envío desde el país de exportación</a:t>
                      </a:r>
                    </a:p>
                    <a:p>
                      <a:pPr marL="0" marR="0" lvl="2" indent="0" algn="just"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V.   Fecha esperada de importación.</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a:extLst>
              <a:ext uri="{FF2B5EF4-FFF2-40B4-BE49-F238E27FC236}">
                <a16:creationId xmlns:a16="http://schemas.microsoft.com/office/drawing/2014/main" id="{668F748E-3308-4D61-8100-87700EAF624C}"/>
              </a:ext>
            </a:extLst>
          </p:cNvPr>
          <p:cNvSpPr txBox="1"/>
          <p:nvPr/>
        </p:nvSpPr>
        <p:spPr>
          <a:xfrm>
            <a:off x="7960832" y="140306"/>
            <a:ext cx="4118153" cy="110799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s-MX" sz="1800" b="0" i="0" u="none" strike="noStrike" kern="1200" cap="none" spc="0" normalizeH="0" baseline="0" noProof="0" dirty="0">
                <a:ln>
                  <a:noFill/>
                </a:ln>
                <a:solidFill>
                  <a:srgbClr val="313131"/>
                </a:solidFill>
                <a:effectLst/>
                <a:uLnTx/>
                <a:uFillTx/>
                <a:latin typeface="Calibri"/>
                <a:ea typeface="+mn-ea"/>
                <a:cs typeface="+mn-cs"/>
              </a:rPr>
              <a:t>Actualización de la información que debe incluirse en las solicitudes de aviso automático de importación de productos siderúrgicos.</a:t>
            </a:r>
          </a:p>
        </p:txBody>
      </p:sp>
      <p:sp>
        <p:nvSpPr>
          <p:cNvPr id="4" name="Rectangle 3">
            <a:extLst>
              <a:ext uri="{FF2B5EF4-FFF2-40B4-BE49-F238E27FC236}">
                <a16:creationId xmlns:a16="http://schemas.microsoft.com/office/drawing/2014/main" id="{72D48539-FE06-41DD-9ADD-CA8B789198E9}"/>
              </a:ext>
            </a:extLst>
          </p:cNvPr>
          <p:cNvSpPr/>
          <p:nvPr/>
        </p:nvSpPr>
        <p:spPr bwMode="gray">
          <a:xfrm>
            <a:off x="8647415" y="6421348"/>
            <a:ext cx="2744985" cy="4297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7" name="Group 6">
            <a:extLst>
              <a:ext uri="{FF2B5EF4-FFF2-40B4-BE49-F238E27FC236}">
                <a16:creationId xmlns:a16="http://schemas.microsoft.com/office/drawing/2014/main" id="{0BE602B1-AF6E-422E-AB6A-781A4A99C99F}"/>
              </a:ext>
            </a:extLst>
          </p:cNvPr>
          <p:cNvGrpSpPr/>
          <p:nvPr/>
        </p:nvGrpSpPr>
        <p:grpSpPr>
          <a:xfrm>
            <a:off x="330414" y="6421348"/>
            <a:ext cx="2744985" cy="429774"/>
            <a:chOff x="330414" y="6421348"/>
            <a:chExt cx="2744985" cy="429774"/>
          </a:xfrm>
        </p:grpSpPr>
        <p:sp>
          <p:nvSpPr>
            <p:cNvPr id="14" name="Rectangle 13">
              <a:extLst>
                <a:ext uri="{FF2B5EF4-FFF2-40B4-BE49-F238E27FC236}">
                  <a16:creationId xmlns:a16="http://schemas.microsoft.com/office/drawing/2014/main" id="{0A362FA7-9BE7-4F25-A5A9-F8C5241AA033}"/>
                </a:ext>
              </a:extLst>
            </p:cNvPr>
            <p:cNvSpPr/>
            <p:nvPr/>
          </p:nvSpPr>
          <p:spPr bwMode="gray">
            <a:xfrm>
              <a:off x="330414" y="6421348"/>
              <a:ext cx="2744985" cy="42977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2108B6BB-FFDB-4632-B0A2-FCAD27FE534E}"/>
                </a:ext>
              </a:extLst>
            </p:cNvPr>
            <p:cNvSpPr txBox="1"/>
            <p:nvPr/>
          </p:nvSpPr>
          <p:spPr>
            <a:xfrm>
              <a:off x="501650" y="6493267"/>
              <a:ext cx="2573749"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900" b="0" i="0" u="none" strike="noStrike" kern="1200" cap="none" spc="0" normalizeH="0" baseline="0" noProof="0" dirty="0">
                  <a:ln>
                    <a:noFill/>
                  </a:ln>
                  <a:solidFill>
                    <a:srgbClr val="313131"/>
                  </a:solidFill>
                  <a:effectLst/>
                  <a:uLnTx/>
                  <a:uFillTx/>
                  <a:latin typeface="Calibri"/>
                  <a:ea typeface="+mn-ea"/>
                  <a:cs typeface="+mn-cs"/>
                </a:rPr>
                <a:t>2022 Deloitte Impuestos y Servicios Legales</a:t>
              </a:r>
              <a:endParaRPr kumimoji="0" lang="es-MX" sz="1800" b="0" i="0" u="none" strike="noStrike" kern="1200" cap="none" spc="0" normalizeH="0" baseline="0" noProof="0" dirty="0">
                <a:ln>
                  <a:noFill/>
                </a:ln>
                <a:solidFill>
                  <a:srgbClr val="313131"/>
                </a:solidFill>
                <a:effectLst/>
                <a:uLnTx/>
                <a:uFillTx/>
                <a:latin typeface="Calibri"/>
                <a:ea typeface="+mn-ea"/>
                <a:cs typeface="+mn-cs"/>
              </a:endParaRPr>
            </a:p>
          </p:txBody>
        </p:sp>
      </p:grpSp>
      <p:sp>
        <p:nvSpPr>
          <p:cNvPr id="5" name="TextBox 4">
            <a:extLst>
              <a:ext uri="{FF2B5EF4-FFF2-40B4-BE49-F238E27FC236}">
                <a16:creationId xmlns:a16="http://schemas.microsoft.com/office/drawing/2014/main" id="{3F645983-B598-4471-8281-230EF7673075}"/>
              </a:ext>
            </a:extLst>
          </p:cNvPr>
          <p:cNvSpPr txBox="1"/>
          <p:nvPr/>
        </p:nvSpPr>
        <p:spPr>
          <a:xfrm>
            <a:off x="6709025" y="4787757"/>
            <a:ext cx="4981325" cy="1292662"/>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s-MX" sz="1400" b="0" i="0" u="none" strike="noStrike" kern="1200" cap="none" spc="0" normalizeH="0" baseline="0" noProof="0" dirty="0">
                <a:ln>
                  <a:noFill/>
                </a:ln>
                <a:solidFill>
                  <a:srgbClr val="313131"/>
                </a:solidFill>
                <a:effectLst/>
                <a:uLnTx/>
                <a:uFillTx/>
                <a:latin typeface="Calibri"/>
                <a:ea typeface="+mn-ea"/>
                <a:cs typeface="+mn-cs"/>
              </a:rPr>
              <a:t>El 21 de octubre, la Secretaría de Economía emitió un aclaración aplicable a las fracciones IV y V del inciso “i”, en la cual explica que las fechas a las que se refieren dichas fracciones son “referenciales” o “probables”, por lo que si no coinciden con las fechas declaradas ante la aduana, no implica que se altere la vigencia ni validez del aviso.</a:t>
            </a:r>
            <a:endParaRPr kumimoji="0" lang="en-US" sz="1400" b="0" i="0" u="none" strike="noStrike" kern="1200" cap="none" spc="0" normalizeH="0" baseline="0" noProof="0" dirty="0">
              <a:ln>
                <a:noFill/>
              </a:ln>
              <a:solidFill>
                <a:srgbClr val="313131"/>
              </a:solidFill>
              <a:effectLst/>
              <a:uLnTx/>
              <a:uFillTx/>
              <a:latin typeface="Calibri"/>
              <a:ea typeface="+mn-ea"/>
              <a:cs typeface="+mn-cs"/>
            </a:endParaRPr>
          </a:p>
        </p:txBody>
      </p:sp>
      <p:pic>
        <p:nvPicPr>
          <p:cNvPr id="10244" name="Picture 4">
            <a:extLst>
              <a:ext uri="{FF2B5EF4-FFF2-40B4-BE49-F238E27FC236}">
                <a16:creationId xmlns:a16="http://schemas.microsoft.com/office/drawing/2014/main" id="{B4944F6C-9F40-40E6-A4EE-B01D07719035}"/>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246635" y="4319570"/>
            <a:ext cx="2426413" cy="2426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11119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01650" y="751988"/>
            <a:ext cx="11188700" cy="552830"/>
          </a:xfrm>
        </p:spPr>
        <p:txBody>
          <a:bodyPr/>
          <a:lstStyle/>
          <a:p>
            <a:r>
              <a:rPr lang="en-US" sz="2800" dirty="0" err="1"/>
              <a:t>Regla</a:t>
            </a:r>
            <a:r>
              <a:rPr lang="en-US" sz="2800" dirty="0"/>
              <a:t> 2.2.26</a:t>
            </a:r>
          </a:p>
        </p:txBody>
      </p:sp>
      <p:sp>
        <p:nvSpPr>
          <p:cNvPr id="3" name="Title 2"/>
          <p:cNvSpPr>
            <a:spLocks noGrp="1"/>
          </p:cNvSpPr>
          <p:nvPr>
            <p:ph type="title"/>
          </p:nvPr>
        </p:nvSpPr>
        <p:spPr>
          <a:xfrm>
            <a:off x="275619" y="112017"/>
            <a:ext cx="11188700" cy="668198"/>
          </a:xfrm>
        </p:spPr>
        <p:txBody>
          <a:bodyPr/>
          <a:lstStyle/>
          <a:p>
            <a:r>
              <a:rPr lang="en-US" sz="4000" dirty="0" err="1"/>
              <a:t>Comparación</a:t>
            </a:r>
            <a:endParaRPr lang="en-US" dirty="0"/>
          </a:p>
        </p:txBody>
      </p:sp>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nvGraphicFramePr>
        <p:xfrm>
          <a:off x="799600" y="2540000"/>
          <a:ext cx="5368319" cy="88900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Texto de mayo 2022</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lang="es-MX" sz="1400" b="1" dirty="0">
                          <a:solidFill>
                            <a:schemeClr val="tx1"/>
                          </a:solidFill>
                        </a:rPr>
                        <a:t>j) </a:t>
                      </a:r>
                      <a:r>
                        <a:rPr lang="es-MX" sz="1400" b="0" dirty="0">
                          <a:solidFill>
                            <a:schemeClr val="tx1"/>
                          </a:solidFill>
                        </a:rPr>
                        <a:t>Observaciones, en caso de ser necesario.</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1154365758"/>
              </p:ext>
            </p:extLst>
          </p:nvPr>
        </p:nvGraphicFramePr>
        <p:xfrm>
          <a:off x="6558338" y="2529538"/>
          <a:ext cx="5368319" cy="165608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Reforma de octubre 2022</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j) </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Se derogó este inciso. (anexar el Certificado de Molino)</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Se agrega un párrafo que establece más detalladamente el país de origen del acero y las fracciones arancelarias en las que no aplican estos requisitos. (chatarra y otros aceros)</a:t>
                      </a:r>
                      <a:endParaRPr kumimoji="0" lang="es-MX" sz="1400" b="0" i="0" u="sng" strike="noStrike" kern="1200" cap="none" spc="0" normalizeH="0" baseline="0" noProof="0" dirty="0">
                        <a:ln>
                          <a:noFill/>
                        </a:ln>
                        <a:solidFill>
                          <a:prstClr val="black"/>
                        </a:solidFill>
                        <a:effectLst/>
                        <a:uLnTx/>
                        <a:uFillTx/>
                        <a:latin typeface="+mn-lt"/>
                        <a:ea typeface="+mn-ea"/>
                        <a:cs typeface="Calibri Light" panose="020F0302020204030204" pitchFamily="34" charset="0"/>
                      </a:endParaRP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a:extLst>
              <a:ext uri="{FF2B5EF4-FFF2-40B4-BE49-F238E27FC236}">
                <a16:creationId xmlns:a16="http://schemas.microsoft.com/office/drawing/2014/main" id="{668F748E-3308-4D61-8100-87700EAF624C}"/>
              </a:ext>
            </a:extLst>
          </p:cNvPr>
          <p:cNvSpPr txBox="1"/>
          <p:nvPr/>
        </p:nvSpPr>
        <p:spPr>
          <a:xfrm>
            <a:off x="7960832" y="140306"/>
            <a:ext cx="4118153" cy="110799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es-MX" sz="1800" b="0" i="0" u="none" strike="noStrike" kern="1200" cap="none" spc="0" normalizeH="0" baseline="0" noProof="0" dirty="0">
                <a:ln>
                  <a:noFill/>
                </a:ln>
                <a:solidFill>
                  <a:srgbClr val="313131"/>
                </a:solidFill>
                <a:effectLst/>
                <a:uLnTx/>
                <a:uFillTx/>
                <a:latin typeface="Calibri"/>
                <a:ea typeface="+mn-ea"/>
                <a:cs typeface="+mn-cs"/>
              </a:rPr>
              <a:t>Actualización de la información que debe incluirse en las solicitudes de aviso automático de importación de productos siderúrgicos.</a:t>
            </a:r>
          </a:p>
        </p:txBody>
      </p:sp>
      <p:grpSp>
        <p:nvGrpSpPr>
          <p:cNvPr id="7" name="Group 6">
            <a:extLst>
              <a:ext uri="{FF2B5EF4-FFF2-40B4-BE49-F238E27FC236}">
                <a16:creationId xmlns:a16="http://schemas.microsoft.com/office/drawing/2014/main" id="{06C2757E-C41E-4A56-B558-B9F78CCAB707}"/>
              </a:ext>
            </a:extLst>
          </p:cNvPr>
          <p:cNvGrpSpPr/>
          <p:nvPr/>
        </p:nvGrpSpPr>
        <p:grpSpPr>
          <a:xfrm>
            <a:off x="410966" y="6369978"/>
            <a:ext cx="11053353" cy="488022"/>
            <a:chOff x="410966" y="6369978"/>
            <a:chExt cx="11053353" cy="488022"/>
          </a:xfrm>
        </p:grpSpPr>
        <p:sp>
          <p:nvSpPr>
            <p:cNvPr id="9" name="Rectangle 8">
              <a:extLst>
                <a:ext uri="{FF2B5EF4-FFF2-40B4-BE49-F238E27FC236}">
                  <a16:creationId xmlns:a16="http://schemas.microsoft.com/office/drawing/2014/main" id="{D248DFC6-4603-4071-8C6E-4043E055590B}"/>
                </a:ext>
              </a:extLst>
            </p:cNvPr>
            <p:cNvSpPr/>
            <p:nvPr/>
          </p:nvSpPr>
          <p:spPr bwMode="gray">
            <a:xfrm>
              <a:off x="410966" y="6369978"/>
              <a:ext cx="11053353" cy="48802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6142EB7F-933A-44F5-9B7D-0A773513B18C}"/>
                </a:ext>
              </a:extLst>
            </p:cNvPr>
            <p:cNvSpPr txBox="1"/>
            <p:nvPr/>
          </p:nvSpPr>
          <p:spPr>
            <a:xfrm>
              <a:off x="688369" y="6575461"/>
              <a:ext cx="1890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800" b="0" i="0" u="none" strike="noStrike" kern="1200" cap="none" spc="0" normalizeH="0" baseline="0" noProof="0" dirty="0">
                  <a:ln>
                    <a:noFill/>
                  </a:ln>
                  <a:solidFill>
                    <a:srgbClr val="313131"/>
                  </a:solidFill>
                  <a:effectLst/>
                  <a:uLnTx/>
                  <a:uFillTx/>
                  <a:latin typeface="Calibri"/>
                  <a:ea typeface="+mn-ea"/>
                  <a:cs typeface="+mn-cs"/>
                </a:rPr>
                <a:t>2022 Deloitte Impuestos y Servicios Legales</a:t>
              </a:r>
            </a:p>
          </p:txBody>
        </p:sp>
      </p:grpSp>
      <p:pic>
        <p:nvPicPr>
          <p:cNvPr id="6146" name="Picture 2">
            <a:extLst>
              <a:ext uri="{FF2B5EF4-FFF2-40B4-BE49-F238E27FC236}">
                <a16:creationId xmlns:a16="http://schemas.microsoft.com/office/drawing/2014/main" id="{D59C5C09-45B2-447F-9F88-2875AEF4E2C6}"/>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64412" y="3589016"/>
            <a:ext cx="4273229" cy="284881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4C12C8B-3ACF-4E55-8042-80A98F553719}"/>
              </a:ext>
            </a:extLst>
          </p:cNvPr>
          <p:cNvSpPr txBox="1"/>
          <p:nvPr/>
        </p:nvSpPr>
        <p:spPr>
          <a:xfrm>
            <a:off x="7130265" y="4674742"/>
            <a:ext cx="1428108" cy="276999"/>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800" b="0" i="0" u="none" strike="noStrike" kern="1200" cap="none" spc="0" normalizeH="0" baseline="0" noProof="0" dirty="0">
                <a:ln>
                  <a:noFill/>
                </a:ln>
                <a:solidFill>
                  <a:srgbClr val="2F2F2F"/>
                </a:solidFill>
                <a:effectLst/>
                <a:uLnTx/>
                <a:uFillTx/>
                <a:latin typeface="Arial" panose="020B0604020202020204" pitchFamily="34" charset="0"/>
                <a:ea typeface="+mn-ea"/>
                <a:cs typeface="+mn-cs"/>
                <a:hlinkClick r:id="rId4"/>
              </a:rPr>
              <a:t>72021101</a:t>
            </a:r>
            <a:endParaRPr kumimoji="0" lang="en-US" sz="1800" b="0" i="0" u="none" strike="noStrike" kern="1200" cap="none" spc="0" normalizeH="0" baseline="0" noProof="0" dirty="0">
              <a:ln>
                <a:noFill/>
              </a:ln>
              <a:solidFill>
                <a:srgbClr val="313131"/>
              </a:solidFill>
              <a:effectLst/>
              <a:uLnTx/>
              <a:uFillTx/>
              <a:latin typeface="Calibri"/>
              <a:ea typeface="+mn-ea"/>
              <a:cs typeface="+mn-cs"/>
            </a:endParaRPr>
          </a:p>
        </p:txBody>
      </p:sp>
      <p:sp>
        <p:nvSpPr>
          <p:cNvPr id="6" name="TextBox 5">
            <a:extLst>
              <a:ext uri="{FF2B5EF4-FFF2-40B4-BE49-F238E27FC236}">
                <a16:creationId xmlns:a16="http://schemas.microsoft.com/office/drawing/2014/main" id="{8D91EBA7-AC74-49A0-8912-B21B026CD916}"/>
              </a:ext>
            </a:extLst>
          </p:cNvPr>
          <p:cNvSpPr txBox="1"/>
          <p:nvPr/>
        </p:nvSpPr>
        <p:spPr>
          <a:xfrm>
            <a:off x="7130265" y="5291191"/>
            <a:ext cx="1428108" cy="276999"/>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800" b="0" i="0" u="none" strike="noStrike" kern="1200" cap="none" spc="0" normalizeH="0" baseline="0" noProof="0" dirty="0">
                <a:ln>
                  <a:noFill/>
                </a:ln>
                <a:solidFill>
                  <a:srgbClr val="2F2F2F"/>
                </a:solidFill>
                <a:effectLst/>
                <a:uLnTx/>
                <a:uFillTx/>
                <a:latin typeface="Arial" panose="020B0604020202020204" pitchFamily="34" charset="0"/>
                <a:ea typeface="+mn-ea"/>
                <a:cs typeface="+mn-cs"/>
                <a:hlinkClick r:id="rId5"/>
              </a:rPr>
              <a:t>72021999</a:t>
            </a:r>
            <a:r>
              <a:rPr kumimoji="0" lang="en-US" sz="1800" b="0" i="0" u="none" strike="noStrike" kern="1200" cap="none" spc="0" normalizeH="0" baseline="0" noProof="0" dirty="0">
                <a:ln>
                  <a:noFill/>
                </a:ln>
                <a:solidFill>
                  <a:srgbClr val="2F2F2F"/>
                </a:solidFill>
                <a:effectLst/>
                <a:uLnTx/>
                <a:uFillTx/>
                <a:latin typeface="Arial" panose="020B0604020202020204" pitchFamily="34" charset="0"/>
                <a:ea typeface="+mn-ea"/>
                <a:cs typeface="+mn-cs"/>
              </a:rPr>
              <a:t> </a:t>
            </a:r>
            <a:endParaRPr kumimoji="0" lang="en-US" sz="1800" b="0" i="0" u="none" strike="noStrike" kern="1200" cap="none" spc="0" normalizeH="0" baseline="0" noProof="0" dirty="0">
              <a:ln>
                <a:noFill/>
              </a:ln>
              <a:solidFill>
                <a:srgbClr val="313131"/>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04848212-E23E-41EA-8C82-D6CF4899D908}"/>
              </a:ext>
            </a:extLst>
          </p:cNvPr>
          <p:cNvSpPr txBox="1"/>
          <p:nvPr/>
        </p:nvSpPr>
        <p:spPr>
          <a:xfrm>
            <a:off x="7130265" y="5959011"/>
            <a:ext cx="1335641" cy="276999"/>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US" sz="1800" b="0" i="0" u="none" strike="noStrike" kern="1200" cap="none" spc="0" normalizeH="0" baseline="0" noProof="0" dirty="0">
                <a:ln>
                  <a:noFill/>
                </a:ln>
                <a:solidFill>
                  <a:srgbClr val="2F2F2F"/>
                </a:solidFill>
                <a:effectLst/>
                <a:uLnTx/>
                <a:uFillTx/>
                <a:latin typeface="Arial" panose="020B0604020202020204" pitchFamily="34" charset="0"/>
                <a:ea typeface="+mn-ea"/>
                <a:cs typeface="+mn-cs"/>
                <a:hlinkClick r:id="rId6"/>
              </a:rPr>
              <a:t>72023001</a:t>
            </a:r>
            <a:r>
              <a:rPr kumimoji="0" lang="en-US" sz="1800" b="0" i="0" u="none" strike="noStrike" kern="1200" cap="none" spc="0" normalizeH="0" baseline="0" noProof="0" dirty="0">
                <a:ln>
                  <a:noFill/>
                </a:ln>
                <a:solidFill>
                  <a:srgbClr val="2F2F2F"/>
                </a:solidFill>
                <a:effectLst/>
                <a:uLnTx/>
                <a:uFillTx/>
                <a:latin typeface="Arial" panose="020B0604020202020204" pitchFamily="34" charset="0"/>
                <a:ea typeface="+mn-ea"/>
                <a:cs typeface="+mn-cs"/>
              </a:rPr>
              <a:t> </a:t>
            </a:r>
            <a:endParaRPr kumimoji="0" lang="en-US" sz="1800" b="0" i="0" u="none" strike="noStrike" kern="1200" cap="none" spc="0" normalizeH="0" baseline="0" noProof="0" dirty="0">
              <a:ln>
                <a:noFill/>
              </a:ln>
              <a:solidFill>
                <a:srgbClr val="313131"/>
              </a:solidFill>
              <a:effectLst/>
              <a:uLnTx/>
              <a:uFillTx/>
              <a:latin typeface="Calibri"/>
              <a:ea typeface="+mn-ea"/>
              <a:cs typeface="+mn-cs"/>
            </a:endParaRPr>
          </a:p>
        </p:txBody>
      </p:sp>
    </p:spTree>
    <p:extLst>
      <p:ext uri="{BB962C8B-B14F-4D97-AF65-F5344CB8AC3E}">
        <p14:creationId xmlns:p14="http://schemas.microsoft.com/office/powerpoint/2010/main" val="21273205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a:graphicFrameLocks noGrp="1"/>
          </p:cNvGraphicFramePr>
          <p:nvPr>
            <p:extLst>
              <p:ext uri="{D42A27DB-BD31-4B8C-83A1-F6EECF244321}">
                <p14:modId xmlns:p14="http://schemas.microsoft.com/office/powerpoint/2010/main" val="4083336125"/>
              </p:ext>
            </p:extLst>
          </p:nvPr>
        </p:nvGraphicFramePr>
        <p:xfrm>
          <a:off x="501651" y="1065055"/>
          <a:ext cx="10966449" cy="4169740"/>
        </p:xfrm>
        <a:graphic>
          <a:graphicData uri="http://schemas.openxmlformats.org/drawingml/2006/table">
            <a:tbl>
              <a:tblPr/>
              <a:tblGrid>
                <a:gridCol w="10966449">
                  <a:extLst>
                    <a:ext uri="{9D8B030D-6E8A-4147-A177-3AD203B41FA5}">
                      <a16:colId xmlns:a16="http://schemas.microsoft.com/office/drawing/2014/main" val="20000"/>
                    </a:ext>
                  </a:extLst>
                </a:gridCol>
              </a:tblGrid>
              <a:tr h="445621">
                <a:tc>
                  <a:txBody>
                    <a:bodyPr/>
                    <a:lstStyle/>
                    <a:p>
                      <a:pPr marL="0" marR="0" lvl="0" indent="0" algn="l" defTabSz="684213" rtl="0" eaLnBrk="0" fontAlgn="base" latinLnBrk="0" hangingPunct="0">
                        <a:lnSpc>
                          <a:spcPct val="100000"/>
                        </a:lnSpc>
                        <a:spcBef>
                          <a:spcPts val="0"/>
                        </a:spcBef>
                        <a:spcAft>
                          <a:spcPts val="0"/>
                        </a:spcAft>
                        <a:buClrTx/>
                        <a:buSzPct val="25000"/>
                        <a:buFont typeface="Wingdings" pitchFamily="2" charset="2"/>
                        <a:buNone/>
                        <a:tabLst/>
                      </a:pPr>
                      <a:r>
                        <a:rPr kumimoji="0" lang="es-MX" sz="1600" b="0" u="none" strike="noStrike" cap="none" normalizeH="0" baseline="0" noProof="0" dirty="0">
                          <a:ln>
                            <a:noFill/>
                          </a:ln>
                          <a:solidFill>
                            <a:schemeClr val="bg1"/>
                          </a:solidFill>
                          <a:effectLst/>
                          <a:latin typeface="+mn-lt"/>
                        </a:rPr>
                        <a:t>Temas</a:t>
                      </a:r>
                      <a:endParaRPr kumimoji="0" lang="es-MX" sz="1600" b="0" i="0" u="none" strike="noStrike" cap="none" normalizeH="0" baseline="0" noProof="0" dirty="0">
                        <a:ln>
                          <a:noFill/>
                        </a:ln>
                        <a:solidFill>
                          <a:schemeClr val="bg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13791">
                <a:tc>
                  <a:txBody>
                    <a:bodyPr/>
                    <a:lstStyle/>
                    <a:p>
                      <a:pPr marL="354013" marR="0" lvl="0" indent="0" algn="l" defTabSz="914400" rtl="0" eaLnBrk="1" fontAlgn="base" latinLnBrk="0" hangingPunct="1">
                        <a:lnSpc>
                          <a:spcPct val="100000"/>
                        </a:lnSpc>
                        <a:spcBef>
                          <a:spcPts val="0"/>
                        </a:spcBef>
                        <a:spcAft>
                          <a:spcPts val="0"/>
                        </a:spcAft>
                        <a:buClrTx/>
                        <a:buSzPct val="25000"/>
                        <a:buFont typeface="Wingdings" pitchFamily="2" charset="2"/>
                        <a:buNone/>
                        <a:tabLst/>
                      </a:pPr>
                      <a:r>
                        <a:rPr lang="es-MX" sz="1400" b="1" kern="1200" noProof="0" dirty="0">
                          <a:solidFill>
                            <a:schemeClr val="tx1"/>
                          </a:solidFill>
                          <a:effectLst/>
                          <a:latin typeface="+mj-lt"/>
                          <a:ea typeface="+mn-ea"/>
                          <a:cs typeface="+mn-cs"/>
                        </a:rPr>
                        <a:t>Novedades en Materia de Comercio Exterior</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13791">
                <a:tc>
                  <a:txBody>
                    <a:bodyPr/>
                    <a:lstStyle/>
                    <a:p>
                      <a:pPr marL="354013" marR="0" lvl="0" indent="0" algn="l" defTabSz="914400" rtl="0" eaLnBrk="1" fontAlgn="base" latinLnBrk="0" hangingPunct="1">
                        <a:lnSpc>
                          <a:spcPct val="100000"/>
                        </a:lnSpc>
                        <a:spcBef>
                          <a:spcPts val="0"/>
                        </a:spcBef>
                        <a:spcAft>
                          <a:spcPts val="0"/>
                        </a:spcAft>
                        <a:buClrTx/>
                        <a:buSzPct val="25000"/>
                        <a:buFont typeface="Wingdings" pitchFamily="2" charset="2"/>
                        <a:buNone/>
                        <a:tabLst/>
                      </a:pPr>
                      <a:r>
                        <a:rPr lang="es-MX" sz="1400" b="1" kern="1200" dirty="0">
                          <a:solidFill>
                            <a:schemeClr val="tx1"/>
                          </a:solidFill>
                          <a:effectLst/>
                          <a:latin typeface="+mn-lt"/>
                          <a:ea typeface="+mn-ea"/>
                          <a:cs typeface="+mn-cs"/>
                        </a:rPr>
                        <a:t>Tendencias en facultades de comprobación de Comercio Exterior</a:t>
                      </a:r>
                      <a:endParaRPr lang="es-MX" sz="1400" b="1" kern="1200" noProof="0" dirty="0">
                        <a:solidFill>
                          <a:schemeClr val="tx1"/>
                        </a:solidFill>
                        <a:effectLst/>
                        <a:latin typeface="+mj-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82528660"/>
                  </a:ext>
                </a:extLst>
              </a:tr>
              <a:tr h="413791">
                <a:tc>
                  <a:txBody>
                    <a:bodyPr/>
                    <a:lstStyle/>
                    <a:p>
                      <a:pPr marL="354013" marR="0" lvl="0" indent="0" algn="l" defTabSz="914400" rtl="0" eaLnBrk="1" fontAlgn="base" latinLnBrk="0" hangingPunct="1">
                        <a:lnSpc>
                          <a:spcPct val="100000"/>
                        </a:lnSpc>
                        <a:spcBef>
                          <a:spcPts val="0"/>
                        </a:spcBef>
                        <a:spcAft>
                          <a:spcPts val="0"/>
                        </a:spcAft>
                        <a:buClrTx/>
                        <a:buSzPct val="25000"/>
                        <a:buFont typeface="Wingdings" pitchFamily="2" charset="2"/>
                        <a:buNone/>
                        <a:tabLst/>
                      </a:pPr>
                      <a:r>
                        <a:rPr lang="es-MX" sz="1400" b="1" kern="1200" dirty="0">
                          <a:solidFill>
                            <a:schemeClr val="tx1"/>
                          </a:solidFill>
                          <a:effectLst/>
                          <a:latin typeface="+mn-lt"/>
                          <a:ea typeface="+mn-ea"/>
                          <a:cs typeface="+mn-cs"/>
                        </a:rPr>
                        <a:t>Principales</a:t>
                      </a:r>
                      <a:r>
                        <a:rPr lang="es-MX" sz="1400" b="1" kern="1200" baseline="0" dirty="0">
                          <a:solidFill>
                            <a:schemeClr val="tx1"/>
                          </a:solidFill>
                          <a:effectLst/>
                          <a:latin typeface="+mn-lt"/>
                          <a:ea typeface="+mn-ea"/>
                          <a:cs typeface="+mn-cs"/>
                        </a:rPr>
                        <a:t> modificaciones y actualizaciones en materia regulatoria.</a:t>
                      </a:r>
                      <a:r>
                        <a:rPr lang="es-MX" sz="1400" b="1" kern="1200" noProof="0" dirty="0">
                          <a:solidFill>
                            <a:schemeClr val="tx1"/>
                          </a:solidFill>
                          <a:effectLst/>
                          <a:latin typeface="+mn-lt"/>
                          <a:ea typeface="+mn-ea"/>
                          <a:cs typeface="+mn-cs"/>
                        </a:rPr>
                        <a:t> </a:t>
                      </a:r>
                      <a:endParaRPr lang="es-MX" sz="1400" b="1" kern="1200" noProof="0" dirty="0">
                        <a:solidFill>
                          <a:schemeClr val="tx1"/>
                        </a:solidFill>
                        <a:effectLst/>
                        <a:latin typeface="+mj-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3794130"/>
                  </a:ext>
                </a:extLst>
              </a:tr>
              <a:tr h="413791">
                <a:tc>
                  <a:txBody>
                    <a:bodyPr/>
                    <a:lstStyle/>
                    <a:p>
                      <a:pPr marL="630238" marR="0" lvl="0" indent="0" algn="l" defTabSz="914400" rtl="0" eaLnBrk="1" fontAlgn="base" latinLnBrk="0" hangingPunct="1">
                        <a:lnSpc>
                          <a:spcPct val="100000"/>
                        </a:lnSpc>
                        <a:spcBef>
                          <a:spcPts val="0"/>
                        </a:spcBef>
                        <a:spcAft>
                          <a:spcPts val="0"/>
                        </a:spcAft>
                        <a:buClrTx/>
                        <a:buSzPct val="25000"/>
                        <a:buFont typeface="Wingdings" pitchFamily="2" charset="2"/>
                        <a:buNone/>
                        <a:tabLst/>
                      </a:pPr>
                      <a:r>
                        <a:rPr lang="es-MX" sz="1400" kern="1200" noProof="0" dirty="0">
                          <a:solidFill>
                            <a:schemeClr val="tx1"/>
                          </a:solidFill>
                          <a:effectLst/>
                          <a:latin typeface="+mj-lt"/>
                          <a:ea typeface="+mn-ea"/>
                          <a:cs typeface="+mn-cs"/>
                        </a:rPr>
                        <a:t>Cambios en Reglas de Economía</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2023020"/>
                  </a:ext>
                </a:extLst>
              </a:tr>
              <a:tr h="413791">
                <a:tc>
                  <a:txBody>
                    <a:bodyPr/>
                    <a:lstStyle/>
                    <a:p>
                      <a:pPr marL="630238" marR="0" lvl="0" indent="0" algn="l" defTabSz="914400" rtl="0" eaLnBrk="1" fontAlgn="base" latinLnBrk="0" hangingPunct="1">
                        <a:lnSpc>
                          <a:spcPct val="100000"/>
                        </a:lnSpc>
                        <a:spcBef>
                          <a:spcPts val="0"/>
                        </a:spcBef>
                        <a:spcAft>
                          <a:spcPts val="0"/>
                        </a:spcAft>
                        <a:buClrTx/>
                        <a:buSzPct val="25000"/>
                        <a:buFont typeface="Wingdings" pitchFamily="2" charset="2"/>
                        <a:buNone/>
                        <a:tabLst/>
                      </a:pPr>
                      <a:r>
                        <a:rPr lang="es-MX" sz="1400" kern="1200" noProof="0" dirty="0">
                          <a:solidFill>
                            <a:schemeClr val="tx1"/>
                          </a:solidFill>
                          <a:effectLst/>
                          <a:latin typeface="+mj-lt"/>
                          <a:ea typeface="+mn-ea"/>
                          <a:cs typeface="+mn-cs"/>
                        </a:rPr>
                        <a:t>Despacho por Lugar Distinto al Autorizado</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8774754"/>
                  </a:ext>
                </a:extLst>
              </a:tr>
              <a:tr h="413791">
                <a:tc>
                  <a:txBody>
                    <a:bodyPr/>
                    <a:lstStyle/>
                    <a:p>
                      <a:pPr marL="630238" marR="0" lvl="0" indent="0" algn="l" defTabSz="914400" rtl="0" eaLnBrk="1" fontAlgn="auto" latinLnBrk="0" hangingPunct="1">
                        <a:lnSpc>
                          <a:spcPct val="100000"/>
                        </a:lnSpc>
                        <a:spcBef>
                          <a:spcPts val="0"/>
                        </a:spcBef>
                        <a:spcAft>
                          <a:spcPts val="0"/>
                        </a:spcAft>
                        <a:buClrTx/>
                        <a:buSzTx/>
                        <a:buFontTx/>
                        <a:buNone/>
                        <a:tabLst/>
                        <a:defRPr/>
                      </a:pPr>
                      <a:r>
                        <a:rPr lang="es-MX" sz="1400" kern="1200" dirty="0">
                          <a:solidFill>
                            <a:schemeClr val="tx1"/>
                          </a:solidFill>
                          <a:effectLst/>
                          <a:latin typeface="+mj-lt"/>
                          <a:ea typeface="+mn-ea"/>
                          <a:cs typeface="+mn-cs"/>
                        </a:rPr>
                        <a:t>Carta Porte</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6440737"/>
                  </a:ext>
                </a:extLst>
              </a:tr>
              <a:tr h="413791">
                <a:tc>
                  <a:txBody>
                    <a:bodyPr/>
                    <a:lstStyle/>
                    <a:p>
                      <a:pPr marL="630238" marR="0" lvl="0" indent="0" algn="l" defTabSz="914400" rtl="0" eaLnBrk="1" fontAlgn="auto" latinLnBrk="0" hangingPunct="1">
                        <a:lnSpc>
                          <a:spcPct val="100000"/>
                        </a:lnSpc>
                        <a:spcBef>
                          <a:spcPts val="0"/>
                        </a:spcBef>
                        <a:spcAft>
                          <a:spcPts val="0"/>
                        </a:spcAft>
                        <a:buClrTx/>
                        <a:buSzTx/>
                        <a:buFontTx/>
                        <a:buNone/>
                        <a:tabLst/>
                        <a:defRPr/>
                      </a:pPr>
                      <a:r>
                        <a:rPr lang="es-MX" sz="1400" kern="1200" dirty="0">
                          <a:solidFill>
                            <a:schemeClr val="tx1"/>
                          </a:solidFill>
                          <a:effectLst/>
                          <a:latin typeface="+mj-lt"/>
                          <a:ea typeface="+mn-ea"/>
                          <a:cs typeface="+mn-cs"/>
                        </a:rPr>
                        <a:t>Manifestación de Valor Electrónica</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066864"/>
                  </a:ext>
                </a:extLst>
              </a:tr>
              <a:tr h="413791">
                <a:tc>
                  <a:txBody>
                    <a:bodyPr/>
                    <a:lstStyle/>
                    <a:p>
                      <a:pPr marL="354013" marR="0" lvl="0" indent="0" algn="l" defTabSz="914400" rtl="0" eaLnBrk="1" fontAlgn="base" latinLnBrk="0" hangingPunct="1">
                        <a:lnSpc>
                          <a:spcPct val="100000"/>
                        </a:lnSpc>
                        <a:spcBef>
                          <a:spcPts val="0"/>
                        </a:spcBef>
                        <a:spcAft>
                          <a:spcPts val="0"/>
                        </a:spcAft>
                        <a:buClrTx/>
                        <a:buSzPct val="25000"/>
                        <a:buFont typeface="Wingdings" pitchFamily="2" charset="2"/>
                        <a:buNone/>
                        <a:tabLst/>
                        <a:defRPr/>
                      </a:pPr>
                      <a:r>
                        <a:rPr lang="es-MX" sz="1400" b="1" kern="1200" noProof="0" dirty="0">
                          <a:solidFill>
                            <a:schemeClr val="tx1"/>
                          </a:solidFill>
                          <a:effectLst/>
                          <a:latin typeface="+mn-lt"/>
                          <a:ea typeface="+mn-ea"/>
                          <a:cs typeface="+mn-cs"/>
                        </a:rPr>
                        <a:t>Empresa Cumplida de Comercio Exterior</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8470847"/>
                  </a:ext>
                </a:extLst>
              </a:tr>
              <a:tr h="413791">
                <a:tc>
                  <a:txBody>
                    <a:bodyPr/>
                    <a:lstStyle/>
                    <a:p>
                      <a:pPr marL="354013" marR="0" lvl="0" indent="0" algn="l" defTabSz="914400" rtl="0" eaLnBrk="1" fontAlgn="base" latinLnBrk="0" hangingPunct="1">
                        <a:lnSpc>
                          <a:spcPct val="100000"/>
                        </a:lnSpc>
                        <a:spcBef>
                          <a:spcPts val="0"/>
                        </a:spcBef>
                        <a:spcAft>
                          <a:spcPts val="0"/>
                        </a:spcAft>
                        <a:buClrTx/>
                        <a:buSzPct val="25000"/>
                        <a:buFont typeface="Wingdings" pitchFamily="2" charset="2"/>
                        <a:buNone/>
                        <a:tabLst/>
                        <a:defRPr/>
                      </a:pPr>
                      <a:r>
                        <a:rPr lang="es-MX" sz="1400" b="1" kern="1200" noProof="0" dirty="0">
                          <a:solidFill>
                            <a:schemeClr val="tx1"/>
                          </a:solidFill>
                          <a:effectLst/>
                          <a:latin typeface="+mn-lt"/>
                          <a:ea typeface="+mn-ea"/>
                          <a:cs typeface="+mn-cs"/>
                        </a:rPr>
                        <a:t>Preguntas y Respuesta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7479647"/>
                  </a:ext>
                </a:extLst>
              </a:tr>
            </a:tbl>
          </a:graphicData>
        </a:graphic>
      </p:graphicFrame>
      <p:sp>
        <p:nvSpPr>
          <p:cNvPr id="6" name="Freeform 105"/>
          <p:cNvSpPr>
            <a:spLocks noChangeAspect="1" noEditPoints="1"/>
          </p:cNvSpPr>
          <p:nvPr/>
        </p:nvSpPr>
        <p:spPr bwMode="auto">
          <a:xfrm>
            <a:off x="564710" y="2017995"/>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Freeform 105"/>
          <p:cNvSpPr>
            <a:spLocks noChangeAspect="1" noEditPoints="1"/>
          </p:cNvSpPr>
          <p:nvPr/>
        </p:nvSpPr>
        <p:spPr bwMode="auto">
          <a:xfrm>
            <a:off x="802392" y="2805737"/>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Freeform 105"/>
          <p:cNvSpPr>
            <a:spLocks noChangeAspect="1" noEditPoints="1"/>
          </p:cNvSpPr>
          <p:nvPr/>
        </p:nvSpPr>
        <p:spPr bwMode="auto">
          <a:xfrm>
            <a:off x="802394" y="3231993"/>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105"/>
          <p:cNvSpPr>
            <a:spLocks noChangeAspect="1" noEditPoints="1"/>
          </p:cNvSpPr>
          <p:nvPr/>
        </p:nvSpPr>
        <p:spPr bwMode="auto">
          <a:xfrm>
            <a:off x="793705" y="3652154"/>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reeform 105"/>
          <p:cNvSpPr>
            <a:spLocks noChangeAspect="1" noEditPoints="1"/>
          </p:cNvSpPr>
          <p:nvPr/>
        </p:nvSpPr>
        <p:spPr bwMode="auto">
          <a:xfrm>
            <a:off x="793705" y="4079981"/>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 name="Freeform 105"/>
          <p:cNvSpPr>
            <a:spLocks noChangeAspect="1" noEditPoints="1"/>
          </p:cNvSpPr>
          <p:nvPr/>
        </p:nvSpPr>
        <p:spPr bwMode="auto">
          <a:xfrm>
            <a:off x="564710" y="2431298"/>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Freeform 105"/>
          <p:cNvSpPr>
            <a:spLocks noChangeAspect="1" noEditPoints="1"/>
          </p:cNvSpPr>
          <p:nvPr/>
        </p:nvSpPr>
        <p:spPr bwMode="auto">
          <a:xfrm>
            <a:off x="545365" y="4496420"/>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 name="Freeform 105"/>
          <p:cNvSpPr>
            <a:spLocks noChangeAspect="1" noEditPoints="1"/>
          </p:cNvSpPr>
          <p:nvPr/>
        </p:nvSpPr>
        <p:spPr bwMode="auto">
          <a:xfrm>
            <a:off x="545365" y="1604692"/>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itle 14"/>
          <p:cNvSpPr>
            <a:spLocks noGrp="1"/>
          </p:cNvSpPr>
          <p:nvPr>
            <p:ph type="title"/>
          </p:nvPr>
        </p:nvSpPr>
        <p:spPr>
          <a:xfrm>
            <a:off x="520378" y="415867"/>
            <a:ext cx="11188700" cy="309820"/>
          </a:xfrm>
        </p:spPr>
        <p:txBody>
          <a:bodyPr/>
          <a:lstStyle/>
          <a:p>
            <a:r>
              <a:rPr lang="es-MX" b="1" dirty="0"/>
              <a:t>Contenido</a:t>
            </a:r>
          </a:p>
        </p:txBody>
      </p:sp>
      <p:sp>
        <p:nvSpPr>
          <p:cNvPr id="15" name="Freeform 105"/>
          <p:cNvSpPr>
            <a:spLocks noChangeAspect="1" noEditPoints="1"/>
          </p:cNvSpPr>
          <p:nvPr/>
        </p:nvSpPr>
        <p:spPr bwMode="auto">
          <a:xfrm>
            <a:off x="551115" y="4916581"/>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 name="Freeform 105"/>
          <p:cNvSpPr>
            <a:spLocks noChangeAspect="1" noEditPoints="1"/>
          </p:cNvSpPr>
          <p:nvPr/>
        </p:nvSpPr>
        <p:spPr bwMode="auto">
          <a:xfrm>
            <a:off x="-997145" y="6183431"/>
            <a:ext cx="228995" cy="22905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2">
              <a:alpha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 name="Rectangle 22">
            <a:extLst>
              <a:ext uri="{FF2B5EF4-FFF2-40B4-BE49-F238E27FC236}">
                <a16:creationId xmlns:a16="http://schemas.microsoft.com/office/drawing/2014/main" id="{A04075C6-14F6-4ACF-A40A-1107CFF447B5}"/>
              </a:ext>
            </a:extLst>
          </p:cNvPr>
          <p:cNvSpPr/>
          <p:nvPr/>
        </p:nvSpPr>
        <p:spPr bwMode="gray">
          <a:xfrm>
            <a:off x="228600" y="6339212"/>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7" name="Rectangle 26">
            <a:extLst>
              <a:ext uri="{FF2B5EF4-FFF2-40B4-BE49-F238E27FC236}">
                <a16:creationId xmlns:a16="http://schemas.microsoft.com/office/drawing/2014/main" id="{7FE03334-B6E2-4163-A464-1EB920362BFC}"/>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14496254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6">
            <a:extLst>
              <a:ext uri="{FF2B5EF4-FFF2-40B4-BE49-F238E27FC236}">
                <a16:creationId xmlns:a16="http://schemas.microsoft.com/office/drawing/2014/main" id="{843DB005-09D7-4E64-A66D-813ED873EC0A}"/>
              </a:ext>
            </a:extLst>
          </p:cNvPr>
          <p:cNvGraphicFramePr>
            <a:graphicFrameLocks/>
          </p:cNvGraphicFramePr>
          <p:nvPr/>
        </p:nvGraphicFramePr>
        <p:xfrm>
          <a:off x="727681" y="2231775"/>
          <a:ext cx="5368319" cy="301752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Necesario presentar Fe de Hechos</a:t>
                      </a: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lang="es-MX" sz="1400" b="0" dirty="0">
                        <a:solidFill>
                          <a:schemeClr val="tx1"/>
                        </a:solidFill>
                      </a:endParaRP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s-MX" sz="1400" b="0" dirty="0">
                          <a:solidFill>
                            <a:schemeClr val="tx1"/>
                          </a:solidFill>
                        </a:rPr>
                        <a:t>Regla 3.2.20 Solicitud Programa IMMEX Nuevo.</a:t>
                      </a: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s-MX" sz="1400" b="0" dirty="0">
                          <a:solidFill>
                            <a:schemeClr val="tx1"/>
                          </a:solidFill>
                        </a:rPr>
                        <a:t>Regla 3.2.23 Solicitud Programa IMMEX Nuevo. Periodo Preoperativo.</a:t>
                      </a: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s-MX" sz="1400" b="0" dirty="0">
                          <a:solidFill>
                            <a:schemeClr val="tx1"/>
                          </a:solidFill>
                        </a:rPr>
                        <a:t>Regla 3.2.25 Ampliación de actividades bajo la modalidad de Servicios.</a:t>
                      </a: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s-MX" sz="1400" b="0" dirty="0">
                          <a:solidFill>
                            <a:schemeClr val="tx1"/>
                          </a:solidFill>
                        </a:rPr>
                        <a:t>Regla 3.2.33 Cambio de modalidad de IMMEX.</a:t>
                      </a: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lang="es-MX" sz="1400" b="0" dirty="0">
                          <a:solidFill>
                            <a:schemeClr val="tx1"/>
                          </a:solidFill>
                        </a:rPr>
                        <a:t>Regla 3.4.14 Solicitud de programa PROSEC Nuevo.</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a:extLst>
              <a:ext uri="{FF2B5EF4-FFF2-40B4-BE49-F238E27FC236}">
                <a16:creationId xmlns:a16="http://schemas.microsoft.com/office/drawing/2014/main" id="{822A884D-AB12-4705-B755-21E3CD7971ED}"/>
              </a:ext>
            </a:extLst>
          </p:cNvPr>
          <p:cNvGraphicFramePr>
            <a:graphicFrameLocks/>
          </p:cNvGraphicFramePr>
          <p:nvPr>
            <p:extLst>
              <p:ext uri="{D42A27DB-BD31-4B8C-83A1-F6EECF244321}">
                <p14:modId xmlns:p14="http://schemas.microsoft.com/office/powerpoint/2010/main" val="1115991376"/>
              </p:ext>
            </p:extLst>
          </p:nvPr>
        </p:nvGraphicFramePr>
        <p:xfrm>
          <a:off x="6579603" y="2231775"/>
          <a:ext cx="5368319" cy="1783080"/>
        </p:xfrm>
        <a:graphic>
          <a:graphicData uri="http://schemas.openxmlformats.org/drawingml/2006/table">
            <a:tbl>
              <a:tblPr firstRow="1" bandRow="1">
                <a:tableStyleId>{5C22544A-7EE6-4342-B048-85BDC9FD1C3A}</a:tableStyleId>
              </a:tblPr>
              <a:tblGrid>
                <a:gridCol w="5368319">
                  <a:extLst>
                    <a:ext uri="{9D8B030D-6E8A-4147-A177-3AD203B41FA5}">
                      <a16:colId xmlns:a16="http://schemas.microsoft.com/office/drawing/2014/main" val="20000"/>
                    </a:ext>
                  </a:extLst>
                </a:gridCol>
              </a:tblGrid>
              <a:tr h="466140">
                <a:tc>
                  <a:txBody>
                    <a:body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rPr>
                        <a:t>No es necesario presentar Fe de Hechos</a:t>
                      </a:r>
                      <a:endParaRPr kumimoji="0" lang="en-US" sz="2400" b="1" i="0" u="none" strike="noStrike" kern="1200" cap="none" spc="0" normalizeH="0" baseline="0" noProof="0" dirty="0">
                        <a:ln>
                          <a:noFill/>
                        </a:ln>
                        <a:solidFill>
                          <a:srgbClr val="86BC25"/>
                        </a:solidFill>
                        <a:effectLst/>
                        <a:uLnTx/>
                        <a:uFillTx/>
                        <a:latin typeface="+mj-lt"/>
                        <a:ea typeface="+mn-ea"/>
                        <a:cs typeface="Calibri Light" panose="020F0302020204030204" pitchFamily="34" charset="0"/>
                      </a:endParaRPr>
                    </a:p>
                    <a:p>
                      <a:pPr marL="0" marR="0" lvl="2"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400" b="1"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endParaRP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Regla 3.2.28 Ampliación para Reparación, reacondicionamiento y </a:t>
                      </a:r>
                      <a:r>
                        <a:rPr kumimoji="0" lang="es-MX" sz="1400" b="0" i="0" u="none" strike="noStrike" kern="1200" cap="none" spc="0" normalizeH="0" baseline="0" noProof="0" dirty="0" err="1">
                          <a:ln>
                            <a:noFill/>
                          </a:ln>
                          <a:solidFill>
                            <a:prstClr val="black"/>
                          </a:solidFill>
                          <a:effectLst/>
                          <a:uLnTx/>
                          <a:uFillTx/>
                          <a:latin typeface="+mn-lt"/>
                          <a:ea typeface="+mn-ea"/>
                          <a:cs typeface="Calibri Light" panose="020F0302020204030204" pitchFamily="34" charset="0"/>
                        </a:rPr>
                        <a:t>remanufactura</a:t>
                      </a: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 .</a:t>
                      </a:r>
                    </a:p>
                    <a:p>
                      <a:pPr marL="285750" marR="0" lvl="2" indent="-285750" algn="just"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Regla 3.3.6Ampliación para importar mercancías sensibles.</a:t>
                      </a:r>
                    </a:p>
                  </a:txBody>
                  <a:tcPr marL="91510" marR="91510" marT="13716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extBox 1">
            <a:extLst>
              <a:ext uri="{FF2B5EF4-FFF2-40B4-BE49-F238E27FC236}">
                <a16:creationId xmlns:a16="http://schemas.microsoft.com/office/drawing/2014/main" id="{668F748E-3308-4D61-8100-87700EAF624C}"/>
              </a:ext>
            </a:extLst>
          </p:cNvPr>
          <p:cNvSpPr txBox="1"/>
          <p:nvPr/>
        </p:nvSpPr>
        <p:spPr>
          <a:xfrm>
            <a:off x="2556481" y="746482"/>
            <a:ext cx="656697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MX" sz="2400" b="1" i="0" u="none" strike="noStrike" kern="1200" cap="none" spc="0" normalizeH="0" baseline="0" noProof="0" dirty="0">
                <a:ln>
                  <a:noFill/>
                </a:ln>
                <a:solidFill>
                  <a:srgbClr val="313131"/>
                </a:solidFill>
                <a:effectLst/>
                <a:uLnTx/>
                <a:uFillTx/>
                <a:latin typeface="Calibri"/>
                <a:ea typeface="+mn-ea"/>
                <a:cs typeface="+mn-cs"/>
              </a:rPr>
              <a:t>Trámites y solicitudes en se solicita la Fe de Hechos y en las que ya no es indispensable.</a:t>
            </a:r>
          </a:p>
        </p:txBody>
      </p:sp>
      <p:grpSp>
        <p:nvGrpSpPr>
          <p:cNvPr id="5" name="Group 4">
            <a:extLst>
              <a:ext uri="{FF2B5EF4-FFF2-40B4-BE49-F238E27FC236}">
                <a16:creationId xmlns:a16="http://schemas.microsoft.com/office/drawing/2014/main" id="{A81F29EA-F7ED-4C28-B595-36D06E770C2A}"/>
              </a:ext>
            </a:extLst>
          </p:cNvPr>
          <p:cNvGrpSpPr/>
          <p:nvPr/>
        </p:nvGrpSpPr>
        <p:grpSpPr>
          <a:xfrm>
            <a:off x="410966" y="6369978"/>
            <a:ext cx="11053353" cy="488022"/>
            <a:chOff x="410966" y="6369978"/>
            <a:chExt cx="11053353" cy="488022"/>
          </a:xfrm>
        </p:grpSpPr>
        <p:sp>
          <p:nvSpPr>
            <p:cNvPr id="6" name="Rectangle 5">
              <a:extLst>
                <a:ext uri="{FF2B5EF4-FFF2-40B4-BE49-F238E27FC236}">
                  <a16:creationId xmlns:a16="http://schemas.microsoft.com/office/drawing/2014/main" id="{F5893C86-C8D9-49D7-9AAE-9484136C5B26}"/>
                </a:ext>
              </a:extLst>
            </p:cNvPr>
            <p:cNvSpPr/>
            <p:nvPr/>
          </p:nvSpPr>
          <p:spPr bwMode="gray">
            <a:xfrm>
              <a:off x="410966" y="6369978"/>
              <a:ext cx="11053353" cy="488022"/>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1A5EE7F3-3ADF-4505-89A9-456EA3608DA7}"/>
                </a:ext>
              </a:extLst>
            </p:cNvPr>
            <p:cNvSpPr txBox="1"/>
            <p:nvPr/>
          </p:nvSpPr>
          <p:spPr>
            <a:xfrm>
              <a:off x="688369" y="6575461"/>
              <a:ext cx="18904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800" b="0" i="0" u="none" strike="noStrike" kern="1200" cap="none" spc="0" normalizeH="0" baseline="0" noProof="0" dirty="0">
                  <a:ln>
                    <a:noFill/>
                  </a:ln>
                  <a:solidFill>
                    <a:srgbClr val="313131"/>
                  </a:solidFill>
                  <a:effectLst/>
                  <a:uLnTx/>
                  <a:uFillTx/>
                  <a:latin typeface="Calibri"/>
                  <a:ea typeface="+mn-ea"/>
                  <a:cs typeface="+mn-cs"/>
                </a:rPr>
                <a:t>2022 Deloitte Impuestos y Servicios Legales</a:t>
              </a:r>
            </a:p>
          </p:txBody>
        </p:sp>
      </p:grpSp>
      <p:pic>
        <p:nvPicPr>
          <p:cNvPr id="7170" name="Picture 2">
            <a:extLst>
              <a:ext uri="{FF2B5EF4-FFF2-40B4-BE49-F238E27FC236}">
                <a16:creationId xmlns:a16="http://schemas.microsoft.com/office/drawing/2014/main" id="{4055127D-2A15-493C-894F-8282A7B76CD9}"/>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629315" y="4519309"/>
            <a:ext cx="3268894" cy="2179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690831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74015" y="3811578"/>
            <a:ext cx="5961169" cy="698501"/>
          </a:xfrm>
        </p:spPr>
        <p:txBody>
          <a:bodyPr/>
          <a:lstStyle/>
          <a:p>
            <a:r>
              <a:rPr lang="es-MX" sz="4000" dirty="0">
                <a:ea typeface="Verdana" panose="020B0604030504040204" pitchFamily="34" charset="0"/>
                <a:cs typeface="Verdana" panose="020B0604030504040204" pitchFamily="34" charset="0"/>
              </a:rPr>
              <a:t>Despacho por Lugar Distinto al Autorizado (LDA)</a:t>
            </a:r>
            <a:endParaRPr lang="es-MX" dirty="0"/>
          </a:p>
        </p:txBody>
      </p:sp>
      <p:sp>
        <p:nvSpPr>
          <p:cNvPr id="18" name="TextBox 17"/>
          <p:cNvSpPr txBox="1"/>
          <p:nvPr/>
        </p:nvSpPr>
        <p:spPr>
          <a:xfrm>
            <a:off x="11382377" y="6477000"/>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21</a:t>
            </a:fld>
            <a:endParaRPr kumimoji="0" lang="en-US" sz="9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1" name="Rectangle 20"/>
          <p:cNvSpPr/>
          <p:nvPr/>
        </p:nvSpPr>
        <p:spPr bwMode="gray">
          <a:xfrm>
            <a:off x="8630816" y="6223518"/>
            <a:ext cx="2827176" cy="410547"/>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TextBox 16"/>
          <p:cNvSpPr txBox="1"/>
          <p:nvPr/>
        </p:nvSpPr>
        <p:spPr>
          <a:xfrm>
            <a:off x="6335184" y="6469257"/>
            <a:ext cx="4896560" cy="41549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2" name="Group 1"/>
          <p:cNvGrpSpPr/>
          <p:nvPr/>
        </p:nvGrpSpPr>
        <p:grpSpPr>
          <a:xfrm>
            <a:off x="7126163" y="2122364"/>
            <a:ext cx="4105581" cy="4076928"/>
            <a:chOff x="7133448" y="1949593"/>
            <a:chExt cx="4105581" cy="4076928"/>
          </a:xfrm>
        </p:grpSpPr>
        <p:grpSp>
          <p:nvGrpSpPr>
            <p:cNvPr id="15" name="Group 14"/>
            <p:cNvGrpSpPr/>
            <p:nvPr/>
          </p:nvGrpSpPr>
          <p:grpSpPr>
            <a:xfrm>
              <a:off x="7730535" y="2568778"/>
              <a:ext cx="2869723" cy="2869723"/>
              <a:chOff x="-951258" y="1193925"/>
              <a:chExt cx="2857926" cy="2857926"/>
            </a:xfrm>
            <a:solidFill>
              <a:schemeClr val="accent6">
                <a:lumMod val="60000"/>
                <a:lumOff val="40000"/>
                <a:alpha val="69804"/>
              </a:schemeClr>
            </a:solidFill>
          </p:grpSpPr>
          <p:sp>
            <p:nvSpPr>
              <p:cNvPr id="16" name="Oval 15"/>
              <p:cNvSpPr/>
              <p:nvPr/>
            </p:nvSpPr>
            <p:spPr bwMode="gray">
              <a:xfrm>
                <a:off x="-951258" y="1193925"/>
                <a:ext cx="2857926" cy="2857926"/>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Oval 19"/>
              <p:cNvSpPr/>
              <p:nvPr/>
            </p:nvSpPr>
            <p:spPr bwMode="gray">
              <a:xfrm>
                <a:off x="-847540" y="1297643"/>
                <a:ext cx="2650491" cy="2650491"/>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p:cNvSpPr/>
              <p:nvPr/>
            </p:nvSpPr>
            <p:spPr bwMode="gray">
              <a:xfrm>
                <a:off x="-700076" y="1433125"/>
                <a:ext cx="2381102" cy="2381103"/>
              </a:xfrm>
              <a:prstGeom prst="ellipse">
                <a:avLst/>
              </a:prstGeom>
              <a:grpFill/>
              <a:ln w="15875" cmpd="sng" algn="ctr">
                <a:solidFill>
                  <a:schemeClr val="bg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Light"/>
                    <a:ea typeface="+mn-ea"/>
                    <a:cs typeface="Arial" pitchFamily="34" charset="0"/>
                  </a:rPr>
                  <a:t> </a:t>
                </a:r>
              </a:p>
            </p:txBody>
          </p:sp>
        </p:grpSp>
        <p:grpSp>
          <p:nvGrpSpPr>
            <p:cNvPr id="24" name="Group 23"/>
            <p:cNvGrpSpPr/>
            <p:nvPr/>
          </p:nvGrpSpPr>
          <p:grpSpPr>
            <a:xfrm rot="219170">
              <a:off x="7133448" y="1949593"/>
              <a:ext cx="4105581" cy="4076928"/>
              <a:chOff x="3246439" y="2191227"/>
              <a:chExt cx="3028795" cy="3019830"/>
            </a:xfrm>
            <a:solidFill>
              <a:srgbClr val="37C4FF">
                <a:alpha val="50196"/>
              </a:srgbClr>
            </a:solidFill>
          </p:grpSpPr>
          <p:sp>
            <p:nvSpPr>
              <p:cNvPr id="25" name="Block Arc 24"/>
              <p:cNvSpPr/>
              <p:nvPr/>
            </p:nvSpPr>
            <p:spPr>
              <a:xfrm flipV="1">
                <a:off x="3246439" y="2191227"/>
                <a:ext cx="3019828" cy="3019829"/>
              </a:xfrm>
              <a:prstGeom prst="blockArc">
                <a:avLst>
                  <a:gd name="adj1" fmla="val 11191580"/>
                  <a:gd name="adj2" fmla="val 132976"/>
                  <a:gd name="adj3" fmla="val 27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Block Arc 26"/>
              <p:cNvSpPr/>
              <p:nvPr/>
            </p:nvSpPr>
            <p:spPr>
              <a:xfrm>
                <a:off x="3255405" y="2191228"/>
                <a:ext cx="3019829" cy="3019829"/>
              </a:xfrm>
              <a:prstGeom prst="blockArc">
                <a:avLst>
                  <a:gd name="adj1" fmla="val 10803362"/>
                  <a:gd name="adj2" fmla="val 21151827"/>
                  <a:gd name="adj3" fmla="val 333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Oval 27"/>
            <p:cNvSpPr/>
            <p:nvPr/>
          </p:nvSpPr>
          <p:spPr bwMode="gray">
            <a:xfrm>
              <a:off x="7496910" y="2347510"/>
              <a:ext cx="3360663" cy="3321092"/>
            </a:xfrm>
            <a:prstGeom prst="ellipse">
              <a:avLst/>
            </a:prstGeom>
            <a:noFill/>
            <a:ln w="19050" cmpd="sng" algn="ctr">
              <a:solidFill>
                <a:schemeClr val="accent6">
                  <a:alpha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22" name="Group 592">
            <a:extLst>
              <a:ext uri="{FF2B5EF4-FFF2-40B4-BE49-F238E27FC236}">
                <a16:creationId xmlns:a16="http://schemas.microsoft.com/office/drawing/2014/main" id="{DA38DD4D-24CD-48AD-ACE3-6FE51302B674}"/>
              </a:ext>
            </a:extLst>
          </p:cNvPr>
          <p:cNvGrpSpPr>
            <a:grpSpLocks noChangeAspect="1"/>
          </p:cNvGrpSpPr>
          <p:nvPr/>
        </p:nvGrpSpPr>
        <p:grpSpPr bwMode="auto">
          <a:xfrm>
            <a:off x="8331287" y="3329145"/>
            <a:ext cx="1653647" cy="1648800"/>
            <a:chOff x="373" y="1933"/>
            <a:chExt cx="341" cy="340"/>
          </a:xfrm>
          <a:solidFill>
            <a:schemeClr val="bg1"/>
          </a:solidFill>
        </p:grpSpPr>
        <p:sp>
          <p:nvSpPr>
            <p:cNvPr id="26" name="Freeform 4">
              <a:extLst>
                <a:ext uri="{FF2B5EF4-FFF2-40B4-BE49-F238E27FC236}">
                  <a16:creationId xmlns:a16="http://schemas.microsoft.com/office/drawing/2014/main" id="{BB061701-A06D-4B26-8A86-FB426E643824}"/>
                </a:ext>
              </a:extLst>
            </p:cNvPr>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9" name="Freeform 5">
              <a:extLst>
                <a:ext uri="{FF2B5EF4-FFF2-40B4-BE49-F238E27FC236}">
                  <a16:creationId xmlns:a16="http://schemas.microsoft.com/office/drawing/2014/main" id="{F4BF7A99-2361-47D6-83EB-3E249ACEFC38}"/>
                </a:ext>
              </a:extLst>
            </p:cNvPr>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dirty="0">
                <a:ln>
                  <a:noFill/>
                </a:ln>
                <a:solidFill>
                  <a:prstClr val="black"/>
                </a:solidFill>
                <a:effectLst/>
                <a:uLnTx/>
                <a:uFillTx/>
                <a:latin typeface="Calibri Light"/>
                <a:ea typeface="+mn-ea"/>
                <a:cs typeface="+mn-cs"/>
              </a:endParaRPr>
            </a:p>
          </p:txBody>
        </p:sp>
      </p:grpSp>
    </p:spTree>
    <p:extLst>
      <p:ext uri="{BB962C8B-B14F-4D97-AF65-F5344CB8AC3E}">
        <p14:creationId xmlns:p14="http://schemas.microsoft.com/office/powerpoint/2010/main" val="11996741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a:t>Despacho por Lugar Distinto al Autorizado</a:t>
            </a:r>
            <a:endParaRPr lang="es-MX" dirty="0"/>
          </a:p>
        </p:txBody>
      </p:sp>
      <p:sp>
        <p:nvSpPr>
          <p:cNvPr id="37" name="Title 14"/>
          <p:cNvSpPr>
            <a:spLocks noGrp="1"/>
          </p:cNvSpPr>
          <p:nvPr>
            <p:ph type="title"/>
          </p:nvPr>
        </p:nvSpPr>
        <p:spPr/>
        <p:txBody>
          <a:bodyPr/>
          <a:lstStyle/>
          <a:p>
            <a:r>
              <a:rPr lang="es-MX" noProof="0"/>
              <a:t>Principales Modificaciones en Materia Regulatoria</a:t>
            </a:r>
            <a:br>
              <a:rPr lang="es-MX"/>
            </a:b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733849"/>
            <a:ext cx="6927274" cy="541687"/>
          </a:xfrm>
          <a:prstGeom prst="rect">
            <a:avLst/>
          </a:prstGeom>
        </p:spPr>
        <p:txBody>
          <a:bodyPr wrap="square" lIns="0" tIns="0" rIns="0" bIns="0">
            <a:spAutoFit/>
          </a:bodyPr>
          <a:lstStyle/>
          <a:p>
            <a:pPr lvl="0">
              <a:lnSpc>
                <a:spcPct val="110000"/>
              </a:lnSpc>
            </a:pPr>
            <a:r>
              <a:rPr lang="es-MX" sz="1600" b="1">
                <a:solidFill>
                  <a:srgbClr val="40972B"/>
                </a:solidFill>
                <a:latin typeface="+mj-lt"/>
                <a:ea typeface="Open Sans Semibold" panose="020B0706030804020204" pitchFamily="34" charset="0"/>
                <a:cs typeface="Calibri Light" panose="020F0302020204030204" pitchFamily="34" charset="0"/>
              </a:rPr>
              <a:t>Modificaciones derivadas de la 7ma Resolución de Modificaciones a las Reglas Generales de Comercio Exterior, publicadas el 11 de junio del 2021</a:t>
            </a: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p>
          </p:txBody>
        </p:sp>
        <p:sp>
          <p:nvSpPr>
            <p:cNvPr id="18" name="TextBox 17"/>
            <p:cNvSpPr txBox="1"/>
            <p:nvPr/>
          </p:nvSpPr>
          <p:spPr>
            <a:xfrm>
              <a:off x="636838" y="3892034"/>
              <a:ext cx="155492" cy="369332"/>
            </a:xfrm>
            <a:prstGeom prst="rect">
              <a:avLst/>
            </a:prstGeom>
            <a:noFill/>
          </p:spPr>
          <p:txBody>
            <a:bodyPr wrap="square" lIns="0" tIns="0" rIns="0" bIns="0" rtlCol="0">
              <a:spAutoFit/>
            </a:bodyPr>
            <a:lstStyle/>
            <a:p>
              <a:pPr>
                <a:spcBef>
                  <a:spcPts val="600"/>
                </a:spcBef>
                <a:buSzPct val="100000"/>
              </a:pPr>
              <a:r>
                <a:rPr lang="es-MX" sz="2400" b="1" i="1" dirty="0">
                  <a:solidFill>
                    <a:schemeClr val="bg1"/>
                  </a:solidFill>
                  <a:latin typeface="+mj-lt"/>
                </a:rPr>
                <a:t>1</a:t>
              </a:r>
            </a:p>
          </p:txBody>
        </p:sp>
      </p:grpSp>
      <p:sp>
        <p:nvSpPr>
          <p:cNvPr id="10" name="Text Placeholder 6"/>
          <p:cNvSpPr txBox="1">
            <a:spLocks/>
          </p:cNvSpPr>
          <p:nvPr/>
        </p:nvSpPr>
        <p:spPr>
          <a:xfrm>
            <a:off x="479231" y="2475937"/>
            <a:ext cx="7308580" cy="2959442"/>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dirty="0"/>
              <a:t>Conforme a las modificaciones establecidas en la 7ma Resolución de Modificaciones a las Reglas Generales de Comercio Exterior para 2020, se prevé que </a:t>
            </a:r>
            <a:r>
              <a:rPr lang="es-MX" sz="1600" b="1" dirty="0"/>
              <a:t>las autorizaciones para llevar a cabo el despacho por lugar distinto al autorizado conforme a la Regla 2.4.1., únicamente podrá autorizarse o prorrogarse a las empresas productivas del Estado, sus organismos subsidiarios y empresas productivas subsidiarias, </a:t>
            </a:r>
            <a:r>
              <a:rPr lang="es-MX" sz="1600" dirty="0"/>
              <a:t>lo cual hasta este momento se esperaba que tuviera efectos negativos en los costos logísticos para empresas de hidrocarburos. </a:t>
            </a:r>
          </a:p>
          <a:p>
            <a:pPr marL="0" lvl="2" indent="0" algn="just">
              <a:buNone/>
            </a:pPr>
            <a:endParaRPr lang="es-MX" sz="1600" b="1" dirty="0"/>
          </a:p>
          <a:p>
            <a:pPr marL="0" lvl="2" indent="0" algn="just">
              <a:buNone/>
            </a:pPr>
            <a:r>
              <a:rPr lang="es-MX" sz="1600" b="1" dirty="0"/>
              <a:t>Así mismo, dicha modificación establece aquellas fracciones arancelarias de productos que podrán ser despachados bajo dicho esquema, incluyendo dentro de los mismos, hidrocarburos, productos petrolíferos, incluso mezclados con otros componentes que no provengan del petróleo o gas natural, petroquímicos y sus especialidades, biocombustibles y mercancías de los Sectores 12 “Alcohol Etílico” y 13 “Hidrocarburos y Combustibles”, del Apartado A, del Anexo 10 y en el Anexo 14 de las RGCE para 2020.</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4121" y="2106202"/>
            <a:ext cx="3270548" cy="3436706"/>
          </a:xfrm>
          <a:prstGeom prst="rect">
            <a:avLst/>
          </a:prstGeom>
        </p:spPr>
      </p:pic>
      <p:sp>
        <p:nvSpPr>
          <p:cNvPr id="12" name="Rectangle 11">
            <a:extLst>
              <a:ext uri="{FF2B5EF4-FFF2-40B4-BE49-F238E27FC236}">
                <a16:creationId xmlns:a16="http://schemas.microsoft.com/office/drawing/2014/main" id="{BB8EDAAA-91B2-4723-B723-EB26651DF5B6}"/>
              </a:ext>
            </a:extLst>
          </p:cNvPr>
          <p:cNvSpPr/>
          <p:nvPr/>
        </p:nvSpPr>
        <p:spPr bwMode="gray">
          <a:xfrm>
            <a:off x="161692" y="6437415"/>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1" name="Rectangle 20">
            <a:extLst>
              <a:ext uri="{FF2B5EF4-FFF2-40B4-BE49-F238E27FC236}">
                <a16:creationId xmlns:a16="http://schemas.microsoft.com/office/drawing/2014/main" id="{AEA8774A-7C70-4B80-B594-F3D97E5ABDCF}"/>
              </a:ext>
            </a:extLst>
          </p:cNvPr>
          <p:cNvSpPr/>
          <p:nvPr/>
        </p:nvSpPr>
        <p:spPr>
          <a:xfrm>
            <a:off x="501650" y="6443845"/>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53948519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a:t>Despacho por Lugar Distinto al Autorizado</a:t>
            </a:r>
            <a:endParaRPr lang="es-MX" dirty="0"/>
          </a:p>
        </p:txBody>
      </p:sp>
      <p:sp>
        <p:nvSpPr>
          <p:cNvPr id="37" name="Title 14"/>
          <p:cNvSpPr>
            <a:spLocks noGrp="1"/>
          </p:cNvSpPr>
          <p:nvPr>
            <p:ph type="title"/>
          </p:nvPr>
        </p:nvSpPr>
        <p:spPr/>
        <p:txBody>
          <a:bodyPr/>
          <a:lstStyle/>
          <a:p>
            <a:r>
              <a:rPr lang="es-MX" noProof="0"/>
              <a:t>Principales Modificaciones en Materia Regulatoria</a:t>
            </a:r>
            <a:br>
              <a:rPr lang="es-MX"/>
            </a:b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733849"/>
            <a:ext cx="6927274" cy="798937"/>
          </a:xfrm>
          <a:prstGeom prst="rect">
            <a:avLst/>
          </a:prstGeom>
        </p:spPr>
        <p:txBody>
          <a:bodyPr wrap="square" lIns="0" tIns="0" rIns="0" bIns="0">
            <a:spAutoFit/>
          </a:bodyPr>
          <a:lstStyle/>
          <a:p>
            <a:pPr lvl="0">
              <a:lnSpc>
                <a:spcPct val="110000"/>
              </a:lnSpc>
            </a:pPr>
            <a:r>
              <a:rPr lang="es-MX" sz="1600" b="1">
                <a:solidFill>
                  <a:srgbClr val="40972B"/>
                </a:solidFill>
                <a:ea typeface="Open Sans Semibold" panose="020B0706030804020204" pitchFamily="34" charset="0"/>
                <a:cs typeface="Calibri Light" panose="020F0302020204030204" pitchFamily="34" charset="0"/>
              </a:rPr>
              <a:t>Modificaciones derivadas de la 2da Resolución Antiticpada de la 9na Resolución de Modificaciones a las Reglas Generales de Comercio Exterior, publicada el 25 de octubre del 2021</a:t>
            </a:r>
            <a:endParaRPr lang="es-MX" sz="1600" b="1" dirty="0">
              <a:solidFill>
                <a:srgbClr val="40972B"/>
              </a:solidFill>
              <a:ea typeface="Open Sans Semibold" panose="020B0706030804020204" pitchFamily="34" charset="0"/>
              <a:cs typeface="Calibri Light" panose="020F0302020204030204" pitchFamily="34" charset="0"/>
            </a:endParaRP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dirty="0">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dirty="0">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endParaRPr lang="es-MX" sz="1600" b="1" i="1" dirty="0">
                <a:solidFill>
                  <a:schemeClr val="bg1"/>
                </a:solidFill>
                <a:latin typeface="+mj-lt"/>
                <a:cs typeface="Calibri" panose="020F0502020204030204" pitchFamily="34" charset="0"/>
              </a:endParaRPr>
            </a:p>
          </p:txBody>
        </p:sp>
        <p:sp>
          <p:nvSpPr>
            <p:cNvPr id="18" name="TextBox 17"/>
            <p:cNvSpPr txBox="1"/>
            <p:nvPr/>
          </p:nvSpPr>
          <p:spPr>
            <a:xfrm>
              <a:off x="636838" y="3892034"/>
              <a:ext cx="155492" cy="369332"/>
            </a:xfrm>
            <a:prstGeom prst="rect">
              <a:avLst/>
            </a:prstGeom>
            <a:noFill/>
          </p:spPr>
          <p:txBody>
            <a:bodyPr wrap="none" lIns="0" tIns="0" rIns="0" bIns="0" rtlCol="0">
              <a:spAutoFit/>
            </a:bodyPr>
            <a:lstStyle/>
            <a:p>
              <a:pPr>
                <a:spcBef>
                  <a:spcPts val="600"/>
                </a:spcBef>
                <a:buSzPct val="100000"/>
              </a:pPr>
              <a:r>
                <a:rPr lang="es-MX" sz="2400" b="1" i="1" dirty="0">
                  <a:solidFill>
                    <a:schemeClr val="bg1"/>
                  </a:solidFill>
                  <a:latin typeface="+mj-lt"/>
                </a:rPr>
                <a:t>2</a:t>
              </a:r>
            </a:p>
          </p:txBody>
        </p:sp>
      </p:grpSp>
      <p:sp>
        <p:nvSpPr>
          <p:cNvPr id="10" name="Text Placeholder 6"/>
          <p:cNvSpPr txBox="1">
            <a:spLocks/>
          </p:cNvSpPr>
          <p:nvPr/>
        </p:nvSpPr>
        <p:spPr>
          <a:xfrm>
            <a:off x="484374" y="2717063"/>
            <a:ext cx="7608065" cy="2959442"/>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dirty="0"/>
              <a:t>Se elimina la restricción para todos los sectores del sector privado </a:t>
            </a:r>
            <a:r>
              <a:rPr lang="es-MX" sz="1600" b="1" dirty="0"/>
              <a:t>con excepción de los químicos esenciales</a:t>
            </a:r>
            <a:r>
              <a:rPr lang="es-MX" sz="1600" dirty="0"/>
              <a:t> y se añaden requisitos adicionales entre los que destacan:</a:t>
            </a:r>
          </a:p>
          <a:p>
            <a:pPr marL="342900" lvl="2" indent="-342900" algn="just">
              <a:buAutoNum type="arabicPeriod"/>
            </a:pPr>
            <a:r>
              <a:rPr lang="es-MX" sz="1600" dirty="0"/>
              <a:t>Contar con todas las autorizaciones, concesiones y permisos propios de su operación.</a:t>
            </a:r>
          </a:p>
          <a:p>
            <a:pPr marL="342900" lvl="2" indent="-342900" algn="just">
              <a:buAutoNum type="arabicPeriod"/>
            </a:pPr>
            <a:r>
              <a:rPr lang="es-MX" sz="1600" dirty="0"/>
              <a:t>Demostrar que sus clientes cuentan con sus permisos correspondientes.</a:t>
            </a:r>
          </a:p>
          <a:p>
            <a:pPr marL="342900" lvl="2" indent="-342900" algn="just">
              <a:buAutoNum type="arabicPeriod"/>
            </a:pPr>
            <a:r>
              <a:rPr lang="es-MX" sz="1600" b="1" dirty="0"/>
              <a:t>Contar con controles volumétricos.</a:t>
            </a:r>
          </a:p>
          <a:p>
            <a:pPr marL="342900" lvl="2" indent="-342900" algn="just">
              <a:buAutoNum type="arabicPeriod"/>
            </a:pPr>
            <a:r>
              <a:rPr lang="es-MX" sz="1600" dirty="0"/>
              <a:t>Acreditas que las instalaciones están adecuadas y cuentan con sus  respectivas autorizaciones.</a:t>
            </a:r>
          </a:p>
          <a:p>
            <a:pPr marL="342900" lvl="2" indent="-342900" algn="just">
              <a:buAutoNum type="arabicPeriod"/>
            </a:pPr>
            <a:r>
              <a:rPr lang="es-MX" sz="1600" dirty="0"/>
              <a:t>Otorgar acceso electrónico al SAT de sus controles de inventarios en tiempo real.</a:t>
            </a:r>
          </a:p>
          <a:p>
            <a:pPr marL="342900" lvl="2" indent="-342900" algn="just">
              <a:buAutoNum type="arabicPeriod"/>
            </a:pPr>
            <a:r>
              <a:rPr lang="es-MX" sz="1600" dirty="0"/>
              <a:t>Instalar cámaras portátiles y circuito cerrado con acceso en tiempo real por parte del SAT.</a:t>
            </a:r>
          </a:p>
          <a:p>
            <a:pPr marL="342900" lvl="2" indent="-342900" algn="just">
              <a:buAutoNum type="arabicPeriod"/>
            </a:pPr>
            <a:endParaRPr lang="es-MX" sz="16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2885" y="715100"/>
            <a:ext cx="4946027" cy="5444399"/>
          </a:xfrm>
          <a:prstGeom prst="rect">
            <a:avLst/>
          </a:prstGeom>
        </p:spPr>
      </p:pic>
      <p:sp>
        <p:nvSpPr>
          <p:cNvPr id="12" name="Rectangle 11">
            <a:extLst>
              <a:ext uri="{FF2B5EF4-FFF2-40B4-BE49-F238E27FC236}">
                <a16:creationId xmlns:a16="http://schemas.microsoft.com/office/drawing/2014/main" id="{34ED560C-3A1B-4B4A-950B-5268C5F8DF80}"/>
              </a:ext>
            </a:extLst>
          </p:cNvPr>
          <p:cNvSpPr/>
          <p:nvPr/>
        </p:nvSpPr>
        <p:spPr bwMode="gray">
          <a:xfrm>
            <a:off x="195146" y="649492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14" name="Rectangle 13">
            <a:extLst>
              <a:ext uri="{FF2B5EF4-FFF2-40B4-BE49-F238E27FC236}">
                <a16:creationId xmlns:a16="http://schemas.microsoft.com/office/drawing/2014/main" id="{97FDDD58-9745-47CF-BE94-63989E167E6A}"/>
              </a:ext>
            </a:extLst>
          </p:cNvPr>
          <p:cNvSpPr/>
          <p:nvPr/>
        </p:nvSpPr>
        <p:spPr>
          <a:xfrm>
            <a:off x="443539" y="6540500"/>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00046588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a:t>Despacho por Lugar Distinto al Autorizado</a:t>
            </a:r>
            <a:endParaRPr lang="es-MX" dirty="0"/>
          </a:p>
        </p:txBody>
      </p:sp>
      <p:sp>
        <p:nvSpPr>
          <p:cNvPr id="37" name="Title 14"/>
          <p:cNvSpPr>
            <a:spLocks noGrp="1"/>
          </p:cNvSpPr>
          <p:nvPr>
            <p:ph type="title"/>
          </p:nvPr>
        </p:nvSpPr>
        <p:spPr/>
        <p:txBody>
          <a:bodyPr/>
          <a:lstStyle/>
          <a:p>
            <a:r>
              <a:rPr lang="es-MX" noProof="0"/>
              <a:t>Principales Modificaciones en Materia Regulatoria</a:t>
            </a:r>
            <a:br>
              <a:rPr lang="es-MX"/>
            </a:b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733849"/>
            <a:ext cx="6927274" cy="257250"/>
          </a:xfrm>
          <a:prstGeom prst="rect">
            <a:avLst/>
          </a:prstGeom>
        </p:spPr>
        <p:txBody>
          <a:bodyPr wrap="square" lIns="0" tIns="0" rIns="0" bIns="0">
            <a:spAutoFit/>
          </a:bodyPr>
          <a:lstStyle/>
          <a:p>
            <a:pPr lvl="0">
              <a:lnSpc>
                <a:spcPct val="110000"/>
              </a:lnSpc>
            </a:pPr>
            <a:r>
              <a:rPr lang="es-MX" sz="1600" b="1" dirty="0">
                <a:solidFill>
                  <a:srgbClr val="40972B"/>
                </a:solidFill>
                <a:ea typeface="Open Sans Semibold" panose="020B0706030804020204" pitchFamily="34" charset="0"/>
                <a:cs typeface="Calibri Light" panose="020F0302020204030204" pitchFamily="34" charset="0"/>
              </a:rPr>
              <a:t>Situación Actual</a:t>
            </a: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dirty="0">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dirty="0">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endParaRPr lang="es-MX" sz="1600" b="1" i="1" dirty="0">
                <a:solidFill>
                  <a:schemeClr val="bg1"/>
                </a:solidFill>
                <a:latin typeface="+mj-lt"/>
                <a:cs typeface="Calibri" panose="020F0502020204030204" pitchFamily="34" charset="0"/>
              </a:endParaRPr>
            </a:p>
          </p:txBody>
        </p:sp>
        <p:sp>
          <p:nvSpPr>
            <p:cNvPr id="18" name="TextBox 17"/>
            <p:cNvSpPr txBox="1"/>
            <p:nvPr/>
          </p:nvSpPr>
          <p:spPr>
            <a:xfrm>
              <a:off x="636838" y="3892034"/>
              <a:ext cx="155492" cy="369332"/>
            </a:xfrm>
            <a:prstGeom prst="rect">
              <a:avLst/>
            </a:prstGeom>
            <a:noFill/>
          </p:spPr>
          <p:txBody>
            <a:bodyPr wrap="none" lIns="0" tIns="0" rIns="0" bIns="0" rtlCol="0">
              <a:spAutoFit/>
            </a:bodyPr>
            <a:lstStyle/>
            <a:p>
              <a:pPr>
                <a:spcBef>
                  <a:spcPts val="600"/>
                </a:spcBef>
                <a:buSzPct val="100000"/>
              </a:pPr>
              <a:r>
                <a:rPr lang="es-MX" sz="2400" b="1" i="1" dirty="0">
                  <a:solidFill>
                    <a:schemeClr val="bg1"/>
                  </a:solidFill>
                  <a:latin typeface="+mj-lt"/>
                </a:rPr>
                <a:t>3</a:t>
              </a:r>
            </a:p>
          </p:txBody>
        </p:sp>
      </p:grpSp>
      <p:sp>
        <p:nvSpPr>
          <p:cNvPr id="10" name="Text Placeholder 6"/>
          <p:cNvSpPr txBox="1">
            <a:spLocks/>
          </p:cNvSpPr>
          <p:nvPr/>
        </p:nvSpPr>
        <p:spPr>
          <a:xfrm>
            <a:off x="484374" y="2717063"/>
            <a:ext cx="7608065" cy="2959442"/>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dirty="0"/>
              <a:t>A pesar de que las disposiciones generales no exigen el cumplimiento de controles Volumétricos, la regla de LDA así lo establece.</a:t>
            </a:r>
          </a:p>
          <a:p>
            <a:pPr marL="0" lvl="2" indent="0" algn="just">
              <a:buNone/>
            </a:pPr>
            <a:r>
              <a:rPr lang="es-MX" sz="1600" dirty="0"/>
              <a:t>Dado que las disposiciones del SAT  no cuenta un procedimiento para la revisión de controles volumétricos para Petroquímicos</a:t>
            </a:r>
          </a:p>
          <a:p>
            <a:pPr marL="0" lvl="2" indent="0" algn="just">
              <a:buNone/>
            </a:pPr>
            <a:r>
              <a:rPr lang="es-MX" sz="1600" dirty="0"/>
              <a:t>Sin embargo la ANAM, responsable de emitir las autorizaciones de LDA, </a:t>
            </a:r>
            <a:r>
              <a:rPr lang="es-MX" sz="1600" b="1" dirty="0"/>
              <a:t>esta solicitando opinión favorable del SAT con relación a controles volumétricos</a:t>
            </a:r>
            <a:r>
              <a:rPr lang="es-MX" sz="1600" dirty="0"/>
              <a:t>, solicitudes que están sin respuesta por parte del SAT.</a:t>
            </a:r>
          </a:p>
          <a:p>
            <a:pPr marL="0" lvl="2" indent="0" algn="just">
              <a:buNone/>
            </a:pPr>
            <a:r>
              <a:rPr lang="es-MX" sz="1600" dirty="0"/>
              <a:t>Lo que esta provocando que </a:t>
            </a:r>
            <a:r>
              <a:rPr lang="es-MX" sz="1600" b="1" dirty="0"/>
              <a:t>no se emitan las autorizaciones para que petroquímicos se desaduanen en LDA.</a:t>
            </a:r>
          </a:p>
          <a:p>
            <a:pPr marL="0" lvl="2" indent="0" algn="just">
              <a:buNone/>
            </a:pPr>
            <a:r>
              <a:rPr lang="es-MX" sz="1600" dirty="0"/>
              <a:t> </a:t>
            </a:r>
          </a:p>
          <a:p>
            <a:pPr marL="0" lvl="2" indent="0" algn="just">
              <a:buNone/>
            </a:pPr>
            <a:r>
              <a:rPr lang="es-MX" sz="1600" dirty="0"/>
              <a:t> </a:t>
            </a:r>
          </a:p>
          <a:p>
            <a:pPr marL="342900" lvl="2" indent="-342900" algn="just">
              <a:buAutoNum type="arabicPeriod"/>
            </a:pPr>
            <a:endParaRPr lang="es-MX" sz="1600" dirty="0"/>
          </a:p>
        </p:txBody>
      </p:sp>
      <p:sp>
        <p:nvSpPr>
          <p:cNvPr id="12" name="Rectangle 11">
            <a:extLst>
              <a:ext uri="{FF2B5EF4-FFF2-40B4-BE49-F238E27FC236}">
                <a16:creationId xmlns:a16="http://schemas.microsoft.com/office/drawing/2014/main" id="{34ED560C-3A1B-4B4A-950B-5268C5F8DF80}"/>
              </a:ext>
            </a:extLst>
          </p:cNvPr>
          <p:cNvSpPr/>
          <p:nvPr/>
        </p:nvSpPr>
        <p:spPr bwMode="gray">
          <a:xfrm>
            <a:off x="155139" y="6414620"/>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14" name="Rectangle 13">
            <a:extLst>
              <a:ext uri="{FF2B5EF4-FFF2-40B4-BE49-F238E27FC236}">
                <a16:creationId xmlns:a16="http://schemas.microsoft.com/office/drawing/2014/main" id="{97FDDD58-9745-47CF-BE94-63989E167E6A}"/>
              </a:ext>
            </a:extLst>
          </p:cNvPr>
          <p:cNvSpPr/>
          <p:nvPr/>
        </p:nvSpPr>
        <p:spPr>
          <a:xfrm>
            <a:off x="538161" y="6452662"/>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pic>
        <p:nvPicPr>
          <p:cNvPr id="26626" name="Picture 2">
            <a:extLst>
              <a:ext uri="{FF2B5EF4-FFF2-40B4-BE49-F238E27FC236}">
                <a16:creationId xmlns:a16="http://schemas.microsoft.com/office/drawing/2014/main" id="{B7C3A304-379C-485A-8FDE-6C0D247402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6129" y="2063682"/>
            <a:ext cx="2704214" cy="3612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4387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74015" y="3811578"/>
            <a:ext cx="11162349" cy="698501"/>
          </a:xfrm>
        </p:spPr>
        <p:txBody>
          <a:bodyPr/>
          <a:lstStyle/>
          <a:p>
            <a:r>
              <a:rPr lang="es-MX" sz="4000" b="1" dirty="0"/>
              <a:t>Complemento Carta Porte</a:t>
            </a:r>
            <a:br>
              <a:rPr lang="es-MX" dirty="0"/>
            </a:br>
            <a:endParaRPr lang="es-MX" dirty="0"/>
          </a:p>
        </p:txBody>
      </p:sp>
      <p:sp>
        <p:nvSpPr>
          <p:cNvPr id="18" name="TextBox 17"/>
          <p:cNvSpPr txBox="1"/>
          <p:nvPr/>
        </p:nvSpPr>
        <p:spPr>
          <a:xfrm>
            <a:off x="11382377" y="6477000"/>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25</a:t>
            </a:fld>
            <a:endParaRPr kumimoji="0" lang="en-US" sz="9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1" name="Rectangle 20"/>
          <p:cNvSpPr/>
          <p:nvPr/>
        </p:nvSpPr>
        <p:spPr bwMode="gray">
          <a:xfrm>
            <a:off x="8630816" y="6223518"/>
            <a:ext cx="2827176" cy="410547"/>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TextBox 16"/>
          <p:cNvSpPr txBox="1"/>
          <p:nvPr/>
        </p:nvSpPr>
        <p:spPr>
          <a:xfrm>
            <a:off x="6335184" y="6469257"/>
            <a:ext cx="4896560" cy="41549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2" name="Group 1"/>
          <p:cNvGrpSpPr/>
          <p:nvPr/>
        </p:nvGrpSpPr>
        <p:grpSpPr>
          <a:xfrm>
            <a:off x="7133448" y="1949593"/>
            <a:ext cx="4105581" cy="4076928"/>
            <a:chOff x="7133448" y="1949593"/>
            <a:chExt cx="4105581" cy="4076928"/>
          </a:xfrm>
        </p:grpSpPr>
        <p:grpSp>
          <p:nvGrpSpPr>
            <p:cNvPr id="15" name="Group 14"/>
            <p:cNvGrpSpPr/>
            <p:nvPr/>
          </p:nvGrpSpPr>
          <p:grpSpPr>
            <a:xfrm>
              <a:off x="7730535" y="2568778"/>
              <a:ext cx="2869723" cy="2869723"/>
              <a:chOff x="-951258" y="1193925"/>
              <a:chExt cx="2857926" cy="2857926"/>
            </a:xfrm>
            <a:solidFill>
              <a:schemeClr val="accent6">
                <a:lumMod val="60000"/>
                <a:lumOff val="40000"/>
                <a:alpha val="69804"/>
              </a:schemeClr>
            </a:solidFill>
          </p:grpSpPr>
          <p:sp>
            <p:nvSpPr>
              <p:cNvPr id="16" name="Oval 15"/>
              <p:cNvSpPr/>
              <p:nvPr/>
            </p:nvSpPr>
            <p:spPr bwMode="gray">
              <a:xfrm>
                <a:off x="-951258" y="1193925"/>
                <a:ext cx="2857926" cy="2857926"/>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Oval 19"/>
              <p:cNvSpPr/>
              <p:nvPr/>
            </p:nvSpPr>
            <p:spPr bwMode="gray">
              <a:xfrm>
                <a:off x="-847540" y="1297643"/>
                <a:ext cx="2650491" cy="2650491"/>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p:cNvSpPr/>
              <p:nvPr/>
            </p:nvSpPr>
            <p:spPr bwMode="gray">
              <a:xfrm>
                <a:off x="-700076" y="1433125"/>
                <a:ext cx="2381102" cy="2381103"/>
              </a:xfrm>
              <a:prstGeom prst="ellipse">
                <a:avLst/>
              </a:prstGeom>
              <a:grpFill/>
              <a:ln w="15875" cmpd="sng" algn="ctr">
                <a:solidFill>
                  <a:schemeClr val="bg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Light"/>
                    <a:ea typeface="+mn-ea"/>
                    <a:cs typeface="Arial" pitchFamily="34" charset="0"/>
                  </a:rPr>
                  <a:t> </a:t>
                </a:r>
              </a:p>
            </p:txBody>
          </p:sp>
        </p:grpSp>
        <p:grpSp>
          <p:nvGrpSpPr>
            <p:cNvPr id="24" name="Group 23"/>
            <p:cNvGrpSpPr/>
            <p:nvPr/>
          </p:nvGrpSpPr>
          <p:grpSpPr>
            <a:xfrm rot="219170">
              <a:off x="7133448" y="1949593"/>
              <a:ext cx="4105581" cy="4076928"/>
              <a:chOff x="3246439" y="2191227"/>
              <a:chExt cx="3028795" cy="3019830"/>
            </a:xfrm>
            <a:solidFill>
              <a:srgbClr val="37C4FF">
                <a:alpha val="50196"/>
              </a:srgbClr>
            </a:solidFill>
          </p:grpSpPr>
          <p:sp>
            <p:nvSpPr>
              <p:cNvPr id="25" name="Block Arc 24"/>
              <p:cNvSpPr/>
              <p:nvPr/>
            </p:nvSpPr>
            <p:spPr>
              <a:xfrm flipV="1">
                <a:off x="3246439" y="2191227"/>
                <a:ext cx="3019828" cy="3019829"/>
              </a:xfrm>
              <a:prstGeom prst="blockArc">
                <a:avLst>
                  <a:gd name="adj1" fmla="val 11191580"/>
                  <a:gd name="adj2" fmla="val 132976"/>
                  <a:gd name="adj3" fmla="val 27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Block Arc 26"/>
              <p:cNvSpPr/>
              <p:nvPr/>
            </p:nvSpPr>
            <p:spPr>
              <a:xfrm>
                <a:off x="3255405" y="2191228"/>
                <a:ext cx="3019829" cy="3019829"/>
              </a:xfrm>
              <a:prstGeom prst="blockArc">
                <a:avLst>
                  <a:gd name="adj1" fmla="val 10803362"/>
                  <a:gd name="adj2" fmla="val 21151827"/>
                  <a:gd name="adj3" fmla="val 333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Oval 27"/>
            <p:cNvSpPr/>
            <p:nvPr/>
          </p:nvSpPr>
          <p:spPr bwMode="gray">
            <a:xfrm>
              <a:off x="7496910" y="2347510"/>
              <a:ext cx="3360663" cy="3321092"/>
            </a:xfrm>
            <a:prstGeom prst="ellipse">
              <a:avLst/>
            </a:prstGeom>
            <a:noFill/>
            <a:ln w="19050" cmpd="sng" algn="ctr">
              <a:solidFill>
                <a:schemeClr val="accent6">
                  <a:alpha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31" name="Group 662">
            <a:extLst>
              <a:ext uri="{FF2B5EF4-FFF2-40B4-BE49-F238E27FC236}">
                <a16:creationId xmlns:a16="http://schemas.microsoft.com/office/drawing/2014/main" id="{EE6BD5D0-E1F2-47E8-B3B1-2DDEEDDB78AD}"/>
              </a:ext>
            </a:extLst>
          </p:cNvPr>
          <p:cNvGrpSpPr>
            <a:grpSpLocks noChangeAspect="1"/>
          </p:cNvGrpSpPr>
          <p:nvPr/>
        </p:nvGrpSpPr>
        <p:grpSpPr bwMode="auto">
          <a:xfrm>
            <a:off x="8177051" y="3006528"/>
            <a:ext cx="2027561" cy="2027561"/>
            <a:chOff x="2340" y="2340"/>
            <a:chExt cx="340" cy="340"/>
          </a:xfrm>
          <a:solidFill>
            <a:schemeClr val="bg1"/>
          </a:solidFill>
        </p:grpSpPr>
        <p:sp>
          <p:nvSpPr>
            <p:cNvPr id="32" name="Oval 663">
              <a:extLst>
                <a:ext uri="{FF2B5EF4-FFF2-40B4-BE49-F238E27FC236}">
                  <a16:creationId xmlns:a16="http://schemas.microsoft.com/office/drawing/2014/main" id="{A34D83E0-4FF6-49A9-B012-372C216AD338}"/>
                </a:ext>
              </a:extLst>
            </p:cNvPr>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3" name="Freeform 664">
              <a:extLst>
                <a:ext uri="{FF2B5EF4-FFF2-40B4-BE49-F238E27FC236}">
                  <a16:creationId xmlns:a16="http://schemas.microsoft.com/office/drawing/2014/main" id="{5B2A220D-A6DD-4031-86BD-132D86EF94BF}"/>
                </a:ext>
              </a:extLst>
            </p:cNvPr>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Oval 665">
              <a:extLst>
                <a:ext uri="{FF2B5EF4-FFF2-40B4-BE49-F238E27FC236}">
                  <a16:creationId xmlns:a16="http://schemas.microsoft.com/office/drawing/2014/main" id="{284DB7A5-987C-4711-B293-E8E4FDE3537B}"/>
                </a:ext>
              </a:extLst>
            </p:cNvPr>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5" name="Freeform 666">
              <a:extLst>
                <a:ext uri="{FF2B5EF4-FFF2-40B4-BE49-F238E27FC236}">
                  <a16:creationId xmlns:a16="http://schemas.microsoft.com/office/drawing/2014/main" id="{C003A17E-CAAD-43A2-9148-545CFD9BD0D2}"/>
                </a:ext>
              </a:extLst>
            </p:cNvPr>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Light"/>
                <a:ea typeface="+mn-ea"/>
                <a:cs typeface="+mn-cs"/>
              </a:endParaRPr>
            </a:p>
          </p:txBody>
        </p:sp>
      </p:grpSp>
    </p:spTree>
    <p:extLst>
      <p:ext uri="{BB962C8B-B14F-4D97-AF65-F5344CB8AC3E}">
        <p14:creationId xmlns:p14="http://schemas.microsoft.com/office/powerpoint/2010/main" val="176563263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1800" b="1" i="0" u="none" strike="noStrike" kern="1200" cap="none" spc="0" normalizeH="0" baseline="0" noProof="0" dirty="0">
                <a:ln>
                  <a:noFill/>
                </a:ln>
                <a:solidFill>
                  <a:prstClr val="black"/>
                </a:solidFill>
                <a:effectLst/>
                <a:uLnTx/>
                <a:uFillTx/>
                <a:latin typeface="Verdana"/>
                <a:ea typeface="+mj-ea"/>
                <a:cs typeface="Calibri Light" panose="020F0302020204030204" pitchFamily="34" charset="0"/>
              </a:rPr>
              <a:t>Complemento Carta Porte</a:t>
            </a:r>
          </a:p>
        </p:txBody>
      </p:sp>
      <p:sp>
        <p:nvSpPr>
          <p:cNvPr id="109" name="Rectangle 3">
            <a:extLst>
              <a:ext uri="{FF2B5EF4-FFF2-40B4-BE49-F238E27FC236}">
                <a16:creationId xmlns:a16="http://schemas.microsoft.com/office/drawing/2014/main" id="{399C0822-4797-4DC7-BE21-B81D3F2BC6FB}"/>
              </a:ext>
            </a:extLst>
          </p:cNvPr>
          <p:cNvSpPr txBox="1">
            <a:spLocks noChangeArrowheads="1"/>
          </p:cNvSpPr>
          <p:nvPr/>
        </p:nvSpPr>
        <p:spPr>
          <a:xfrm>
            <a:off x="1274901" y="3766322"/>
            <a:ext cx="9978161" cy="935321"/>
          </a:xfrm>
          <a:prstGeom prst="rect">
            <a:avLst/>
          </a:prstGeom>
        </p:spPr>
        <p:txBody>
          <a:bodyPr lIns="0" tIns="0" rIns="0" bIns="0"/>
          <a:lstStyle>
            <a:lvl1pPr marL="304494" indent="-304494" algn="l" defTabSz="905024" rtl="0" eaLnBrk="0" fontAlgn="base" hangingPunct="0">
              <a:spcBef>
                <a:spcPct val="0"/>
              </a:spcBef>
              <a:spcAft>
                <a:spcPts val="266"/>
              </a:spcAft>
              <a:buFont typeface="Arial" pitchFamily="34" charset="0"/>
              <a:defRPr>
                <a:solidFill>
                  <a:schemeClr val="tx2"/>
                </a:solidFill>
                <a:latin typeface="+mn-lt"/>
                <a:ea typeface="+mn-ea"/>
                <a:cs typeface="+mn-cs"/>
              </a:defRPr>
            </a:lvl1pPr>
            <a:lvl2pPr marL="180440" indent="-180440" algn="l" defTabSz="905024" rtl="0" eaLnBrk="0" fontAlgn="base" hangingPunct="0">
              <a:spcBef>
                <a:spcPct val="0"/>
              </a:spcBef>
              <a:spcAft>
                <a:spcPts val="266"/>
              </a:spcAft>
              <a:buFont typeface="Arial" pitchFamily="34" charset="0"/>
              <a:buChar char="•"/>
              <a:defRPr>
                <a:solidFill>
                  <a:schemeClr val="tx2"/>
                </a:solidFill>
                <a:latin typeface="+mn-lt"/>
              </a:defRPr>
            </a:lvl2pPr>
            <a:lvl3pPr marL="353834" indent="-173393" algn="l" defTabSz="905024" rtl="0" eaLnBrk="0" fontAlgn="base" hangingPunct="0">
              <a:spcBef>
                <a:spcPct val="0"/>
              </a:spcBef>
              <a:spcAft>
                <a:spcPts val="266"/>
              </a:spcAft>
              <a:buFont typeface="Arial" pitchFamily="34" charset="0"/>
              <a:buChar char="‒"/>
              <a:defRPr>
                <a:solidFill>
                  <a:schemeClr val="tx2"/>
                </a:solidFill>
                <a:latin typeface="+mn-lt"/>
              </a:defRPr>
            </a:lvl3pPr>
            <a:lvl4pPr marL="534274" indent="-180440" algn="l" defTabSz="905024" rtl="0" eaLnBrk="0" fontAlgn="base" hangingPunct="0">
              <a:spcBef>
                <a:spcPct val="0"/>
              </a:spcBef>
              <a:spcAft>
                <a:spcPts val="533"/>
              </a:spcAft>
              <a:buFont typeface="Arial" pitchFamily="34" charset="0"/>
              <a:buChar char="•"/>
              <a:defRPr sz="1400">
                <a:solidFill>
                  <a:schemeClr val="tx2"/>
                </a:solidFill>
                <a:latin typeface="+mn-lt"/>
              </a:defRPr>
            </a:lvl4pPr>
            <a:lvl5pPr marL="704847" indent="-170574" algn="l" defTabSz="905024" rtl="0" eaLnBrk="0" fontAlgn="base" hangingPunct="0">
              <a:spcBef>
                <a:spcPct val="0"/>
              </a:spcBef>
              <a:spcAft>
                <a:spcPts val="533"/>
              </a:spcAft>
              <a:buFont typeface="Arial" pitchFamily="34" charset="0"/>
              <a:buChar char="‒"/>
              <a:defRPr sz="1400">
                <a:solidFill>
                  <a:schemeClr val="tx2"/>
                </a:solidFill>
                <a:latin typeface="+mn-lt"/>
              </a:defRPr>
            </a:lvl5pPr>
            <a:lvl6pPr marL="1110838"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6pPr>
            <a:lvl7pPr marL="1516830"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7pPr>
            <a:lvl8pPr marL="1922822"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8pPr>
            <a:lvl9pPr marL="2328814"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9pPr>
          </a:lstStyle>
          <a:p>
            <a:pPr marL="0" marR="0" lvl="0" indent="0" algn="just" defTabSz="905024" rtl="0" eaLnBrk="0" fontAlgn="base" latinLnBrk="0" hangingPunct="0">
              <a:lnSpc>
                <a:spcPct val="110000"/>
              </a:lnSpc>
              <a:spcBef>
                <a:spcPct val="0"/>
              </a:spcBef>
              <a:spcAft>
                <a:spcPts val="266"/>
              </a:spcAft>
              <a:buClr>
                <a:srgbClr val="FF0000"/>
              </a:buClr>
              <a:buSzTx/>
              <a:buFont typeface="Arial" pitchFamily="34" charset="0"/>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l complemento Carta Porte tiene como objetivo</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 combatir </a:t>
            </a:r>
            <a:r>
              <a:rPr kumimoji="0" lang="es-MX" sz="1400" b="1" i="0" u="none" strike="noStrike" kern="1200" cap="none" spc="0" normalizeH="0" baseline="0" noProof="0" dirty="0">
                <a:ln>
                  <a:noFill/>
                </a:ln>
                <a:solidFill>
                  <a:srgbClr val="007CB0">
                    <a:lumMod val="60000"/>
                    <a:lumOff val="40000"/>
                  </a:srgbClr>
                </a:solidFill>
                <a:effectLst/>
                <a:uLnTx/>
                <a:uFillTx/>
                <a:latin typeface="Verdana"/>
                <a:ea typeface="MS PGothic" charset="0"/>
                <a:cs typeface="+mn-cs"/>
              </a:rPr>
              <a:t>el comercio informal y el contrabando</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siendo un documento que también pueda permitir </a:t>
            </a:r>
            <a:r>
              <a:rPr kumimoji="0" lang="es-MX" sz="1400" b="1" i="0" u="sng" strike="noStrike" kern="1200" cap="none" spc="0" normalizeH="0" baseline="0" noProof="0" dirty="0">
                <a:ln>
                  <a:noFill/>
                </a:ln>
                <a:solidFill>
                  <a:srgbClr val="007CB0">
                    <a:lumMod val="60000"/>
                    <a:lumOff val="40000"/>
                  </a:srgbClr>
                </a:solidFill>
                <a:effectLst/>
                <a:uLnTx/>
                <a:uFillTx/>
                <a:latin typeface="Verdana"/>
                <a:ea typeface="MS PGothic" charset="0"/>
                <a:cs typeface="+mn-cs"/>
              </a:rPr>
              <a:t>acreditar la legal estancia y/o tenencia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de los bienes o mercancías que se trasladen e identificar su ruta. En este sentido el CFDI con complemento Carta Porte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debe acompañar a las mercancías en el traslado</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por lo tanto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debe ser expedido antes de dicho traslado.</a:t>
            </a:r>
          </a:p>
        </p:txBody>
      </p:sp>
      <p:grpSp>
        <p:nvGrpSpPr>
          <p:cNvPr id="110" name="Group 639">
            <a:extLst>
              <a:ext uri="{FF2B5EF4-FFF2-40B4-BE49-F238E27FC236}">
                <a16:creationId xmlns:a16="http://schemas.microsoft.com/office/drawing/2014/main" id="{C486055E-40CD-4718-82E7-0F585D03B6AC}"/>
              </a:ext>
            </a:extLst>
          </p:cNvPr>
          <p:cNvGrpSpPr>
            <a:grpSpLocks noChangeAspect="1"/>
          </p:cNvGrpSpPr>
          <p:nvPr/>
        </p:nvGrpSpPr>
        <p:grpSpPr bwMode="auto">
          <a:xfrm>
            <a:off x="306264" y="3694536"/>
            <a:ext cx="750195" cy="752400"/>
            <a:chOff x="5418" y="2871"/>
            <a:chExt cx="340" cy="341"/>
          </a:xfrm>
          <a:solidFill>
            <a:srgbClr val="86BC25"/>
          </a:solidFill>
        </p:grpSpPr>
        <p:sp>
          <p:nvSpPr>
            <p:cNvPr id="111" name="Freeform 640">
              <a:extLst>
                <a:ext uri="{FF2B5EF4-FFF2-40B4-BE49-F238E27FC236}">
                  <a16:creationId xmlns:a16="http://schemas.microsoft.com/office/drawing/2014/main" id="{E8B68C7E-17FA-4F49-8FA6-500706B4167F}"/>
                </a:ext>
              </a:extLst>
            </p:cNvPr>
            <p:cNvSpPr>
              <a:spLocks noEditPoints="1"/>
            </p:cNvSpPr>
            <p:nvPr/>
          </p:nvSpPr>
          <p:spPr bwMode="auto">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12" name="Freeform 641">
              <a:extLst>
                <a:ext uri="{FF2B5EF4-FFF2-40B4-BE49-F238E27FC236}">
                  <a16:creationId xmlns:a16="http://schemas.microsoft.com/office/drawing/2014/main" id="{40AD1553-F0A8-4912-AF01-4A50BA88353E}"/>
                </a:ext>
              </a:extLst>
            </p:cNvPr>
            <p:cNvSpPr>
              <a:spLocks noEditPoints="1"/>
            </p:cNvSpPr>
            <p:nvPr/>
          </p:nvSpPr>
          <p:spPr bwMode="auto">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3" name="Group 378">
            <a:extLst>
              <a:ext uri="{FF2B5EF4-FFF2-40B4-BE49-F238E27FC236}">
                <a16:creationId xmlns:a16="http://schemas.microsoft.com/office/drawing/2014/main" id="{617EA6B3-1034-4FCF-B08B-6F67EE8B22E7}"/>
              </a:ext>
            </a:extLst>
          </p:cNvPr>
          <p:cNvGrpSpPr>
            <a:grpSpLocks noChangeAspect="1"/>
          </p:cNvGrpSpPr>
          <p:nvPr/>
        </p:nvGrpSpPr>
        <p:grpSpPr bwMode="auto">
          <a:xfrm>
            <a:off x="329289" y="1314239"/>
            <a:ext cx="752400" cy="752400"/>
            <a:chOff x="390" y="1172"/>
            <a:chExt cx="341" cy="341"/>
          </a:xfrm>
          <a:solidFill>
            <a:srgbClr val="046A38"/>
          </a:solidFill>
        </p:grpSpPr>
        <p:sp>
          <p:nvSpPr>
            <p:cNvPr id="114" name="Freeform 348">
              <a:extLst>
                <a:ext uri="{FF2B5EF4-FFF2-40B4-BE49-F238E27FC236}">
                  <a16:creationId xmlns:a16="http://schemas.microsoft.com/office/drawing/2014/main" id="{316CE0A8-E770-4797-A840-8C25BE093401}"/>
                </a:ext>
              </a:extLst>
            </p:cNvPr>
            <p:cNvSpPr>
              <a:spLocks noEditPoints="1"/>
            </p:cNvSpPr>
            <p:nvPr/>
          </p:nvSpPr>
          <p:spPr bwMode="auto">
            <a:xfrm>
              <a:off x="390" y="1172"/>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15" name="Freeform 349">
              <a:extLst>
                <a:ext uri="{FF2B5EF4-FFF2-40B4-BE49-F238E27FC236}">
                  <a16:creationId xmlns:a16="http://schemas.microsoft.com/office/drawing/2014/main" id="{CAE37F20-AC2E-4E50-83D2-96963EAC9918}"/>
                </a:ext>
              </a:extLst>
            </p:cNvPr>
            <p:cNvSpPr>
              <a:spLocks noEditPoints="1"/>
            </p:cNvSpPr>
            <p:nvPr/>
          </p:nvSpPr>
          <p:spPr bwMode="auto">
            <a:xfrm>
              <a:off x="482" y="1267"/>
              <a:ext cx="156" cy="153"/>
            </a:xfrm>
            <a:custGeom>
              <a:avLst/>
              <a:gdLst>
                <a:gd name="T0" fmla="*/ 235 w 235"/>
                <a:gd name="T1" fmla="*/ 155 h 230"/>
                <a:gd name="T2" fmla="*/ 235 w 235"/>
                <a:gd name="T3" fmla="*/ 219 h 230"/>
                <a:gd name="T4" fmla="*/ 224 w 235"/>
                <a:gd name="T5" fmla="*/ 230 h 230"/>
                <a:gd name="T6" fmla="*/ 11 w 235"/>
                <a:gd name="T7" fmla="*/ 230 h 230"/>
                <a:gd name="T8" fmla="*/ 0 w 235"/>
                <a:gd name="T9" fmla="*/ 219 h 230"/>
                <a:gd name="T10" fmla="*/ 0 w 235"/>
                <a:gd name="T11" fmla="*/ 155 h 230"/>
                <a:gd name="T12" fmla="*/ 11 w 235"/>
                <a:gd name="T13" fmla="*/ 145 h 230"/>
                <a:gd name="T14" fmla="*/ 22 w 235"/>
                <a:gd name="T15" fmla="*/ 155 h 230"/>
                <a:gd name="T16" fmla="*/ 22 w 235"/>
                <a:gd name="T17" fmla="*/ 209 h 230"/>
                <a:gd name="T18" fmla="*/ 214 w 235"/>
                <a:gd name="T19" fmla="*/ 209 h 230"/>
                <a:gd name="T20" fmla="*/ 214 w 235"/>
                <a:gd name="T21" fmla="*/ 155 h 230"/>
                <a:gd name="T22" fmla="*/ 224 w 235"/>
                <a:gd name="T23" fmla="*/ 145 h 230"/>
                <a:gd name="T24" fmla="*/ 235 w 235"/>
                <a:gd name="T25" fmla="*/ 155 h 230"/>
                <a:gd name="T26" fmla="*/ 54 w 235"/>
                <a:gd name="T27" fmla="*/ 187 h 230"/>
                <a:gd name="T28" fmla="*/ 182 w 235"/>
                <a:gd name="T29" fmla="*/ 187 h 230"/>
                <a:gd name="T30" fmla="*/ 192 w 235"/>
                <a:gd name="T31" fmla="*/ 177 h 230"/>
                <a:gd name="T32" fmla="*/ 182 w 235"/>
                <a:gd name="T33" fmla="*/ 166 h 230"/>
                <a:gd name="T34" fmla="*/ 54 w 235"/>
                <a:gd name="T35" fmla="*/ 166 h 230"/>
                <a:gd name="T36" fmla="*/ 43 w 235"/>
                <a:gd name="T37" fmla="*/ 177 h 230"/>
                <a:gd name="T38" fmla="*/ 54 w 235"/>
                <a:gd name="T39" fmla="*/ 187 h 230"/>
                <a:gd name="T40" fmla="*/ 53 w 235"/>
                <a:gd name="T41" fmla="*/ 132 h 230"/>
                <a:gd name="T42" fmla="*/ 181 w 235"/>
                <a:gd name="T43" fmla="*/ 145 h 230"/>
                <a:gd name="T44" fmla="*/ 182 w 235"/>
                <a:gd name="T45" fmla="*/ 145 h 230"/>
                <a:gd name="T46" fmla="*/ 192 w 235"/>
                <a:gd name="T47" fmla="*/ 135 h 230"/>
                <a:gd name="T48" fmla="*/ 183 w 235"/>
                <a:gd name="T49" fmla="*/ 123 h 230"/>
                <a:gd name="T50" fmla="*/ 55 w 235"/>
                <a:gd name="T51" fmla="*/ 111 h 230"/>
                <a:gd name="T52" fmla="*/ 44 w 235"/>
                <a:gd name="T53" fmla="*/ 120 h 230"/>
                <a:gd name="T54" fmla="*/ 53 w 235"/>
                <a:gd name="T55" fmla="*/ 132 h 230"/>
                <a:gd name="T56" fmla="*/ 60 w 235"/>
                <a:gd name="T57" fmla="*/ 78 h 230"/>
                <a:gd name="T58" fmla="*/ 185 w 235"/>
                <a:gd name="T59" fmla="*/ 104 h 230"/>
                <a:gd name="T60" fmla="*/ 187 w 235"/>
                <a:gd name="T61" fmla="*/ 104 h 230"/>
                <a:gd name="T62" fmla="*/ 198 w 235"/>
                <a:gd name="T63" fmla="*/ 96 h 230"/>
                <a:gd name="T64" fmla="*/ 190 w 235"/>
                <a:gd name="T65" fmla="*/ 83 h 230"/>
                <a:gd name="T66" fmla="*/ 64 w 235"/>
                <a:gd name="T67" fmla="*/ 58 h 230"/>
                <a:gd name="T68" fmla="*/ 52 w 235"/>
                <a:gd name="T69" fmla="*/ 66 h 230"/>
                <a:gd name="T70" fmla="*/ 60 w 235"/>
                <a:gd name="T71" fmla="*/ 78 h 230"/>
                <a:gd name="T72" fmla="*/ 75 w 235"/>
                <a:gd name="T73" fmla="*/ 23 h 230"/>
                <a:gd name="T74" fmla="*/ 195 w 235"/>
                <a:gd name="T75" fmla="*/ 66 h 230"/>
                <a:gd name="T76" fmla="*/ 199 w 235"/>
                <a:gd name="T77" fmla="*/ 66 h 230"/>
                <a:gd name="T78" fmla="*/ 209 w 235"/>
                <a:gd name="T79" fmla="*/ 59 h 230"/>
                <a:gd name="T80" fmla="*/ 202 w 235"/>
                <a:gd name="T81" fmla="*/ 46 h 230"/>
                <a:gd name="T82" fmla="*/ 82 w 235"/>
                <a:gd name="T83" fmla="*/ 2 h 230"/>
                <a:gd name="T84" fmla="*/ 68 w 235"/>
                <a:gd name="T85" fmla="*/ 9 h 230"/>
                <a:gd name="T86" fmla="*/ 75 w 235"/>
                <a:gd name="T87" fmla="*/ 2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30">
                  <a:moveTo>
                    <a:pt x="235" y="155"/>
                  </a:moveTo>
                  <a:cubicBezTo>
                    <a:pt x="235" y="219"/>
                    <a:pt x="235" y="219"/>
                    <a:pt x="235" y="219"/>
                  </a:cubicBezTo>
                  <a:cubicBezTo>
                    <a:pt x="235" y="225"/>
                    <a:pt x="230" y="230"/>
                    <a:pt x="224" y="230"/>
                  </a:cubicBezTo>
                  <a:cubicBezTo>
                    <a:pt x="11" y="230"/>
                    <a:pt x="11" y="230"/>
                    <a:pt x="11" y="230"/>
                  </a:cubicBezTo>
                  <a:cubicBezTo>
                    <a:pt x="5" y="230"/>
                    <a:pt x="0" y="225"/>
                    <a:pt x="0" y="219"/>
                  </a:cubicBezTo>
                  <a:cubicBezTo>
                    <a:pt x="0" y="155"/>
                    <a:pt x="0" y="155"/>
                    <a:pt x="0" y="155"/>
                  </a:cubicBezTo>
                  <a:cubicBezTo>
                    <a:pt x="0" y="149"/>
                    <a:pt x="5" y="145"/>
                    <a:pt x="11" y="145"/>
                  </a:cubicBezTo>
                  <a:cubicBezTo>
                    <a:pt x="17" y="145"/>
                    <a:pt x="22" y="149"/>
                    <a:pt x="22" y="155"/>
                  </a:cubicBezTo>
                  <a:cubicBezTo>
                    <a:pt x="22" y="209"/>
                    <a:pt x="22" y="209"/>
                    <a:pt x="22" y="209"/>
                  </a:cubicBezTo>
                  <a:cubicBezTo>
                    <a:pt x="214" y="209"/>
                    <a:pt x="214" y="209"/>
                    <a:pt x="214" y="209"/>
                  </a:cubicBezTo>
                  <a:cubicBezTo>
                    <a:pt x="214" y="155"/>
                    <a:pt x="214" y="155"/>
                    <a:pt x="214" y="155"/>
                  </a:cubicBezTo>
                  <a:cubicBezTo>
                    <a:pt x="214" y="149"/>
                    <a:pt x="218" y="145"/>
                    <a:pt x="224" y="145"/>
                  </a:cubicBezTo>
                  <a:cubicBezTo>
                    <a:pt x="230" y="145"/>
                    <a:pt x="235" y="149"/>
                    <a:pt x="235" y="155"/>
                  </a:cubicBezTo>
                  <a:close/>
                  <a:moveTo>
                    <a:pt x="54" y="187"/>
                  </a:moveTo>
                  <a:cubicBezTo>
                    <a:pt x="182" y="187"/>
                    <a:pt x="182" y="187"/>
                    <a:pt x="182" y="187"/>
                  </a:cubicBezTo>
                  <a:cubicBezTo>
                    <a:pt x="188" y="187"/>
                    <a:pt x="192" y="183"/>
                    <a:pt x="192" y="177"/>
                  </a:cubicBezTo>
                  <a:cubicBezTo>
                    <a:pt x="192" y="171"/>
                    <a:pt x="188" y="166"/>
                    <a:pt x="182" y="166"/>
                  </a:cubicBezTo>
                  <a:cubicBezTo>
                    <a:pt x="54" y="166"/>
                    <a:pt x="54" y="166"/>
                    <a:pt x="54" y="166"/>
                  </a:cubicBezTo>
                  <a:cubicBezTo>
                    <a:pt x="48" y="166"/>
                    <a:pt x="43" y="171"/>
                    <a:pt x="43" y="177"/>
                  </a:cubicBezTo>
                  <a:cubicBezTo>
                    <a:pt x="43" y="183"/>
                    <a:pt x="48" y="187"/>
                    <a:pt x="54" y="187"/>
                  </a:cubicBezTo>
                  <a:close/>
                  <a:moveTo>
                    <a:pt x="53" y="132"/>
                  </a:moveTo>
                  <a:cubicBezTo>
                    <a:pt x="181" y="145"/>
                    <a:pt x="181" y="145"/>
                    <a:pt x="181" y="145"/>
                  </a:cubicBezTo>
                  <a:cubicBezTo>
                    <a:pt x="181" y="145"/>
                    <a:pt x="181" y="145"/>
                    <a:pt x="182" y="145"/>
                  </a:cubicBezTo>
                  <a:cubicBezTo>
                    <a:pt x="187" y="145"/>
                    <a:pt x="192" y="141"/>
                    <a:pt x="192" y="135"/>
                  </a:cubicBezTo>
                  <a:cubicBezTo>
                    <a:pt x="193" y="129"/>
                    <a:pt x="189" y="124"/>
                    <a:pt x="183" y="123"/>
                  </a:cubicBezTo>
                  <a:cubicBezTo>
                    <a:pt x="55" y="111"/>
                    <a:pt x="55" y="111"/>
                    <a:pt x="55" y="111"/>
                  </a:cubicBezTo>
                  <a:cubicBezTo>
                    <a:pt x="49" y="110"/>
                    <a:pt x="44" y="114"/>
                    <a:pt x="44" y="120"/>
                  </a:cubicBezTo>
                  <a:cubicBezTo>
                    <a:pt x="43" y="126"/>
                    <a:pt x="47" y="131"/>
                    <a:pt x="53" y="132"/>
                  </a:cubicBezTo>
                  <a:close/>
                  <a:moveTo>
                    <a:pt x="60" y="78"/>
                  </a:moveTo>
                  <a:cubicBezTo>
                    <a:pt x="185" y="104"/>
                    <a:pt x="185" y="104"/>
                    <a:pt x="185" y="104"/>
                  </a:cubicBezTo>
                  <a:cubicBezTo>
                    <a:pt x="186" y="104"/>
                    <a:pt x="187" y="104"/>
                    <a:pt x="187" y="104"/>
                  </a:cubicBezTo>
                  <a:cubicBezTo>
                    <a:pt x="192" y="104"/>
                    <a:pt x="197" y="101"/>
                    <a:pt x="198" y="96"/>
                  </a:cubicBezTo>
                  <a:cubicBezTo>
                    <a:pt x="199" y="90"/>
                    <a:pt x="195" y="84"/>
                    <a:pt x="190" y="83"/>
                  </a:cubicBezTo>
                  <a:cubicBezTo>
                    <a:pt x="64" y="58"/>
                    <a:pt x="64" y="58"/>
                    <a:pt x="64" y="58"/>
                  </a:cubicBezTo>
                  <a:cubicBezTo>
                    <a:pt x="58" y="56"/>
                    <a:pt x="53" y="60"/>
                    <a:pt x="52" y="66"/>
                  </a:cubicBezTo>
                  <a:cubicBezTo>
                    <a:pt x="50" y="72"/>
                    <a:pt x="54" y="77"/>
                    <a:pt x="60" y="78"/>
                  </a:cubicBezTo>
                  <a:close/>
                  <a:moveTo>
                    <a:pt x="75" y="23"/>
                  </a:moveTo>
                  <a:cubicBezTo>
                    <a:pt x="195" y="66"/>
                    <a:pt x="195" y="66"/>
                    <a:pt x="195" y="66"/>
                  </a:cubicBezTo>
                  <a:cubicBezTo>
                    <a:pt x="196" y="66"/>
                    <a:pt x="198" y="66"/>
                    <a:pt x="199" y="66"/>
                  </a:cubicBezTo>
                  <a:cubicBezTo>
                    <a:pt x="203" y="66"/>
                    <a:pt x="207" y="64"/>
                    <a:pt x="209" y="59"/>
                  </a:cubicBezTo>
                  <a:cubicBezTo>
                    <a:pt x="211" y="54"/>
                    <a:pt x="208" y="48"/>
                    <a:pt x="202" y="46"/>
                  </a:cubicBezTo>
                  <a:cubicBezTo>
                    <a:pt x="82" y="2"/>
                    <a:pt x="82" y="2"/>
                    <a:pt x="82" y="2"/>
                  </a:cubicBezTo>
                  <a:cubicBezTo>
                    <a:pt x="76" y="0"/>
                    <a:pt x="70" y="3"/>
                    <a:pt x="68" y="9"/>
                  </a:cubicBezTo>
                  <a:cubicBezTo>
                    <a:pt x="66" y="14"/>
                    <a:pt x="69" y="21"/>
                    <a:pt x="75"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16" name="Group 550">
            <a:extLst>
              <a:ext uri="{FF2B5EF4-FFF2-40B4-BE49-F238E27FC236}">
                <a16:creationId xmlns:a16="http://schemas.microsoft.com/office/drawing/2014/main" id="{90B582DD-3BCB-43A6-AA53-0C42FE63D518}"/>
              </a:ext>
            </a:extLst>
          </p:cNvPr>
          <p:cNvGrpSpPr>
            <a:grpSpLocks noChangeAspect="1"/>
          </p:cNvGrpSpPr>
          <p:nvPr/>
        </p:nvGrpSpPr>
        <p:grpSpPr bwMode="auto">
          <a:xfrm>
            <a:off x="304059" y="4970265"/>
            <a:ext cx="752400" cy="752400"/>
            <a:chOff x="5799" y="1983"/>
            <a:chExt cx="340" cy="340"/>
          </a:xfrm>
          <a:solidFill>
            <a:srgbClr val="007CB0"/>
          </a:solidFill>
        </p:grpSpPr>
        <p:sp>
          <p:nvSpPr>
            <p:cNvPr id="117" name="Freeform 551">
              <a:extLst>
                <a:ext uri="{FF2B5EF4-FFF2-40B4-BE49-F238E27FC236}">
                  <a16:creationId xmlns:a16="http://schemas.microsoft.com/office/drawing/2014/main" id="{910D6896-0A67-4F40-9B88-35E490D0D20B}"/>
                </a:ext>
              </a:extLst>
            </p:cNvPr>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18" name="Freeform 552">
              <a:extLst>
                <a:ext uri="{FF2B5EF4-FFF2-40B4-BE49-F238E27FC236}">
                  <a16:creationId xmlns:a16="http://schemas.microsoft.com/office/drawing/2014/main" id="{B5D37890-0BD5-4935-8B6E-DDE5418ED751}"/>
                </a:ext>
              </a:extLst>
            </p:cNvPr>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19" name="Freeform 553">
              <a:extLst>
                <a:ext uri="{FF2B5EF4-FFF2-40B4-BE49-F238E27FC236}">
                  <a16:creationId xmlns:a16="http://schemas.microsoft.com/office/drawing/2014/main" id="{BA819F6B-5521-46B0-A7C6-CC227A23EE12}"/>
                </a:ext>
              </a:extLst>
            </p:cNvPr>
            <p:cNvSpPr>
              <a:spLocks noEditPoints="1"/>
            </p:cNvSpPr>
            <p:nvPr/>
          </p:nvSpPr>
          <p:spPr bwMode="auto">
            <a:xfrm>
              <a:off x="5799" y="1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120" name="Rectangle 3">
            <a:extLst>
              <a:ext uri="{FF2B5EF4-FFF2-40B4-BE49-F238E27FC236}">
                <a16:creationId xmlns:a16="http://schemas.microsoft.com/office/drawing/2014/main" id="{AB457FD7-19A5-432B-80A4-566B8D84D59A}"/>
              </a:ext>
            </a:extLst>
          </p:cNvPr>
          <p:cNvSpPr txBox="1">
            <a:spLocks noChangeArrowheads="1"/>
          </p:cNvSpPr>
          <p:nvPr/>
        </p:nvSpPr>
        <p:spPr>
          <a:xfrm>
            <a:off x="1274901" y="1292193"/>
            <a:ext cx="9978161" cy="433225"/>
          </a:xfrm>
          <a:prstGeom prst="rect">
            <a:avLst/>
          </a:prstGeom>
        </p:spPr>
        <p:txBody>
          <a:bodyPr lIns="0" tIns="0" rIns="0" bIns="0"/>
          <a:lstStyle>
            <a:lvl1pPr marL="304494" indent="-304494" algn="l" defTabSz="905024" rtl="0" eaLnBrk="0" fontAlgn="base" hangingPunct="0">
              <a:spcBef>
                <a:spcPct val="0"/>
              </a:spcBef>
              <a:spcAft>
                <a:spcPts val="266"/>
              </a:spcAft>
              <a:buFont typeface="Arial" pitchFamily="34" charset="0"/>
              <a:defRPr>
                <a:solidFill>
                  <a:schemeClr val="tx2"/>
                </a:solidFill>
                <a:latin typeface="+mn-lt"/>
                <a:ea typeface="+mn-ea"/>
                <a:cs typeface="+mn-cs"/>
              </a:defRPr>
            </a:lvl1pPr>
            <a:lvl2pPr marL="180440" indent="-180440" algn="l" defTabSz="905024" rtl="0" eaLnBrk="0" fontAlgn="base" hangingPunct="0">
              <a:spcBef>
                <a:spcPct val="0"/>
              </a:spcBef>
              <a:spcAft>
                <a:spcPts val="266"/>
              </a:spcAft>
              <a:buFont typeface="Arial" pitchFamily="34" charset="0"/>
              <a:buChar char="•"/>
              <a:defRPr>
                <a:solidFill>
                  <a:schemeClr val="tx2"/>
                </a:solidFill>
                <a:latin typeface="+mn-lt"/>
              </a:defRPr>
            </a:lvl2pPr>
            <a:lvl3pPr marL="353834" indent="-173393" algn="l" defTabSz="905024" rtl="0" eaLnBrk="0" fontAlgn="base" hangingPunct="0">
              <a:spcBef>
                <a:spcPct val="0"/>
              </a:spcBef>
              <a:spcAft>
                <a:spcPts val="266"/>
              </a:spcAft>
              <a:buFont typeface="Arial" pitchFamily="34" charset="0"/>
              <a:buChar char="‒"/>
              <a:defRPr>
                <a:solidFill>
                  <a:schemeClr val="tx2"/>
                </a:solidFill>
                <a:latin typeface="+mn-lt"/>
              </a:defRPr>
            </a:lvl3pPr>
            <a:lvl4pPr marL="534274" indent="-180440" algn="l" defTabSz="905024" rtl="0" eaLnBrk="0" fontAlgn="base" hangingPunct="0">
              <a:spcBef>
                <a:spcPct val="0"/>
              </a:spcBef>
              <a:spcAft>
                <a:spcPts val="533"/>
              </a:spcAft>
              <a:buFont typeface="Arial" pitchFamily="34" charset="0"/>
              <a:buChar char="•"/>
              <a:defRPr sz="1400">
                <a:solidFill>
                  <a:schemeClr val="tx2"/>
                </a:solidFill>
                <a:latin typeface="+mn-lt"/>
              </a:defRPr>
            </a:lvl4pPr>
            <a:lvl5pPr marL="704847" indent="-170574" algn="l" defTabSz="905024" rtl="0" eaLnBrk="0" fontAlgn="base" hangingPunct="0">
              <a:spcBef>
                <a:spcPct val="0"/>
              </a:spcBef>
              <a:spcAft>
                <a:spcPts val="533"/>
              </a:spcAft>
              <a:buFont typeface="Arial" pitchFamily="34" charset="0"/>
              <a:buChar char="‒"/>
              <a:defRPr sz="1400">
                <a:solidFill>
                  <a:schemeClr val="tx2"/>
                </a:solidFill>
                <a:latin typeface="+mn-lt"/>
              </a:defRPr>
            </a:lvl5pPr>
            <a:lvl6pPr marL="1110838"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6pPr>
            <a:lvl7pPr marL="1516830"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7pPr>
            <a:lvl8pPr marL="1922822"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8pPr>
            <a:lvl9pPr marL="2328814"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9pPr>
          </a:lstStyle>
          <a:p>
            <a:pPr marL="0" marR="0" lvl="0" indent="0" algn="just" defTabSz="905024" rtl="0" eaLnBrk="0" fontAlgn="base" latinLnBrk="0" hangingPunct="0">
              <a:lnSpc>
                <a:spcPct val="110000"/>
              </a:lnSpc>
              <a:spcBef>
                <a:spcPct val="0"/>
              </a:spcBef>
              <a:spcAft>
                <a:spcPts val="266"/>
              </a:spcAft>
              <a:buClr>
                <a:srgbClr val="FF0000"/>
              </a:buClr>
              <a:buSzTx/>
              <a:buFont typeface="Arial" pitchFamily="34" charset="0"/>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l complemento Carta Porte es un complemento electrónico se incorpora al CFDI, que se emite con motivo del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traslado de mercancías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n territorio nacional, mediante transporte: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Terrestre, Marítimo, Ferroviario, Aéreo.  </a:t>
            </a:r>
          </a:p>
          <a:p>
            <a:pPr marL="0" marR="0" lvl="0" indent="0" algn="just" defTabSz="905024" rtl="0" eaLnBrk="0" fontAlgn="base" latinLnBrk="0" hangingPunct="0">
              <a:lnSpc>
                <a:spcPct val="110000"/>
              </a:lnSpc>
              <a:spcBef>
                <a:spcPct val="0"/>
              </a:spcBef>
              <a:spcAft>
                <a:spcPts val="266"/>
              </a:spcAft>
              <a:buClr>
                <a:srgbClr val="FF0000"/>
              </a:buClr>
              <a:buSzTx/>
              <a:buFont typeface="Arial" pitchFamily="34" charset="0"/>
              <a:buNone/>
              <a:tabLst/>
              <a:defRPr/>
            </a:pP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Los sujetos obligados son: </a:t>
            </a:r>
            <a:r>
              <a:rPr kumimoji="0" lang="es-MX" sz="1400" b="1" i="0" u="none" strike="noStrike" kern="1200" cap="none" spc="0" normalizeH="0" baseline="0" noProof="0" dirty="0">
                <a:ln>
                  <a:noFill/>
                </a:ln>
                <a:solidFill>
                  <a:srgbClr val="007CB0">
                    <a:lumMod val="60000"/>
                    <a:lumOff val="40000"/>
                  </a:srgbClr>
                </a:solidFill>
                <a:effectLst/>
                <a:uLnTx/>
                <a:uFillTx/>
                <a:latin typeface="Verdana"/>
                <a:ea typeface="MS PGothic" charset="0"/>
                <a:cs typeface="+mn-cs"/>
              </a:rPr>
              <a:t>Transportistas que trasladen en favor de otros, Intermediarios o Agentes Logísticos, Empresas que trasladan por medios propios. </a:t>
            </a:r>
          </a:p>
        </p:txBody>
      </p:sp>
      <p:sp>
        <p:nvSpPr>
          <p:cNvPr id="121" name="Rectangle 3">
            <a:extLst>
              <a:ext uri="{FF2B5EF4-FFF2-40B4-BE49-F238E27FC236}">
                <a16:creationId xmlns:a16="http://schemas.microsoft.com/office/drawing/2014/main" id="{823EDCE1-1005-4020-B283-A82F4F214E9C}"/>
              </a:ext>
            </a:extLst>
          </p:cNvPr>
          <p:cNvSpPr txBox="1">
            <a:spLocks noChangeArrowheads="1"/>
          </p:cNvSpPr>
          <p:nvPr/>
        </p:nvSpPr>
        <p:spPr>
          <a:xfrm>
            <a:off x="1274901" y="2725794"/>
            <a:ext cx="9978161" cy="711625"/>
          </a:xfrm>
          <a:prstGeom prst="rect">
            <a:avLst/>
          </a:prstGeom>
        </p:spPr>
        <p:txBody>
          <a:bodyPr lIns="0" tIns="0" rIns="0" bIns="0"/>
          <a:lstStyle>
            <a:lvl1pPr marL="304494" indent="-304494" algn="l" defTabSz="905024" rtl="0" eaLnBrk="0" fontAlgn="base" hangingPunct="0">
              <a:spcBef>
                <a:spcPct val="0"/>
              </a:spcBef>
              <a:spcAft>
                <a:spcPts val="266"/>
              </a:spcAft>
              <a:buFont typeface="Arial" pitchFamily="34" charset="0"/>
              <a:defRPr>
                <a:solidFill>
                  <a:schemeClr val="tx2"/>
                </a:solidFill>
                <a:latin typeface="+mn-lt"/>
                <a:ea typeface="+mn-ea"/>
                <a:cs typeface="+mn-cs"/>
              </a:defRPr>
            </a:lvl1pPr>
            <a:lvl2pPr marL="180440" indent="-180440" algn="l" defTabSz="905024" rtl="0" eaLnBrk="0" fontAlgn="base" hangingPunct="0">
              <a:spcBef>
                <a:spcPct val="0"/>
              </a:spcBef>
              <a:spcAft>
                <a:spcPts val="266"/>
              </a:spcAft>
              <a:buFont typeface="Arial" pitchFamily="34" charset="0"/>
              <a:buChar char="•"/>
              <a:defRPr>
                <a:solidFill>
                  <a:schemeClr val="tx2"/>
                </a:solidFill>
                <a:latin typeface="+mn-lt"/>
              </a:defRPr>
            </a:lvl2pPr>
            <a:lvl3pPr marL="353834" indent="-173393" algn="l" defTabSz="905024" rtl="0" eaLnBrk="0" fontAlgn="base" hangingPunct="0">
              <a:spcBef>
                <a:spcPct val="0"/>
              </a:spcBef>
              <a:spcAft>
                <a:spcPts val="266"/>
              </a:spcAft>
              <a:buFont typeface="Arial" pitchFamily="34" charset="0"/>
              <a:buChar char="‒"/>
              <a:defRPr>
                <a:solidFill>
                  <a:schemeClr val="tx2"/>
                </a:solidFill>
                <a:latin typeface="+mn-lt"/>
              </a:defRPr>
            </a:lvl3pPr>
            <a:lvl4pPr marL="534274" indent="-180440" algn="l" defTabSz="905024" rtl="0" eaLnBrk="0" fontAlgn="base" hangingPunct="0">
              <a:spcBef>
                <a:spcPct val="0"/>
              </a:spcBef>
              <a:spcAft>
                <a:spcPts val="533"/>
              </a:spcAft>
              <a:buFont typeface="Arial" pitchFamily="34" charset="0"/>
              <a:buChar char="•"/>
              <a:defRPr sz="1400">
                <a:solidFill>
                  <a:schemeClr val="tx2"/>
                </a:solidFill>
                <a:latin typeface="+mn-lt"/>
              </a:defRPr>
            </a:lvl4pPr>
            <a:lvl5pPr marL="704847" indent="-170574" algn="l" defTabSz="905024" rtl="0" eaLnBrk="0" fontAlgn="base" hangingPunct="0">
              <a:spcBef>
                <a:spcPct val="0"/>
              </a:spcBef>
              <a:spcAft>
                <a:spcPts val="533"/>
              </a:spcAft>
              <a:buFont typeface="Arial" pitchFamily="34" charset="0"/>
              <a:buChar char="‒"/>
              <a:defRPr sz="1400">
                <a:solidFill>
                  <a:schemeClr val="tx2"/>
                </a:solidFill>
                <a:latin typeface="+mn-lt"/>
              </a:defRPr>
            </a:lvl5pPr>
            <a:lvl6pPr marL="1110838"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6pPr>
            <a:lvl7pPr marL="1516830"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7pPr>
            <a:lvl8pPr marL="1922822"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8pPr>
            <a:lvl9pPr marL="2328814"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9pPr>
          </a:lstStyle>
          <a:p>
            <a:pPr marL="0" marR="0" lvl="0" indent="0" algn="just" defTabSz="905024" rtl="0" eaLnBrk="0" fontAlgn="base" latinLnBrk="0" hangingPunct="0">
              <a:lnSpc>
                <a:spcPct val="110000"/>
              </a:lnSpc>
              <a:spcBef>
                <a:spcPct val="0"/>
              </a:spcBef>
              <a:spcAft>
                <a:spcPts val="266"/>
              </a:spcAft>
              <a:buClr>
                <a:srgbClr val="FF0000"/>
              </a:buClr>
              <a:buSzTx/>
              <a:buFont typeface="Arial" pitchFamily="34" charset="0"/>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l complemento Carta Porte tiene la finalidad de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informar</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al SAT respecto de todos los </a:t>
            </a:r>
            <a:r>
              <a:rPr kumimoji="0" lang="es-MX" sz="1400" b="1" i="0" u="none" strike="noStrike" kern="1200" cap="none" spc="0" normalizeH="0" baseline="0" noProof="0" dirty="0">
                <a:ln>
                  <a:noFill/>
                </a:ln>
                <a:solidFill>
                  <a:srgbClr val="007CB0">
                    <a:lumMod val="60000"/>
                    <a:lumOff val="40000"/>
                  </a:srgbClr>
                </a:solidFill>
                <a:effectLst/>
                <a:uLnTx/>
                <a:uFillTx/>
                <a:latin typeface="Verdana"/>
                <a:ea typeface="MS PGothic" charset="0"/>
                <a:cs typeface="+mn-cs"/>
              </a:rPr>
              <a:t>puntos de traslado de la mercancía</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origen, puntos medios, destino, propietario, arrendatario, operadores sobre aquellos que intervienen en el traslado de las mercancías. </a:t>
            </a:r>
          </a:p>
        </p:txBody>
      </p:sp>
      <p:grpSp>
        <p:nvGrpSpPr>
          <p:cNvPr id="122" name="Group 979">
            <a:extLst>
              <a:ext uri="{FF2B5EF4-FFF2-40B4-BE49-F238E27FC236}">
                <a16:creationId xmlns:a16="http://schemas.microsoft.com/office/drawing/2014/main" id="{33C3E09A-5D53-419A-B72D-AF33A2A25752}"/>
              </a:ext>
            </a:extLst>
          </p:cNvPr>
          <p:cNvGrpSpPr>
            <a:grpSpLocks noChangeAspect="1"/>
          </p:cNvGrpSpPr>
          <p:nvPr/>
        </p:nvGrpSpPr>
        <p:grpSpPr bwMode="auto">
          <a:xfrm>
            <a:off x="322817" y="2613981"/>
            <a:ext cx="750194" cy="752400"/>
            <a:chOff x="2032" y="4237"/>
            <a:chExt cx="340" cy="341"/>
          </a:xfrm>
          <a:solidFill>
            <a:srgbClr val="0D8390"/>
          </a:solidFill>
        </p:grpSpPr>
        <p:sp>
          <p:nvSpPr>
            <p:cNvPr id="123" name="Freeform 980">
              <a:extLst>
                <a:ext uri="{FF2B5EF4-FFF2-40B4-BE49-F238E27FC236}">
                  <a16:creationId xmlns:a16="http://schemas.microsoft.com/office/drawing/2014/main" id="{418D7ABF-5FB8-4257-BF2B-4065F5C1202C}"/>
                </a:ext>
              </a:extLst>
            </p:cNvPr>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24" name="Freeform 981">
              <a:extLst>
                <a:ext uri="{FF2B5EF4-FFF2-40B4-BE49-F238E27FC236}">
                  <a16:creationId xmlns:a16="http://schemas.microsoft.com/office/drawing/2014/main" id="{6711696E-8551-4D9D-9F0D-EB74958CCFCD}"/>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25" name="Freeform 982">
              <a:extLst>
                <a:ext uri="{FF2B5EF4-FFF2-40B4-BE49-F238E27FC236}">
                  <a16:creationId xmlns:a16="http://schemas.microsoft.com/office/drawing/2014/main" id="{2E08731A-40C9-4E6B-890B-9879DCA11347}"/>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126" name="Rectangle 3">
            <a:extLst>
              <a:ext uri="{FF2B5EF4-FFF2-40B4-BE49-F238E27FC236}">
                <a16:creationId xmlns:a16="http://schemas.microsoft.com/office/drawing/2014/main" id="{E9D933FB-DA19-4643-A815-60A2C0A8B1DF}"/>
              </a:ext>
            </a:extLst>
          </p:cNvPr>
          <p:cNvSpPr txBox="1">
            <a:spLocks noChangeArrowheads="1"/>
          </p:cNvSpPr>
          <p:nvPr/>
        </p:nvSpPr>
        <p:spPr>
          <a:xfrm>
            <a:off x="1274901" y="5011040"/>
            <a:ext cx="9978161" cy="711625"/>
          </a:xfrm>
          <a:prstGeom prst="rect">
            <a:avLst/>
          </a:prstGeom>
        </p:spPr>
        <p:txBody>
          <a:bodyPr lIns="0" tIns="0" rIns="0" bIns="0"/>
          <a:lstStyle>
            <a:lvl1pPr marL="304494" indent="-304494" algn="l" defTabSz="905024" rtl="0" eaLnBrk="0" fontAlgn="base" hangingPunct="0">
              <a:spcBef>
                <a:spcPct val="0"/>
              </a:spcBef>
              <a:spcAft>
                <a:spcPts val="266"/>
              </a:spcAft>
              <a:buFont typeface="Arial" pitchFamily="34" charset="0"/>
              <a:defRPr>
                <a:solidFill>
                  <a:schemeClr val="tx2"/>
                </a:solidFill>
                <a:latin typeface="+mn-lt"/>
                <a:ea typeface="+mn-ea"/>
                <a:cs typeface="+mn-cs"/>
              </a:defRPr>
            </a:lvl1pPr>
            <a:lvl2pPr marL="180440" indent="-180440" algn="l" defTabSz="905024" rtl="0" eaLnBrk="0" fontAlgn="base" hangingPunct="0">
              <a:spcBef>
                <a:spcPct val="0"/>
              </a:spcBef>
              <a:spcAft>
                <a:spcPts val="266"/>
              </a:spcAft>
              <a:buFont typeface="Arial" pitchFamily="34" charset="0"/>
              <a:buChar char="•"/>
              <a:defRPr>
                <a:solidFill>
                  <a:schemeClr val="tx2"/>
                </a:solidFill>
                <a:latin typeface="+mn-lt"/>
              </a:defRPr>
            </a:lvl2pPr>
            <a:lvl3pPr marL="353834" indent="-173393" algn="l" defTabSz="905024" rtl="0" eaLnBrk="0" fontAlgn="base" hangingPunct="0">
              <a:spcBef>
                <a:spcPct val="0"/>
              </a:spcBef>
              <a:spcAft>
                <a:spcPts val="266"/>
              </a:spcAft>
              <a:buFont typeface="Arial" pitchFamily="34" charset="0"/>
              <a:buChar char="‒"/>
              <a:defRPr>
                <a:solidFill>
                  <a:schemeClr val="tx2"/>
                </a:solidFill>
                <a:latin typeface="+mn-lt"/>
              </a:defRPr>
            </a:lvl3pPr>
            <a:lvl4pPr marL="534274" indent="-180440" algn="l" defTabSz="905024" rtl="0" eaLnBrk="0" fontAlgn="base" hangingPunct="0">
              <a:spcBef>
                <a:spcPct val="0"/>
              </a:spcBef>
              <a:spcAft>
                <a:spcPts val="533"/>
              </a:spcAft>
              <a:buFont typeface="Arial" pitchFamily="34" charset="0"/>
              <a:buChar char="•"/>
              <a:defRPr sz="1400">
                <a:solidFill>
                  <a:schemeClr val="tx2"/>
                </a:solidFill>
                <a:latin typeface="+mn-lt"/>
              </a:defRPr>
            </a:lvl4pPr>
            <a:lvl5pPr marL="704847" indent="-170574" algn="l" defTabSz="905024" rtl="0" eaLnBrk="0" fontAlgn="base" hangingPunct="0">
              <a:spcBef>
                <a:spcPct val="0"/>
              </a:spcBef>
              <a:spcAft>
                <a:spcPts val="533"/>
              </a:spcAft>
              <a:buFont typeface="Arial" pitchFamily="34" charset="0"/>
              <a:buChar char="‒"/>
              <a:defRPr sz="1400">
                <a:solidFill>
                  <a:schemeClr val="tx2"/>
                </a:solidFill>
                <a:latin typeface="+mn-lt"/>
              </a:defRPr>
            </a:lvl5pPr>
            <a:lvl6pPr marL="1110838"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6pPr>
            <a:lvl7pPr marL="1516830"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7pPr>
            <a:lvl8pPr marL="1922822"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8pPr>
            <a:lvl9pPr marL="2328814" indent="-170574" algn="l" defTabSz="905024" rtl="0" eaLnBrk="1" fontAlgn="base" hangingPunct="1">
              <a:spcBef>
                <a:spcPct val="0"/>
              </a:spcBef>
              <a:spcAft>
                <a:spcPts val="533"/>
              </a:spcAft>
              <a:buFont typeface="Arial" pitchFamily="34" charset="0"/>
              <a:buChar char="‒"/>
              <a:defRPr sz="1400">
                <a:solidFill>
                  <a:schemeClr val="tx2"/>
                </a:solidFill>
                <a:latin typeface="+mn-lt"/>
              </a:defRPr>
            </a:lvl9pPr>
          </a:lstStyle>
          <a:p>
            <a:pPr marL="0" marR="0" lvl="0" indent="0" algn="just" defTabSz="905024" rtl="0" eaLnBrk="0" fontAlgn="base" latinLnBrk="0" hangingPunct="0">
              <a:lnSpc>
                <a:spcPct val="110000"/>
              </a:lnSpc>
              <a:spcBef>
                <a:spcPct val="0"/>
              </a:spcBef>
              <a:spcAft>
                <a:spcPts val="266"/>
              </a:spcAft>
              <a:buClr>
                <a:srgbClr val="FF0000"/>
              </a:buClr>
              <a:buSzTx/>
              <a:buFont typeface="Arial" pitchFamily="34" charset="0"/>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l complemento Carta Porte, permite apoyar a las autoridades fiscales en la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fiscalización</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conforme a modelos de riesgo, detectar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riesgos</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obtener información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estadística</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y en los CFDI de Ingreso identificar los montos de </a:t>
            </a:r>
            <a:r>
              <a:rPr kumimoji="0" lang="es-MX" sz="1400" b="1" i="0" u="none" strike="noStrike" kern="1200" cap="none" spc="0" normalizeH="0" baseline="0" noProof="0" dirty="0">
                <a:ln>
                  <a:noFill/>
                </a:ln>
                <a:solidFill>
                  <a:srgbClr val="86BC25"/>
                </a:solidFill>
                <a:effectLst/>
                <a:uLnTx/>
                <a:uFillTx/>
                <a:latin typeface="Verdana"/>
                <a:ea typeface="MS PGothic" charset="0"/>
                <a:cs typeface="+mn-cs"/>
              </a:rPr>
              <a:t>retención de IVA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que se efectúan por concepto de servicio de autotransporte. </a:t>
            </a:r>
          </a:p>
        </p:txBody>
      </p:sp>
      <p:sp>
        <p:nvSpPr>
          <p:cNvPr id="22" name="Rectangle 21">
            <a:extLst>
              <a:ext uri="{FF2B5EF4-FFF2-40B4-BE49-F238E27FC236}">
                <a16:creationId xmlns:a16="http://schemas.microsoft.com/office/drawing/2014/main" id="{5C58E01B-ABDA-4CD2-AF63-9BFC57943873}"/>
              </a:ext>
            </a:extLst>
          </p:cNvPr>
          <p:cNvSpPr/>
          <p:nvPr/>
        </p:nvSpPr>
        <p:spPr bwMode="gray">
          <a:xfrm>
            <a:off x="161692" y="642310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3" name="Rectangle 22">
            <a:extLst>
              <a:ext uri="{FF2B5EF4-FFF2-40B4-BE49-F238E27FC236}">
                <a16:creationId xmlns:a16="http://schemas.microsoft.com/office/drawing/2014/main" id="{C981802A-E932-4E54-B048-61BEF7BABF57}"/>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28864963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3445107-5C28-4A85-BAF9-FC033DFA9CD0}"/>
              </a:ext>
            </a:extLst>
          </p:cNvPr>
          <p:cNvSpPr>
            <a:spLocks noGrp="1"/>
          </p:cNvSpPr>
          <p:nvPr>
            <p:ph type="body" sz="quarter" idx="13"/>
          </p:nvPr>
        </p:nvSpPr>
        <p:spPr/>
        <p:txBody>
          <a:bodyPr/>
          <a:lstStyle/>
          <a:p>
            <a:r>
              <a:rPr lang="es-MX" dirty="0"/>
              <a:t>Status actual</a:t>
            </a:r>
          </a:p>
          <a:p>
            <a:endParaRPr lang="en-US" dirty="0"/>
          </a:p>
        </p:txBody>
      </p:sp>
      <p:sp>
        <p:nvSpPr>
          <p:cNvPr id="21" name="Rectangle 20">
            <a:extLst>
              <a:ext uri="{FF2B5EF4-FFF2-40B4-BE49-F238E27FC236}">
                <a16:creationId xmlns:a16="http://schemas.microsoft.com/office/drawing/2014/main" id="{50C42B8C-7B2A-4510-8D4A-D7D635822455}"/>
              </a:ext>
            </a:extLst>
          </p:cNvPr>
          <p:cNvSpPr/>
          <p:nvPr/>
        </p:nvSpPr>
        <p:spPr>
          <a:xfrm>
            <a:off x="885077" y="1207962"/>
            <a:ext cx="10663075" cy="35702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Conforme a la RMF, se indica que el uso del CFDI con CCP, será aplicable a partir del 1 de enero de 2022.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Para efectos de la imposición de las sanciones y multas, si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el CFDI con CCP no cuenta con totalidad de los requisitos del Instructivo de llenado del CFDI con CCP, </a:t>
            </a: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hasta antes del 31 de  diciembre 2022</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No será acreedor a las sanciones y multas a las que se refieren los artículos 84, fracción IV, inciso d) (400 a 600 pesos por cada comprobant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La sanción del artículo 103, fracción XXII del Código Fiscal de la Federación (Contrabando).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Por tanto, desde el 1 de enero de 2023, la imposición de sanciones y multas serán aplicables en caso de incumplimiento.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MX" sz="1400" b="0" i="0" u="none" strike="noStrike" kern="1200" cap="none" spc="0" normalizeH="0" baseline="0" noProof="0" dirty="0">
              <a:ln>
                <a:noFill/>
              </a:ln>
              <a:solidFill>
                <a:prstClr val="black"/>
              </a:solidFill>
              <a:effectLst/>
              <a:uLnTx/>
              <a:uFillTx/>
              <a:latin typeface="Verdana"/>
              <a:ea typeface="MS PGothic"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Conforme a </a:t>
            </a:r>
            <a:r>
              <a:rPr lang="es-MX" sz="1400" dirty="0">
                <a:solidFill>
                  <a:prstClr val="black"/>
                </a:solidFill>
                <a:latin typeface="Verdana"/>
                <a:ea typeface="MS PGothic" charset="0"/>
              </a:rPr>
              <a:t>la tercera Resolución anticipara de las Reglas Generales de Comercio Exterior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RGCE), publicada el 9 de septiembre del 2022, se indica que será </a:t>
            </a: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exigible Folio Fiscal del CFDI de tipo ingreso o tipo traslado, </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según corresponda, </a:t>
            </a: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con complemento Carta Porte,</a:t>
            </a:r>
            <a:r>
              <a:rPr kumimoji="0" lang="es-MX" sz="1400" b="0" i="0" u="none" strike="noStrike" kern="1200" cap="none" spc="0" normalizeH="0" baseline="0" noProof="0" dirty="0">
                <a:ln>
                  <a:noFill/>
                </a:ln>
                <a:solidFill>
                  <a:prstClr val="black"/>
                </a:solidFill>
                <a:effectLst/>
                <a:uLnTx/>
                <a:uFillTx/>
                <a:latin typeface="Verdana"/>
                <a:ea typeface="MS PGothic" charset="0"/>
                <a:cs typeface="+mn-cs"/>
              </a:rPr>
              <a:t> para efectos de supuestos específicos de despacho aduanero y aduanas PITA, </a:t>
            </a:r>
            <a:r>
              <a:rPr kumimoji="0" lang="es-MX" sz="1400" b="1" i="0" u="none" strike="noStrike" kern="1200" cap="none" spc="0" normalizeH="0" baseline="0" noProof="0" dirty="0">
                <a:ln>
                  <a:noFill/>
                </a:ln>
                <a:solidFill>
                  <a:prstClr val="black"/>
                </a:solidFill>
                <a:effectLst/>
                <a:uLnTx/>
                <a:uFillTx/>
                <a:latin typeface="Verdana"/>
                <a:ea typeface="MS PGothic" charset="0"/>
                <a:cs typeface="+mn-cs"/>
              </a:rPr>
              <a:t>a partir del 1 de enero de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4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8" name="Freeform 88">
            <a:extLst>
              <a:ext uri="{FF2B5EF4-FFF2-40B4-BE49-F238E27FC236}">
                <a16:creationId xmlns:a16="http://schemas.microsoft.com/office/drawing/2014/main" id="{72D3C440-16F7-4AFA-8D01-AB8A3C78304E}"/>
              </a:ext>
            </a:extLst>
          </p:cNvPr>
          <p:cNvSpPr>
            <a:spLocks noChangeAspect="1" noEditPoints="1"/>
          </p:cNvSpPr>
          <p:nvPr/>
        </p:nvSpPr>
        <p:spPr bwMode="auto">
          <a:xfrm>
            <a:off x="501650" y="1253280"/>
            <a:ext cx="311150" cy="3111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 name="Freeform 88">
            <a:extLst>
              <a:ext uri="{FF2B5EF4-FFF2-40B4-BE49-F238E27FC236}">
                <a16:creationId xmlns:a16="http://schemas.microsoft.com/office/drawing/2014/main" id="{E3E25A3B-8AF4-4D11-B82A-DB95EBEE7F5D}"/>
              </a:ext>
            </a:extLst>
          </p:cNvPr>
          <p:cNvSpPr>
            <a:spLocks noChangeAspect="1" noEditPoints="1"/>
          </p:cNvSpPr>
          <p:nvPr/>
        </p:nvSpPr>
        <p:spPr bwMode="auto">
          <a:xfrm>
            <a:off x="431729" y="3641561"/>
            <a:ext cx="311150" cy="31115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 name="Title 2">
            <a:extLst>
              <a:ext uri="{FF2B5EF4-FFF2-40B4-BE49-F238E27FC236}">
                <a16:creationId xmlns:a16="http://schemas.microsoft.com/office/drawing/2014/main" id="{FB7AC5FB-ECE7-4D77-8476-28FEE928416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MX" sz="1800" b="1" i="0" u="none" strike="noStrike" kern="1200" cap="none" spc="0" normalizeH="0" baseline="0" noProof="0" dirty="0">
                <a:ln>
                  <a:noFill/>
                </a:ln>
                <a:solidFill>
                  <a:prstClr val="black"/>
                </a:solidFill>
                <a:effectLst/>
                <a:uLnTx/>
                <a:uFillTx/>
                <a:latin typeface="Verdana"/>
                <a:ea typeface="+mj-ea"/>
                <a:cs typeface="Calibri Light" panose="020F0302020204030204" pitchFamily="34" charset="0"/>
              </a:rPr>
              <a:t>Complemento Carta Porte</a:t>
            </a:r>
          </a:p>
        </p:txBody>
      </p:sp>
    </p:spTree>
    <p:extLst>
      <p:ext uri="{BB962C8B-B14F-4D97-AF65-F5344CB8AC3E}">
        <p14:creationId xmlns:p14="http://schemas.microsoft.com/office/powerpoint/2010/main" val="50010782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43"/>
          <p:cNvSpPr>
            <a:spLocks noGrp="1"/>
          </p:cNvSpPr>
          <p:nvPr>
            <p:ph type="body" sz="quarter" idx="13"/>
          </p:nvPr>
        </p:nvSpPr>
        <p:spPr>
          <a:xfrm>
            <a:off x="501650" y="661065"/>
            <a:ext cx="11188700" cy="757255"/>
          </a:xfrm>
        </p:spPr>
        <p:txBody>
          <a:bodyPr/>
          <a:lstStyle/>
          <a:p>
            <a:pPr lvl="0"/>
            <a:r>
              <a:rPr lang="en-US" dirty="0" err="1">
                <a:latin typeface="Verdana" panose="020B0604030504040204" pitchFamily="34" charset="0"/>
                <a:ea typeface="Verdana" panose="020B0604030504040204" pitchFamily="34" charset="0"/>
                <a:cs typeface="+mn-cs"/>
              </a:rPr>
              <a:t>Reglas</a:t>
            </a:r>
            <a:r>
              <a:rPr lang="en-US" dirty="0">
                <a:latin typeface="Verdana" panose="020B0604030504040204" pitchFamily="34" charset="0"/>
                <a:ea typeface="Verdana" panose="020B0604030504040204" pitchFamily="34" charset="0"/>
                <a:cs typeface="+mn-cs"/>
              </a:rPr>
              <a:t> </a:t>
            </a:r>
            <a:r>
              <a:rPr lang="en-US" dirty="0" err="1">
                <a:latin typeface="Verdana" panose="020B0604030504040204" pitchFamily="34" charset="0"/>
                <a:ea typeface="Verdana" panose="020B0604030504040204" pitchFamily="34" charset="0"/>
                <a:cs typeface="+mn-cs"/>
              </a:rPr>
              <a:t>Generales</a:t>
            </a:r>
            <a:r>
              <a:rPr lang="en-US" dirty="0">
                <a:latin typeface="Verdana" panose="020B0604030504040204" pitchFamily="34" charset="0"/>
                <a:ea typeface="Verdana" panose="020B0604030504040204" pitchFamily="34" charset="0"/>
                <a:cs typeface="+mn-cs"/>
              </a:rPr>
              <a:t> de Comercio Exterior</a:t>
            </a:r>
            <a:endParaRPr lang="en-GB" dirty="0">
              <a:latin typeface="Verdana" panose="020B0604030504040204" pitchFamily="34" charset="0"/>
              <a:ea typeface="Verdana" panose="020B0604030504040204" pitchFamily="34" charset="0"/>
              <a:cs typeface="+mn-cs"/>
            </a:endParaRPr>
          </a:p>
        </p:txBody>
      </p:sp>
      <p:sp>
        <p:nvSpPr>
          <p:cNvPr id="14" name="Title 1"/>
          <p:cNvSpPr>
            <a:spLocks noGrp="1"/>
          </p:cNvSpPr>
          <p:nvPr>
            <p:ph type="title"/>
          </p:nvPr>
        </p:nvSpPr>
        <p:spPr>
          <a:xfrm>
            <a:off x="501650" y="317501"/>
            <a:ext cx="11188700" cy="361250"/>
          </a:xfrm>
        </p:spPr>
        <p:txBody>
          <a:bodyPr/>
          <a:lstStyle/>
          <a:p>
            <a:r>
              <a:rPr lang="es-MX" sz="1800" b="1" dirty="0">
                <a:latin typeface="Verdana" panose="020B0604030504040204" pitchFamily="34" charset="0"/>
                <a:ea typeface="Verdana" panose="020B0604030504040204" pitchFamily="34" charset="0"/>
                <a:cs typeface="+mj-cs"/>
              </a:rPr>
              <a:t>Complemento Carta Porte del CFDI</a:t>
            </a:r>
          </a:p>
        </p:txBody>
      </p:sp>
      <p:grpSp>
        <p:nvGrpSpPr>
          <p:cNvPr id="47" name="Group 46">
            <a:extLst>
              <a:ext uri="{FF2B5EF4-FFF2-40B4-BE49-F238E27FC236}">
                <a16:creationId xmlns:a16="http://schemas.microsoft.com/office/drawing/2014/main" id="{DF9667FF-DFFF-4F39-A0F3-DAA58F8E7737}"/>
              </a:ext>
            </a:extLst>
          </p:cNvPr>
          <p:cNvGrpSpPr/>
          <p:nvPr/>
        </p:nvGrpSpPr>
        <p:grpSpPr>
          <a:xfrm>
            <a:off x="501650" y="1836844"/>
            <a:ext cx="9015814" cy="4410331"/>
            <a:chOff x="351383" y="1765181"/>
            <a:chExt cx="8313397" cy="3778047"/>
          </a:xfrm>
        </p:grpSpPr>
        <p:grpSp>
          <p:nvGrpSpPr>
            <p:cNvPr id="48" name="Group 574">
              <a:extLst>
                <a:ext uri="{FF2B5EF4-FFF2-40B4-BE49-F238E27FC236}">
                  <a16:creationId xmlns:a16="http://schemas.microsoft.com/office/drawing/2014/main" id="{8C196901-8777-4C2B-856D-E4145BD31FA4}"/>
                </a:ext>
              </a:extLst>
            </p:cNvPr>
            <p:cNvGrpSpPr>
              <a:grpSpLocks noChangeAspect="1"/>
            </p:cNvGrpSpPr>
            <p:nvPr/>
          </p:nvGrpSpPr>
          <p:grpSpPr bwMode="auto">
            <a:xfrm>
              <a:off x="3217477" y="2573951"/>
              <a:ext cx="456270" cy="457612"/>
              <a:chOff x="1921" y="1949"/>
              <a:chExt cx="340" cy="341"/>
            </a:xfrm>
            <a:solidFill>
              <a:schemeClr val="accent5"/>
            </a:solidFill>
          </p:grpSpPr>
          <p:sp>
            <p:nvSpPr>
              <p:cNvPr id="116" name="Freeform 575">
                <a:extLst>
                  <a:ext uri="{FF2B5EF4-FFF2-40B4-BE49-F238E27FC236}">
                    <a16:creationId xmlns:a16="http://schemas.microsoft.com/office/drawing/2014/main" id="{C9DBFD27-6577-4B40-9C99-6855E6A8B7FA}"/>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7" name="Freeform 576">
                <a:extLst>
                  <a:ext uri="{FF2B5EF4-FFF2-40B4-BE49-F238E27FC236}">
                    <a16:creationId xmlns:a16="http://schemas.microsoft.com/office/drawing/2014/main" id="{1465676E-A7BF-499C-A5C1-C170CAFAE7B8}"/>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5"/>
              </a:lnRef>
              <a:fillRef idx="1">
                <a:schemeClr val="lt1"/>
              </a:fillRef>
              <a:effectRef idx="0">
                <a:schemeClr val="accent5"/>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9"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088668" y="2573951"/>
              <a:ext cx="461930" cy="457612"/>
              <a:chOff x="2920" y="2264"/>
              <a:chExt cx="340" cy="340"/>
            </a:xfrm>
            <a:solidFill>
              <a:schemeClr val="accent5"/>
            </a:solidFill>
          </p:grpSpPr>
          <p:sp>
            <p:nvSpPr>
              <p:cNvPr id="113"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4"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5"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0" name="Group 49">
              <a:extLst>
                <a:ext uri="{FF2B5EF4-FFF2-40B4-BE49-F238E27FC236}">
                  <a16:creationId xmlns:a16="http://schemas.microsoft.com/office/drawing/2014/main" id="{648D6542-F5A6-4271-A321-4012662AA23B}"/>
                </a:ext>
              </a:extLst>
            </p:cNvPr>
            <p:cNvGrpSpPr/>
            <p:nvPr/>
          </p:nvGrpSpPr>
          <p:grpSpPr>
            <a:xfrm>
              <a:off x="352426" y="1775049"/>
              <a:ext cx="1934414" cy="698585"/>
              <a:chOff x="413228" y="914769"/>
              <a:chExt cx="1947702" cy="933004"/>
            </a:xfrm>
          </p:grpSpPr>
          <p:sp>
            <p:nvSpPr>
              <p:cNvPr id="110"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1"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2" name="Round Same Side Corner Rectangle 43">
                <a:extLst>
                  <a:ext uri="{FF2B5EF4-FFF2-40B4-BE49-F238E27FC236}">
                    <a16:creationId xmlns:a16="http://schemas.microsoft.com/office/drawing/2014/main" id="{061E7905-79A6-499A-8D5D-704DFF1259AB}"/>
                  </a:ext>
                </a:extLst>
              </p:cNvPr>
              <p:cNvSpPr/>
              <p:nvPr/>
            </p:nvSpPr>
            <p:spPr bwMode="gray">
              <a:xfrm>
                <a:off x="413228" y="914769"/>
                <a:ext cx="1947702" cy="84616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3.1.31 Procedimiento para la presentación de los documentos en el despacho  aduanero de mercancías</a:t>
                </a:r>
              </a:p>
            </p:txBody>
          </p:sp>
        </p:grpSp>
        <p:grpSp>
          <p:nvGrpSpPr>
            <p:cNvPr id="51" name="Group 50">
              <a:extLst>
                <a:ext uri="{FF2B5EF4-FFF2-40B4-BE49-F238E27FC236}">
                  <a16:creationId xmlns:a16="http://schemas.microsoft.com/office/drawing/2014/main" id="{DFD3E7B2-3428-4824-A54D-B24C483AB07C}"/>
                </a:ext>
              </a:extLst>
            </p:cNvPr>
            <p:cNvGrpSpPr/>
            <p:nvPr/>
          </p:nvGrpSpPr>
          <p:grpSpPr>
            <a:xfrm>
              <a:off x="351383" y="3270721"/>
              <a:ext cx="1975463" cy="2272495"/>
              <a:chOff x="581484" y="3602215"/>
              <a:chExt cx="2698859" cy="3656819"/>
            </a:xfrm>
          </p:grpSpPr>
          <p:sp>
            <p:nvSpPr>
              <p:cNvPr id="108" name="Rectangle 107">
                <a:extLst>
                  <a:ext uri="{FF2B5EF4-FFF2-40B4-BE49-F238E27FC236}">
                    <a16:creationId xmlns:a16="http://schemas.microsoft.com/office/drawing/2014/main" id="{FF36E524-1298-445B-81CC-5F5266C44617}"/>
                  </a:ext>
                </a:extLst>
              </p:cNvPr>
              <p:cNvSpPr/>
              <p:nvPr/>
            </p:nvSpPr>
            <p:spPr bwMode="gray">
              <a:xfrm>
                <a:off x="581484" y="3602215"/>
                <a:ext cx="2698859" cy="3569124"/>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 regla indica los documentos que deben presentarse junto a las mercancías para su despacho a la entrada o salida del país.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un párrafo para indicar que se debe presentar folio fiscal, archivo digital o representación impresa </a:t>
                </a:r>
                <a:r>
                  <a:rPr kumimoji="0" lang="es-MX" sz="1200" b="1" i="0" u="none" strike="noStrike" kern="1200" cap="none" spc="0" normalizeH="0" baseline="0" noProof="0" dirty="0">
                    <a:ln>
                      <a:noFill/>
                    </a:ln>
                    <a:solidFill>
                      <a:prstClr val="black"/>
                    </a:solidFill>
                    <a:effectLst/>
                    <a:uLnTx/>
                    <a:uFillTx/>
                    <a:latin typeface="Calibri"/>
                    <a:ea typeface="+mn-ea"/>
                    <a:cs typeface="+mn-cs"/>
                  </a:rPr>
                  <a:t>del CFDI con CCP; relacionándolo </a:t>
                </a:r>
                <a:r>
                  <a:rPr kumimoji="0" lang="es-MX" sz="1200" b="0" i="0" u="none" strike="noStrike" kern="1200" cap="none" spc="0" normalizeH="0" baseline="0" noProof="0" dirty="0">
                    <a:ln>
                      <a:noFill/>
                    </a:ln>
                    <a:solidFill>
                      <a:prstClr val="black"/>
                    </a:solidFill>
                    <a:effectLst/>
                    <a:uLnTx/>
                    <a:uFillTx/>
                    <a:latin typeface="Calibri"/>
                    <a:ea typeface="+mn-ea"/>
                    <a:cs typeface="+mn-cs"/>
                  </a:rPr>
                  <a:t>con el </a:t>
                </a:r>
                <a:r>
                  <a:rPr kumimoji="0" lang="es-MX" sz="1200" b="1" i="0" u="sng" strike="noStrike" kern="1200" cap="none" spc="0" normalizeH="0" baseline="0" noProof="0" dirty="0">
                    <a:ln>
                      <a:noFill/>
                    </a:ln>
                    <a:solidFill>
                      <a:prstClr val="black"/>
                    </a:solidFill>
                    <a:effectLst/>
                    <a:uLnTx/>
                    <a:uFillTx/>
                    <a:latin typeface="Calibri"/>
                    <a:ea typeface="+mn-ea"/>
                    <a:cs typeface="+mn-cs"/>
                  </a:rPr>
                  <a:t>número de pedimento y número de acuse de valor (COVE)</a:t>
                </a:r>
              </a:p>
            </p:txBody>
          </p:sp>
          <p:sp>
            <p:nvSpPr>
              <p:cNvPr id="109" name="Rectangle 108">
                <a:extLst>
                  <a:ext uri="{FF2B5EF4-FFF2-40B4-BE49-F238E27FC236}">
                    <a16:creationId xmlns:a16="http://schemas.microsoft.com/office/drawing/2014/main" id="{875A85C2-DD85-4D2D-9BAB-86FD318B6471}"/>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2" name="Group 51">
              <a:extLst>
                <a:ext uri="{FF2B5EF4-FFF2-40B4-BE49-F238E27FC236}">
                  <a16:creationId xmlns:a16="http://schemas.microsoft.com/office/drawing/2014/main" id="{D1192240-DB18-4602-BC96-F713F51F5EA2}"/>
                </a:ext>
              </a:extLst>
            </p:cNvPr>
            <p:cNvGrpSpPr/>
            <p:nvPr/>
          </p:nvGrpSpPr>
          <p:grpSpPr>
            <a:xfrm>
              <a:off x="1002419" y="2473635"/>
              <a:ext cx="634427" cy="1049086"/>
              <a:chOff x="757805" y="1635343"/>
              <a:chExt cx="1185062" cy="2012973"/>
            </a:xfrm>
          </p:grpSpPr>
          <p:sp>
            <p:nvSpPr>
              <p:cNvPr id="103"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5"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6"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7" name="Oval 106">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3" name="Group 52">
              <a:extLst>
                <a:ext uri="{FF2B5EF4-FFF2-40B4-BE49-F238E27FC236}">
                  <a16:creationId xmlns:a16="http://schemas.microsoft.com/office/drawing/2014/main" id="{C63C369F-B30A-43DD-BA9C-C30E916A68BD}"/>
                </a:ext>
              </a:extLst>
            </p:cNvPr>
            <p:cNvGrpSpPr/>
            <p:nvPr/>
          </p:nvGrpSpPr>
          <p:grpSpPr>
            <a:xfrm>
              <a:off x="2478406" y="1765181"/>
              <a:ext cx="1934414" cy="708454"/>
              <a:chOff x="413228" y="901589"/>
              <a:chExt cx="1947702" cy="946184"/>
            </a:xfrm>
          </p:grpSpPr>
          <p:sp>
            <p:nvSpPr>
              <p:cNvPr id="100" name="Right Triangle 49">
                <a:extLst>
                  <a:ext uri="{FF2B5EF4-FFF2-40B4-BE49-F238E27FC236}">
                    <a16:creationId xmlns:a16="http://schemas.microsoft.com/office/drawing/2014/main" id="{F41533BE-89DA-4E41-96E0-E4AF200A1CDA}"/>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1" name="Right Triangle 49">
                <a:extLst>
                  <a:ext uri="{FF2B5EF4-FFF2-40B4-BE49-F238E27FC236}">
                    <a16:creationId xmlns:a16="http://schemas.microsoft.com/office/drawing/2014/main" id="{FC06442C-6DD5-414C-B6A7-89E29FC581F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 name="Round Same Side Corner Rectangle 43">
                <a:extLst>
                  <a:ext uri="{FF2B5EF4-FFF2-40B4-BE49-F238E27FC236}">
                    <a16:creationId xmlns:a16="http://schemas.microsoft.com/office/drawing/2014/main" id="{43A258F9-4BBE-4BC4-A384-C7ACF3644F2B}"/>
                  </a:ext>
                </a:extLst>
              </p:cNvPr>
              <p:cNvSpPr/>
              <p:nvPr/>
            </p:nvSpPr>
            <p:spPr bwMode="gray">
              <a:xfrm>
                <a:off x="413228" y="901589"/>
                <a:ext cx="1947702" cy="859346"/>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3.1.32 Despacho aduanero con pedimento consolidado</a:t>
                </a:r>
                <a:endParaRPr kumimoji="0" lang="en-US" sz="12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04C096D6-9225-47B1-BFFD-8BEF50232340}"/>
                </a:ext>
              </a:extLst>
            </p:cNvPr>
            <p:cNvGrpSpPr/>
            <p:nvPr/>
          </p:nvGrpSpPr>
          <p:grpSpPr>
            <a:xfrm>
              <a:off x="2478405" y="3270721"/>
              <a:ext cx="1924484" cy="2272494"/>
              <a:chOff x="582907" y="3602216"/>
              <a:chExt cx="2629212" cy="3656818"/>
            </a:xfrm>
          </p:grpSpPr>
          <p:sp>
            <p:nvSpPr>
              <p:cNvPr id="98" name="Rectangle 97">
                <a:extLst>
                  <a:ext uri="{FF2B5EF4-FFF2-40B4-BE49-F238E27FC236}">
                    <a16:creationId xmlns:a16="http://schemas.microsoft.com/office/drawing/2014/main" id="{9E41F92B-813E-43D6-B4EF-EBB54FF154B3}"/>
                  </a:ext>
                </a:extLst>
              </p:cNvPr>
              <p:cNvSpPr/>
              <p:nvPr/>
            </p:nvSpPr>
            <p:spPr bwMode="gray">
              <a:xfrm>
                <a:off x="582907" y="3602216"/>
                <a:ext cx="2629212" cy="3569123"/>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 regla indica los documentos e información que debe presentarse para el despacho aduanero </a:t>
                </a:r>
                <a:r>
                  <a:rPr kumimoji="0" lang="es-MX" sz="1200" b="1" i="0" u="none" strike="noStrike" kern="1200" cap="none" spc="0" normalizeH="0" baseline="0" noProof="0" dirty="0">
                    <a:ln>
                      <a:noFill/>
                    </a:ln>
                    <a:solidFill>
                      <a:prstClr val="black"/>
                    </a:solidFill>
                    <a:effectLst/>
                    <a:uLnTx/>
                    <a:uFillTx/>
                    <a:latin typeface="Calibri"/>
                    <a:ea typeface="+mn-ea"/>
                    <a:cs typeface="+mn-cs"/>
                  </a:rPr>
                  <a:t>mediante pedimentos consolidados.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la fracción VIII, para indicar que debe incluir el </a:t>
                </a:r>
                <a:r>
                  <a:rPr kumimoji="0" lang="es-MX" sz="1200" b="1" i="0" u="none" strike="noStrike" kern="1200" cap="none" spc="0" normalizeH="0" baseline="0" noProof="0" dirty="0">
                    <a:ln>
                      <a:noFill/>
                    </a:ln>
                    <a:solidFill>
                      <a:prstClr val="black"/>
                    </a:solidFill>
                    <a:effectLst/>
                    <a:uLnTx/>
                    <a:uFillTx/>
                    <a:latin typeface="Calibri"/>
                    <a:ea typeface="+mn-ea"/>
                    <a:cs typeface="+mn-cs"/>
                  </a:rPr>
                  <a:t>CFDI con complemento CCP a cada remesa y declarar el folio Fiscal del CFDI con CCP en el pedimento.</a:t>
                </a:r>
              </a:p>
            </p:txBody>
          </p:sp>
          <p:sp>
            <p:nvSpPr>
              <p:cNvPr id="99" name="Rectangle 98">
                <a:extLst>
                  <a:ext uri="{FF2B5EF4-FFF2-40B4-BE49-F238E27FC236}">
                    <a16:creationId xmlns:a16="http://schemas.microsoft.com/office/drawing/2014/main" id="{6896661A-997A-4EF9-85B9-EB21D6EE5824}"/>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5" name="Group 54">
              <a:extLst>
                <a:ext uri="{FF2B5EF4-FFF2-40B4-BE49-F238E27FC236}">
                  <a16:creationId xmlns:a16="http://schemas.microsoft.com/office/drawing/2014/main" id="{CF172FDE-EB05-4D90-A754-B15132CD7012}"/>
                </a:ext>
              </a:extLst>
            </p:cNvPr>
            <p:cNvGrpSpPr/>
            <p:nvPr/>
          </p:nvGrpSpPr>
          <p:grpSpPr>
            <a:xfrm>
              <a:off x="3128399" y="2473635"/>
              <a:ext cx="634427" cy="1049086"/>
              <a:chOff x="757805" y="1635343"/>
              <a:chExt cx="1185062" cy="2012973"/>
            </a:xfrm>
          </p:grpSpPr>
          <p:sp>
            <p:nvSpPr>
              <p:cNvPr id="93" name="Freeform 36">
                <a:extLst>
                  <a:ext uri="{FF2B5EF4-FFF2-40B4-BE49-F238E27FC236}">
                    <a16:creationId xmlns:a16="http://schemas.microsoft.com/office/drawing/2014/main" id="{724A29E2-8A47-4F31-9236-E47ACD3BA472}"/>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Round Same Side Corner Rectangle 37">
                <a:extLst>
                  <a:ext uri="{FF2B5EF4-FFF2-40B4-BE49-F238E27FC236}">
                    <a16:creationId xmlns:a16="http://schemas.microsoft.com/office/drawing/2014/main" id="{6A9BBCDF-0A82-4E87-858F-4EED61B7755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5" name="Round Same Side Corner Rectangle 38">
                <a:extLst>
                  <a:ext uri="{FF2B5EF4-FFF2-40B4-BE49-F238E27FC236}">
                    <a16:creationId xmlns:a16="http://schemas.microsoft.com/office/drawing/2014/main" id="{7A71E38C-DEF5-492B-91EF-F10981600333}"/>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6" name="Round Same Side Corner Rectangle 39">
                <a:extLst>
                  <a:ext uri="{FF2B5EF4-FFF2-40B4-BE49-F238E27FC236}">
                    <a16:creationId xmlns:a16="http://schemas.microsoft.com/office/drawing/2014/main" id="{F13957A4-6B9C-47D5-AD2B-2BEE686BBBD1}"/>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7" name="Oval 96">
                <a:extLst>
                  <a:ext uri="{FF2B5EF4-FFF2-40B4-BE49-F238E27FC236}">
                    <a16:creationId xmlns:a16="http://schemas.microsoft.com/office/drawing/2014/main" id="{A720272A-36BE-42F0-861A-0E8C10ED3A07}"/>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6" name="Group 55">
              <a:extLst>
                <a:ext uri="{FF2B5EF4-FFF2-40B4-BE49-F238E27FC236}">
                  <a16:creationId xmlns:a16="http://schemas.microsoft.com/office/drawing/2014/main" id="{38F749C3-5E1E-4D5A-A95B-7E6796CBDB6C}"/>
                </a:ext>
              </a:extLst>
            </p:cNvPr>
            <p:cNvGrpSpPr/>
            <p:nvPr/>
          </p:nvGrpSpPr>
          <p:grpSpPr>
            <a:xfrm>
              <a:off x="4604386" y="1765181"/>
              <a:ext cx="1934414" cy="708454"/>
              <a:chOff x="413228" y="901589"/>
              <a:chExt cx="1947702" cy="946184"/>
            </a:xfrm>
          </p:grpSpPr>
          <p:sp>
            <p:nvSpPr>
              <p:cNvPr id="90" name="Right Triangle 49">
                <a:extLst>
                  <a:ext uri="{FF2B5EF4-FFF2-40B4-BE49-F238E27FC236}">
                    <a16:creationId xmlns:a16="http://schemas.microsoft.com/office/drawing/2014/main" id="{B8734AF8-05BF-4419-B312-EF81CA3A6888}"/>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1" name="Right Triangle 49">
                <a:extLst>
                  <a:ext uri="{FF2B5EF4-FFF2-40B4-BE49-F238E27FC236}">
                    <a16:creationId xmlns:a16="http://schemas.microsoft.com/office/drawing/2014/main" id="{95D44E78-734E-499E-9DC8-55C2177F2DE4}"/>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92" name="Round Same Side Corner Rectangle 43">
                <a:extLst>
                  <a:ext uri="{FF2B5EF4-FFF2-40B4-BE49-F238E27FC236}">
                    <a16:creationId xmlns:a16="http://schemas.microsoft.com/office/drawing/2014/main" id="{116E6784-1444-4DAC-A650-9B34753BCF70}"/>
                  </a:ext>
                </a:extLst>
              </p:cNvPr>
              <p:cNvSpPr/>
              <p:nvPr/>
            </p:nvSpPr>
            <p:spPr bwMode="gray">
              <a:xfrm>
                <a:off x="413228" y="901589"/>
                <a:ext cx="1947702" cy="85934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3.1.33 Despacho de mercancías sin presentación de las impresiones de pedimentos, aviso o copias simples</a:t>
                </a:r>
              </a:p>
            </p:txBody>
          </p:sp>
        </p:grpSp>
        <p:grpSp>
          <p:nvGrpSpPr>
            <p:cNvPr id="57" name="Group 56">
              <a:extLst>
                <a:ext uri="{FF2B5EF4-FFF2-40B4-BE49-F238E27FC236}">
                  <a16:creationId xmlns:a16="http://schemas.microsoft.com/office/drawing/2014/main" id="{788A0CA4-527A-4B56-AFA7-ABE22FD946E2}"/>
                </a:ext>
              </a:extLst>
            </p:cNvPr>
            <p:cNvGrpSpPr/>
            <p:nvPr/>
          </p:nvGrpSpPr>
          <p:grpSpPr>
            <a:xfrm>
              <a:off x="4604386" y="3270721"/>
              <a:ext cx="1998938" cy="2272507"/>
              <a:chOff x="582909" y="3602206"/>
              <a:chExt cx="2730930" cy="3656828"/>
            </a:xfrm>
            <a:solidFill>
              <a:schemeClr val="bg1">
                <a:lumMod val="95000"/>
              </a:schemeClr>
            </a:solidFill>
          </p:grpSpPr>
          <p:sp>
            <p:nvSpPr>
              <p:cNvPr id="88" name="Rectangle 87">
                <a:extLst>
                  <a:ext uri="{FF2B5EF4-FFF2-40B4-BE49-F238E27FC236}">
                    <a16:creationId xmlns:a16="http://schemas.microsoft.com/office/drawing/2014/main" id="{D97A1E3A-27EB-40F7-B4CC-FADB1D0E8CE6}"/>
                  </a:ext>
                </a:extLst>
              </p:cNvPr>
              <p:cNvSpPr/>
              <p:nvPr/>
            </p:nvSpPr>
            <p:spPr bwMode="gray">
              <a:xfrm>
                <a:off x="582909" y="3602206"/>
                <a:ext cx="2730930" cy="3569131"/>
              </a:xfrm>
              <a:prstGeom prst="rect">
                <a:avLst/>
              </a:prstGeom>
              <a:grpFill/>
              <a:ln w="19050" algn="ctr">
                <a:noFill/>
                <a:miter lim="800000"/>
                <a:headEnd/>
                <a:tailEnd/>
              </a:ln>
            </p:spPr>
            <p:txBody>
              <a:bodyPr wrap="square" lIns="30375" tIns="30375"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 regla indica el despacho a través de </a:t>
                </a:r>
                <a:r>
                  <a:rPr kumimoji="0" lang="es-MX" sz="1200" b="1" i="0" u="none" strike="noStrike" kern="1200" cap="none" spc="0" normalizeH="0" baseline="0" noProof="0" dirty="0">
                    <a:ln>
                      <a:noFill/>
                    </a:ln>
                    <a:solidFill>
                      <a:prstClr val="black"/>
                    </a:solidFill>
                    <a:effectLst/>
                    <a:uLnTx/>
                    <a:uFillTx/>
                    <a:latin typeface="Calibri"/>
                    <a:ea typeface="+mn-ea"/>
                    <a:cs typeface="+mn-cs"/>
                  </a:rPr>
                  <a:t>pedimentos parte II, Aviso consolidado, impresión simplificada, entre otros </a:t>
                </a:r>
                <a:r>
                  <a:rPr kumimoji="0" lang="es-MX" sz="1200" b="0" i="0" u="none" strike="noStrike" kern="1200" cap="none" spc="0" normalizeH="0" baseline="0" noProof="0" dirty="0">
                    <a:ln>
                      <a:noFill/>
                    </a:ln>
                    <a:solidFill>
                      <a:prstClr val="black"/>
                    </a:solidFill>
                    <a:effectLst/>
                    <a:uLnTx/>
                    <a:uFillTx/>
                    <a:latin typeface="Calibri"/>
                    <a:ea typeface="+mn-ea"/>
                    <a:cs typeface="+mn-cs"/>
                  </a:rPr>
                  <a:t>documentos.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la fracción I, inciso g), para indicar que en la transmisión del documento electrónico debe incluirse el </a:t>
                </a:r>
                <a:r>
                  <a:rPr kumimoji="0" lang="es-MX" sz="1200" b="1" i="0" u="none" strike="noStrike" kern="1200" cap="none" spc="0" normalizeH="0" baseline="0" noProof="0" dirty="0">
                    <a:ln>
                      <a:noFill/>
                    </a:ln>
                    <a:solidFill>
                      <a:prstClr val="black"/>
                    </a:solidFill>
                    <a:effectLst/>
                    <a:uLnTx/>
                    <a:uFillTx/>
                    <a:latin typeface="Calibri"/>
                    <a:ea typeface="+mn-ea"/>
                    <a:cs typeface="+mn-cs"/>
                  </a:rPr>
                  <a:t>folio fiscal del CFDI con CCP. </a:t>
                </a:r>
              </a:p>
              <a:p>
                <a:pPr marL="96441" marR="0" lvl="0" indent="-77153" algn="l" defTabSz="914400" rtl="0" eaLnBrk="1" fontAlgn="auto" latinLnBrk="0" hangingPunct="1">
                  <a:lnSpc>
                    <a:spcPct val="100000"/>
                  </a:lnSpc>
                  <a:spcBef>
                    <a:spcPts val="338"/>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43E834A1-4389-4442-96D1-FF6AFC338FDC}"/>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8" name="Group 57">
              <a:extLst>
                <a:ext uri="{FF2B5EF4-FFF2-40B4-BE49-F238E27FC236}">
                  <a16:creationId xmlns:a16="http://schemas.microsoft.com/office/drawing/2014/main" id="{8EF5F581-0E3E-48D1-81CC-89F5133714CA}"/>
                </a:ext>
              </a:extLst>
            </p:cNvPr>
            <p:cNvGrpSpPr/>
            <p:nvPr/>
          </p:nvGrpSpPr>
          <p:grpSpPr>
            <a:xfrm>
              <a:off x="5254379" y="2473635"/>
              <a:ext cx="634427" cy="1049086"/>
              <a:chOff x="757805" y="1635343"/>
              <a:chExt cx="1185062" cy="2012973"/>
            </a:xfrm>
          </p:grpSpPr>
          <p:sp>
            <p:nvSpPr>
              <p:cNvPr id="83" name="Freeform 36">
                <a:extLst>
                  <a:ext uri="{FF2B5EF4-FFF2-40B4-BE49-F238E27FC236}">
                    <a16:creationId xmlns:a16="http://schemas.microsoft.com/office/drawing/2014/main" id="{83C1787A-0F1A-498B-9531-D8A7FA4CB9BB}"/>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4" name="Round Same Side Corner Rectangle 37">
                <a:extLst>
                  <a:ext uri="{FF2B5EF4-FFF2-40B4-BE49-F238E27FC236}">
                    <a16:creationId xmlns:a16="http://schemas.microsoft.com/office/drawing/2014/main" id="{B5CDBD07-CAFD-4BFB-9DED-630073CB3EA9}"/>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5" name="Round Same Side Corner Rectangle 38">
                <a:extLst>
                  <a:ext uri="{FF2B5EF4-FFF2-40B4-BE49-F238E27FC236}">
                    <a16:creationId xmlns:a16="http://schemas.microsoft.com/office/drawing/2014/main" id="{AEC94D2E-E1A7-4D10-BA81-003849D17C91}"/>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6" name="Round Same Side Corner Rectangle 39">
                <a:extLst>
                  <a:ext uri="{FF2B5EF4-FFF2-40B4-BE49-F238E27FC236}">
                    <a16:creationId xmlns:a16="http://schemas.microsoft.com/office/drawing/2014/main" id="{778F7CB4-BB09-47A7-B414-E5BD0D753ED3}"/>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7" name="Oval 86">
                <a:extLst>
                  <a:ext uri="{FF2B5EF4-FFF2-40B4-BE49-F238E27FC236}">
                    <a16:creationId xmlns:a16="http://schemas.microsoft.com/office/drawing/2014/main" id="{A06532EA-C3F2-4A70-8D22-D8A31D9C4ADE}"/>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59" name="Group 58">
              <a:extLst>
                <a:ext uri="{FF2B5EF4-FFF2-40B4-BE49-F238E27FC236}">
                  <a16:creationId xmlns:a16="http://schemas.microsoft.com/office/drawing/2014/main" id="{6810A403-14F4-4CEE-84D4-01CB80D360D7}"/>
                </a:ext>
              </a:extLst>
            </p:cNvPr>
            <p:cNvGrpSpPr/>
            <p:nvPr/>
          </p:nvGrpSpPr>
          <p:grpSpPr>
            <a:xfrm>
              <a:off x="6730366" y="1765182"/>
              <a:ext cx="1934414" cy="708455"/>
              <a:chOff x="413228" y="901589"/>
              <a:chExt cx="1947702" cy="946184"/>
            </a:xfrm>
          </p:grpSpPr>
          <p:sp>
            <p:nvSpPr>
              <p:cNvPr id="80" name="Right Triangle 49">
                <a:extLst>
                  <a:ext uri="{FF2B5EF4-FFF2-40B4-BE49-F238E27FC236}">
                    <a16:creationId xmlns:a16="http://schemas.microsoft.com/office/drawing/2014/main" id="{835A0BBA-2E30-4FBF-BECF-27B08DEC5CA1}"/>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1" name="Right Triangle 49">
                <a:extLst>
                  <a:ext uri="{FF2B5EF4-FFF2-40B4-BE49-F238E27FC236}">
                    <a16:creationId xmlns:a16="http://schemas.microsoft.com/office/drawing/2014/main" id="{FACFB63B-EF29-4264-ACCD-44C32269845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2" name="Round Same Side Corner Rectangle 43">
                <a:extLst>
                  <a:ext uri="{FF2B5EF4-FFF2-40B4-BE49-F238E27FC236}">
                    <a16:creationId xmlns:a16="http://schemas.microsoft.com/office/drawing/2014/main" id="{38EA0011-0F82-4E99-8439-5E34FCCFA344}"/>
                  </a:ext>
                </a:extLst>
              </p:cNvPr>
              <p:cNvSpPr/>
              <p:nvPr/>
            </p:nvSpPr>
            <p:spPr bwMode="gray">
              <a:xfrm>
                <a:off x="413228" y="901589"/>
                <a:ext cx="1947702" cy="859345"/>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dirty="0">
                  <a:ln>
                    <a:noFill/>
                  </a:ln>
                  <a:solidFill>
                    <a:prstClr val="white"/>
                  </a:solidFill>
                  <a:effectLst/>
                  <a:uLnTx/>
                  <a:uFillTx/>
                  <a:latin typeface="Calibri Light"/>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Light"/>
                    <a:ea typeface="+mn-ea"/>
                    <a:cs typeface="Calibri" panose="020F0502020204030204" pitchFamily="34" charset="0"/>
                  </a:rPr>
                  <a:t>2.4.12 Despacho de mercancías mediante transmisión de información (Anexo 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4943F009-1EB0-4023-8B0F-7F53FE2651F1}"/>
                </a:ext>
              </a:extLst>
            </p:cNvPr>
            <p:cNvGrpSpPr/>
            <p:nvPr/>
          </p:nvGrpSpPr>
          <p:grpSpPr>
            <a:xfrm>
              <a:off x="6730366" y="3270721"/>
              <a:ext cx="1934414" cy="2272494"/>
              <a:chOff x="582909" y="3602216"/>
              <a:chExt cx="2642778" cy="3656818"/>
            </a:xfrm>
          </p:grpSpPr>
          <p:sp>
            <p:nvSpPr>
              <p:cNvPr id="78" name="Rectangle 77">
                <a:extLst>
                  <a:ext uri="{FF2B5EF4-FFF2-40B4-BE49-F238E27FC236}">
                    <a16:creationId xmlns:a16="http://schemas.microsoft.com/office/drawing/2014/main" id="{DAC8B880-CF27-45F6-851E-E4E8C36749C1}"/>
                  </a:ext>
                </a:extLst>
              </p:cNvPr>
              <p:cNvSpPr/>
              <p:nvPr/>
            </p:nvSpPr>
            <p:spPr bwMode="gray">
              <a:xfrm>
                <a:off x="582909" y="3602216"/>
                <a:ext cx="2642778" cy="3569123"/>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 regla indica el procedimiento para la activación del mecanismo de selección automatizada mediante la </a:t>
                </a:r>
                <a:r>
                  <a:rPr kumimoji="0" lang="es-MX" sz="1200" b="1" i="0" u="none" strike="noStrike" kern="1200" cap="none" spc="0" normalizeH="0" baseline="0" noProof="0" dirty="0">
                    <a:ln>
                      <a:noFill/>
                    </a:ln>
                    <a:solidFill>
                      <a:prstClr val="black"/>
                    </a:solidFill>
                    <a:effectLst/>
                    <a:uLnTx/>
                    <a:uFillTx/>
                    <a:latin typeface="Calibri"/>
                    <a:ea typeface="+mn-ea"/>
                    <a:cs typeface="+mn-cs"/>
                  </a:rPr>
                  <a:t>presentación del pedimento en dispositivo tecnológico</a:t>
                </a:r>
                <a:r>
                  <a:rPr kumimoji="0" lang="es-MX" sz="1200" b="0" i="0" u="none" strike="noStrike" kern="1200" cap="none" spc="0" normalizeH="0" baseline="0" noProof="0" dirty="0">
                    <a:ln>
                      <a:noFill/>
                    </a:ln>
                    <a:solidFill>
                      <a:prstClr val="black"/>
                    </a:solidFill>
                    <a:effectLst/>
                    <a:uLnTx/>
                    <a:uFillTx/>
                    <a:latin typeface="Calibri"/>
                    <a:ea typeface="+mn-ea"/>
                    <a:cs typeface="+mn-cs"/>
                  </a:rPr>
                  <a:t>.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en la fracción I, el inciso f), para indicar que en el documento electrónico debe incluirse el </a:t>
                </a:r>
                <a:r>
                  <a:rPr kumimoji="0" lang="es-MX" sz="1200" b="1" i="0" u="none" strike="noStrike" kern="1200" cap="none" spc="0" normalizeH="0" baseline="0" noProof="0" dirty="0">
                    <a:ln>
                      <a:noFill/>
                    </a:ln>
                    <a:solidFill>
                      <a:prstClr val="black"/>
                    </a:solidFill>
                    <a:effectLst/>
                    <a:uLnTx/>
                    <a:uFillTx/>
                    <a:latin typeface="Calibri"/>
                    <a:ea typeface="+mn-ea"/>
                    <a:cs typeface="+mn-cs"/>
                  </a:rPr>
                  <a:t>folio fiscal del CFDI con CCP. </a:t>
                </a:r>
              </a:p>
            </p:txBody>
          </p:sp>
          <p:sp>
            <p:nvSpPr>
              <p:cNvPr id="79" name="Rectangle 78">
                <a:extLst>
                  <a:ext uri="{FF2B5EF4-FFF2-40B4-BE49-F238E27FC236}">
                    <a16:creationId xmlns:a16="http://schemas.microsoft.com/office/drawing/2014/main" id="{A52BF1B0-5895-4A54-BB65-00C08648D2F3}"/>
                  </a:ext>
                </a:extLst>
              </p:cNvPr>
              <p:cNvSpPr/>
              <p:nvPr/>
            </p:nvSpPr>
            <p:spPr bwMode="gray">
              <a:xfrm>
                <a:off x="756474" y="7171338"/>
                <a:ext cx="2295650" cy="8769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1" name="Group 60">
              <a:extLst>
                <a:ext uri="{FF2B5EF4-FFF2-40B4-BE49-F238E27FC236}">
                  <a16:creationId xmlns:a16="http://schemas.microsoft.com/office/drawing/2014/main" id="{0A2F2DE4-14F3-4C18-9191-D729AB3582C8}"/>
                </a:ext>
              </a:extLst>
            </p:cNvPr>
            <p:cNvGrpSpPr/>
            <p:nvPr/>
          </p:nvGrpSpPr>
          <p:grpSpPr>
            <a:xfrm>
              <a:off x="7380359" y="2473635"/>
              <a:ext cx="634427" cy="1049086"/>
              <a:chOff x="757805" y="1635343"/>
              <a:chExt cx="1185062" cy="2012973"/>
            </a:xfrm>
          </p:grpSpPr>
          <p:sp>
            <p:nvSpPr>
              <p:cNvPr id="73" name="Freeform 36">
                <a:extLst>
                  <a:ext uri="{FF2B5EF4-FFF2-40B4-BE49-F238E27FC236}">
                    <a16:creationId xmlns:a16="http://schemas.microsoft.com/office/drawing/2014/main" id="{3EE1203B-0DAF-4B6C-B5A1-EB0AFF8C5B2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 name="Round Same Side Corner Rectangle 37">
                <a:extLst>
                  <a:ext uri="{FF2B5EF4-FFF2-40B4-BE49-F238E27FC236}">
                    <a16:creationId xmlns:a16="http://schemas.microsoft.com/office/drawing/2014/main" id="{DB5F5DA9-D403-4BB6-A326-6667C11561BF}"/>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Round Same Side Corner Rectangle 38">
                <a:extLst>
                  <a:ext uri="{FF2B5EF4-FFF2-40B4-BE49-F238E27FC236}">
                    <a16:creationId xmlns:a16="http://schemas.microsoft.com/office/drawing/2014/main" id="{13EF3BFA-9685-43DB-A875-6BA791CF56DD}"/>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6" name="Round Same Side Corner Rectangle 39">
                <a:extLst>
                  <a:ext uri="{FF2B5EF4-FFF2-40B4-BE49-F238E27FC236}">
                    <a16:creationId xmlns:a16="http://schemas.microsoft.com/office/drawing/2014/main" id="{E69A3EB8-FF51-4E4B-A147-F557A9012078}"/>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Oval 76">
                <a:extLst>
                  <a:ext uri="{FF2B5EF4-FFF2-40B4-BE49-F238E27FC236}">
                    <a16:creationId xmlns:a16="http://schemas.microsoft.com/office/drawing/2014/main" id="{008737F7-8812-4312-B9A2-CA7407484742}"/>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62" name="Group 61">
              <a:extLst>
                <a:ext uri="{FF2B5EF4-FFF2-40B4-BE49-F238E27FC236}">
                  <a16:creationId xmlns:a16="http://schemas.microsoft.com/office/drawing/2014/main" id="{899DF317-2154-4C53-B7AF-DEA85ED0A84E}"/>
                </a:ext>
              </a:extLst>
            </p:cNvPr>
            <p:cNvGrpSpPr>
              <a:grpSpLocks noChangeAspect="1"/>
            </p:cNvGrpSpPr>
            <p:nvPr/>
          </p:nvGrpSpPr>
          <p:grpSpPr>
            <a:xfrm>
              <a:off x="7462054" y="2563358"/>
              <a:ext cx="471035" cy="468204"/>
              <a:chOff x="6537910" y="4611206"/>
              <a:chExt cx="1849437" cy="1838325"/>
            </a:xfrm>
            <a:solidFill>
              <a:schemeClr val="accent5"/>
            </a:solidFill>
          </p:grpSpPr>
          <p:sp>
            <p:nvSpPr>
              <p:cNvPr id="66" name="Freeform 15">
                <a:extLst>
                  <a:ext uri="{FF2B5EF4-FFF2-40B4-BE49-F238E27FC236}">
                    <a16:creationId xmlns:a16="http://schemas.microsoft.com/office/drawing/2014/main" id="{42F4A725-5870-4EEB-83CC-9C64F54F5068}"/>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16">
                <a:extLst>
                  <a:ext uri="{FF2B5EF4-FFF2-40B4-BE49-F238E27FC236}">
                    <a16:creationId xmlns:a16="http://schemas.microsoft.com/office/drawing/2014/main" id="{07D11228-8389-4069-890B-775F37242A38}"/>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17">
                <a:extLst>
                  <a:ext uri="{FF2B5EF4-FFF2-40B4-BE49-F238E27FC236}">
                    <a16:creationId xmlns:a16="http://schemas.microsoft.com/office/drawing/2014/main" id="{0A95C04F-BDAE-45A6-AE3E-0741893C2C62}"/>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18">
                <a:extLst>
                  <a:ext uri="{FF2B5EF4-FFF2-40B4-BE49-F238E27FC236}">
                    <a16:creationId xmlns:a16="http://schemas.microsoft.com/office/drawing/2014/main" id="{2241838B-0204-4E8F-A641-F2C952591221}"/>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19">
                <a:extLst>
                  <a:ext uri="{FF2B5EF4-FFF2-40B4-BE49-F238E27FC236}">
                    <a16:creationId xmlns:a16="http://schemas.microsoft.com/office/drawing/2014/main" id="{BD53C094-F63F-49DC-9588-E5CE450092D3}"/>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20">
                <a:extLst>
                  <a:ext uri="{FF2B5EF4-FFF2-40B4-BE49-F238E27FC236}">
                    <a16:creationId xmlns:a16="http://schemas.microsoft.com/office/drawing/2014/main" id="{41DF33DE-E81B-4805-8E36-1FF427907DF7}"/>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21">
                <a:extLst>
                  <a:ext uri="{FF2B5EF4-FFF2-40B4-BE49-F238E27FC236}">
                    <a16:creationId xmlns:a16="http://schemas.microsoft.com/office/drawing/2014/main" id="{EB06B02F-F913-4A46-BC4A-7FAA536AFCD3}"/>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3" name="Group 569">
              <a:extLst>
                <a:ext uri="{FF2B5EF4-FFF2-40B4-BE49-F238E27FC236}">
                  <a16:creationId xmlns:a16="http://schemas.microsoft.com/office/drawing/2014/main" id="{88B05465-FCDD-4BA2-944E-7DD0E317D5E5}"/>
                </a:ext>
              </a:extLst>
            </p:cNvPr>
            <p:cNvGrpSpPr>
              <a:grpSpLocks noChangeAspect="1"/>
            </p:cNvGrpSpPr>
            <p:nvPr/>
          </p:nvGrpSpPr>
          <p:grpSpPr bwMode="auto">
            <a:xfrm>
              <a:off x="5341849" y="2572076"/>
              <a:ext cx="459486" cy="459486"/>
              <a:chOff x="5648" y="3248"/>
              <a:chExt cx="340" cy="340"/>
            </a:xfrm>
            <a:solidFill>
              <a:schemeClr val="accent5"/>
            </a:solidFill>
          </p:grpSpPr>
          <p:sp>
            <p:nvSpPr>
              <p:cNvPr id="64" name="Freeform 570">
                <a:extLst>
                  <a:ext uri="{FF2B5EF4-FFF2-40B4-BE49-F238E27FC236}">
                    <a16:creationId xmlns:a16="http://schemas.microsoft.com/office/drawing/2014/main" id="{FEA86E2D-0CB1-4EF4-BF49-021BEA04C81C}"/>
                  </a:ext>
                </a:extLst>
              </p:cNvPr>
              <p:cNvSpPr>
                <a:spLocks noEditPoints="1"/>
              </p:cNvSpPr>
              <p:nvPr/>
            </p:nvSpPr>
            <p:spPr bwMode="auto">
              <a:xfrm>
                <a:off x="5712" y="3326"/>
                <a:ext cx="212" cy="170"/>
              </a:xfrm>
              <a:custGeom>
                <a:avLst/>
                <a:gdLst>
                  <a:gd name="T0" fmla="*/ 288 w 320"/>
                  <a:gd name="T1" fmla="*/ 9 h 256"/>
                  <a:gd name="T2" fmla="*/ 277 w 320"/>
                  <a:gd name="T3" fmla="*/ 0 h 256"/>
                  <a:gd name="T4" fmla="*/ 224 w 320"/>
                  <a:gd name="T5" fmla="*/ 0 h 256"/>
                  <a:gd name="T6" fmla="*/ 213 w 320"/>
                  <a:gd name="T7" fmla="*/ 10 h 256"/>
                  <a:gd name="T8" fmla="*/ 201 w 320"/>
                  <a:gd name="T9" fmla="*/ 146 h 256"/>
                  <a:gd name="T10" fmla="*/ 112 w 320"/>
                  <a:gd name="T11" fmla="*/ 87 h 256"/>
                  <a:gd name="T12" fmla="*/ 101 w 320"/>
                  <a:gd name="T13" fmla="*/ 87 h 256"/>
                  <a:gd name="T14" fmla="*/ 96 w 320"/>
                  <a:gd name="T15" fmla="*/ 96 h 256"/>
                  <a:gd name="T16" fmla="*/ 96 w 320"/>
                  <a:gd name="T17" fmla="*/ 140 h 256"/>
                  <a:gd name="T18" fmla="*/ 16 w 320"/>
                  <a:gd name="T19" fmla="*/ 87 h 256"/>
                  <a:gd name="T20" fmla="*/ 5 w 320"/>
                  <a:gd name="T21" fmla="*/ 87 h 256"/>
                  <a:gd name="T22" fmla="*/ 0 w 320"/>
                  <a:gd name="T23" fmla="*/ 96 h 256"/>
                  <a:gd name="T24" fmla="*/ 0 w 320"/>
                  <a:gd name="T25" fmla="*/ 245 h 256"/>
                  <a:gd name="T26" fmla="*/ 10 w 320"/>
                  <a:gd name="T27" fmla="*/ 256 h 256"/>
                  <a:gd name="T28" fmla="*/ 309 w 320"/>
                  <a:gd name="T29" fmla="*/ 256 h 256"/>
                  <a:gd name="T30" fmla="*/ 317 w 320"/>
                  <a:gd name="T31" fmla="*/ 252 h 256"/>
                  <a:gd name="T32" fmla="*/ 320 w 320"/>
                  <a:gd name="T33" fmla="*/ 244 h 256"/>
                  <a:gd name="T34" fmla="*/ 288 w 320"/>
                  <a:gd name="T35" fmla="*/ 9 h 256"/>
                  <a:gd name="T36" fmla="*/ 196 w 320"/>
                  <a:gd name="T37" fmla="*/ 169 h 256"/>
                  <a:gd name="T38" fmla="*/ 198 w 320"/>
                  <a:gd name="T39" fmla="*/ 170 h 256"/>
                  <a:gd name="T40" fmla="*/ 193 w 320"/>
                  <a:gd name="T41" fmla="*/ 235 h 256"/>
                  <a:gd name="T42" fmla="*/ 117 w 320"/>
                  <a:gd name="T43" fmla="*/ 235 h 256"/>
                  <a:gd name="T44" fmla="*/ 117 w 320"/>
                  <a:gd name="T45" fmla="*/ 116 h 256"/>
                  <a:gd name="T46" fmla="*/ 196 w 320"/>
                  <a:gd name="T47" fmla="*/ 169 h 256"/>
                  <a:gd name="T48" fmla="*/ 96 w 320"/>
                  <a:gd name="T49" fmla="*/ 166 h 256"/>
                  <a:gd name="T50" fmla="*/ 96 w 320"/>
                  <a:gd name="T51" fmla="*/ 235 h 256"/>
                  <a:gd name="T52" fmla="*/ 21 w 320"/>
                  <a:gd name="T53" fmla="*/ 235 h 256"/>
                  <a:gd name="T54" fmla="*/ 21 w 320"/>
                  <a:gd name="T55" fmla="*/ 116 h 256"/>
                  <a:gd name="T56" fmla="*/ 96 w 320"/>
                  <a:gd name="T57" fmla="*/ 166 h 256"/>
                  <a:gd name="T58" fmla="*/ 214 w 320"/>
                  <a:gd name="T59" fmla="*/ 235 h 256"/>
                  <a:gd name="T60" fmla="*/ 233 w 320"/>
                  <a:gd name="T61" fmla="*/ 21 h 256"/>
                  <a:gd name="T62" fmla="*/ 268 w 320"/>
                  <a:gd name="T63" fmla="*/ 21 h 256"/>
                  <a:gd name="T64" fmla="*/ 297 w 320"/>
                  <a:gd name="T65" fmla="*/ 235 h 256"/>
                  <a:gd name="T66" fmla="*/ 214 w 320"/>
                  <a:gd name="T67" fmla="*/ 23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56">
                    <a:moveTo>
                      <a:pt x="288" y="9"/>
                    </a:moveTo>
                    <a:cubicBezTo>
                      <a:pt x="287" y="4"/>
                      <a:pt x="282" y="0"/>
                      <a:pt x="277" y="0"/>
                    </a:cubicBezTo>
                    <a:cubicBezTo>
                      <a:pt x="224" y="0"/>
                      <a:pt x="224" y="0"/>
                      <a:pt x="224" y="0"/>
                    </a:cubicBezTo>
                    <a:cubicBezTo>
                      <a:pt x="218" y="0"/>
                      <a:pt x="214" y="4"/>
                      <a:pt x="213" y="10"/>
                    </a:cubicBezTo>
                    <a:cubicBezTo>
                      <a:pt x="201" y="146"/>
                      <a:pt x="201" y="146"/>
                      <a:pt x="201" y="146"/>
                    </a:cubicBezTo>
                    <a:cubicBezTo>
                      <a:pt x="112" y="87"/>
                      <a:pt x="112" y="87"/>
                      <a:pt x="112" y="87"/>
                    </a:cubicBezTo>
                    <a:cubicBezTo>
                      <a:pt x="109" y="85"/>
                      <a:pt x="105" y="85"/>
                      <a:pt x="101" y="87"/>
                    </a:cubicBezTo>
                    <a:cubicBezTo>
                      <a:pt x="98" y="88"/>
                      <a:pt x="96" y="92"/>
                      <a:pt x="96" y="96"/>
                    </a:cubicBezTo>
                    <a:cubicBezTo>
                      <a:pt x="96" y="140"/>
                      <a:pt x="96" y="140"/>
                      <a:pt x="96" y="140"/>
                    </a:cubicBezTo>
                    <a:cubicBezTo>
                      <a:pt x="16" y="87"/>
                      <a:pt x="16" y="87"/>
                      <a:pt x="16" y="87"/>
                    </a:cubicBezTo>
                    <a:cubicBezTo>
                      <a:pt x="13" y="85"/>
                      <a:pt x="9" y="85"/>
                      <a:pt x="5" y="87"/>
                    </a:cubicBezTo>
                    <a:cubicBezTo>
                      <a:pt x="2" y="88"/>
                      <a:pt x="0" y="92"/>
                      <a:pt x="0" y="96"/>
                    </a:cubicBezTo>
                    <a:cubicBezTo>
                      <a:pt x="0" y="245"/>
                      <a:pt x="0" y="245"/>
                      <a:pt x="0" y="245"/>
                    </a:cubicBezTo>
                    <a:cubicBezTo>
                      <a:pt x="0" y="251"/>
                      <a:pt x="4" y="256"/>
                      <a:pt x="10" y="256"/>
                    </a:cubicBezTo>
                    <a:cubicBezTo>
                      <a:pt x="309" y="256"/>
                      <a:pt x="309" y="256"/>
                      <a:pt x="309" y="256"/>
                    </a:cubicBezTo>
                    <a:cubicBezTo>
                      <a:pt x="312" y="256"/>
                      <a:pt x="315" y="255"/>
                      <a:pt x="317" y="252"/>
                    </a:cubicBezTo>
                    <a:cubicBezTo>
                      <a:pt x="319" y="250"/>
                      <a:pt x="320" y="247"/>
                      <a:pt x="320" y="244"/>
                    </a:cubicBezTo>
                    <a:lnTo>
                      <a:pt x="288" y="9"/>
                    </a:lnTo>
                    <a:close/>
                    <a:moveTo>
                      <a:pt x="196" y="169"/>
                    </a:moveTo>
                    <a:cubicBezTo>
                      <a:pt x="197" y="169"/>
                      <a:pt x="198" y="169"/>
                      <a:pt x="198" y="170"/>
                    </a:cubicBezTo>
                    <a:cubicBezTo>
                      <a:pt x="193" y="235"/>
                      <a:pt x="193" y="235"/>
                      <a:pt x="193" y="235"/>
                    </a:cubicBezTo>
                    <a:cubicBezTo>
                      <a:pt x="117" y="235"/>
                      <a:pt x="117" y="235"/>
                      <a:pt x="117" y="235"/>
                    </a:cubicBezTo>
                    <a:cubicBezTo>
                      <a:pt x="117" y="116"/>
                      <a:pt x="117" y="116"/>
                      <a:pt x="117" y="116"/>
                    </a:cubicBezTo>
                    <a:lnTo>
                      <a:pt x="196" y="169"/>
                    </a:lnTo>
                    <a:close/>
                    <a:moveTo>
                      <a:pt x="96" y="166"/>
                    </a:moveTo>
                    <a:cubicBezTo>
                      <a:pt x="96" y="235"/>
                      <a:pt x="96" y="235"/>
                      <a:pt x="96" y="235"/>
                    </a:cubicBezTo>
                    <a:cubicBezTo>
                      <a:pt x="21" y="235"/>
                      <a:pt x="21" y="235"/>
                      <a:pt x="21" y="235"/>
                    </a:cubicBezTo>
                    <a:cubicBezTo>
                      <a:pt x="21" y="116"/>
                      <a:pt x="21" y="116"/>
                      <a:pt x="21" y="116"/>
                    </a:cubicBezTo>
                    <a:lnTo>
                      <a:pt x="96" y="166"/>
                    </a:lnTo>
                    <a:close/>
                    <a:moveTo>
                      <a:pt x="214" y="235"/>
                    </a:moveTo>
                    <a:cubicBezTo>
                      <a:pt x="233" y="21"/>
                      <a:pt x="233" y="21"/>
                      <a:pt x="233" y="21"/>
                    </a:cubicBezTo>
                    <a:cubicBezTo>
                      <a:pt x="268" y="21"/>
                      <a:pt x="268" y="21"/>
                      <a:pt x="268" y="21"/>
                    </a:cubicBezTo>
                    <a:cubicBezTo>
                      <a:pt x="297" y="235"/>
                      <a:pt x="297" y="235"/>
                      <a:pt x="297" y="235"/>
                    </a:cubicBezTo>
                    <a:lnTo>
                      <a:pt x="214" y="23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571">
                <a:extLst>
                  <a:ext uri="{FF2B5EF4-FFF2-40B4-BE49-F238E27FC236}">
                    <a16:creationId xmlns:a16="http://schemas.microsoft.com/office/drawing/2014/main" id="{1ADAA85A-47A1-4B5F-B89B-A02CF39A209C}"/>
                  </a:ext>
                </a:extLst>
              </p:cNvPr>
              <p:cNvSpPr>
                <a:spLocks noEditPoints="1"/>
              </p:cNvSpPr>
              <p:nvPr/>
            </p:nvSpPr>
            <p:spPr bwMode="auto">
              <a:xfrm>
                <a:off x="5648" y="324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18" name="Round Same Side Corner Rectangle 43">
            <a:extLst>
              <a:ext uri="{FF2B5EF4-FFF2-40B4-BE49-F238E27FC236}">
                <a16:creationId xmlns:a16="http://schemas.microsoft.com/office/drawing/2014/main" id="{38EA0011-0F82-4E99-8439-5E34FCCFA344}"/>
              </a:ext>
            </a:extLst>
          </p:cNvPr>
          <p:cNvSpPr/>
          <p:nvPr/>
        </p:nvSpPr>
        <p:spPr bwMode="gray">
          <a:xfrm>
            <a:off x="9681831" y="1848363"/>
            <a:ext cx="2097857" cy="739599"/>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Light"/>
                <a:ea typeface="+mn-ea"/>
                <a:cs typeface="Calibri" panose="020F0502020204030204" pitchFamily="34" charset="0"/>
              </a:rPr>
              <a:t>3.1.15 Procedimiento para tramitar un documento aduanero  </a:t>
            </a:r>
          </a:p>
        </p:txBody>
      </p:sp>
      <p:sp>
        <p:nvSpPr>
          <p:cNvPr id="119" name="Rectangle 118">
            <a:extLst>
              <a:ext uri="{FF2B5EF4-FFF2-40B4-BE49-F238E27FC236}">
                <a16:creationId xmlns:a16="http://schemas.microsoft.com/office/drawing/2014/main" id="{DAC8B880-CF27-45F6-851E-E4E8C36749C1}"/>
              </a:ext>
            </a:extLst>
          </p:cNvPr>
          <p:cNvSpPr/>
          <p:nvPr/>
        </p:nvSpPr>
        <p:spPr bwMode="gray">
          <a:xfrm>
            <a:off x="9681831" y="3594347"/>
            <a:ext cx="2097857" cy="2589196"/>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 regla indica el procedimiento para tramitar un documento aduanero.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la fracción V, que será necesario </a:t>
            </a:r>
            <a:r>
              <a:rPr kumimoji="0" lang="es-MX" sz="1200" b="1" i="0" u="none" strike="noStrike" kern="1200" cap="none" spc="0" normalizeH="0" baseline="0" noProof="0" dirty="0">
                <a:ln>
                  <a:noFill/>
                </a:ln>
                <a:solidFill>
                  <a:prstClr val="black"/>
                </a:solidFill>
                <a:effectLst/>
                <a:uLnTx/>
                <a:uFillTx/>
                <a:latin typeface="Calibri"/>
                <a:ea typeface="+mn-ea"/>
                <a:cs typeface="+mn-cs"/>
              </a:rPr>
              <a:t>incluir el folio fiscal del CFDI con CCP, </a:t>
            </a:r>
            <a:r>
              <a:rPr kumimoji="0" lang="es-MX" sz="1200" b="0" i="0" u="none" strike="noStrike" kern="1200" cap="none" spc="0" normalizeH="0" baseline="0" noProof="0" dirty="0">
                <a:ln>
                  <a:noFill/>
                </a:ln>
                <a:solidFill>
                  <a:prstClr val="black"/>
                </a:solidFill>
                <a:effectLst/>
                <a:uLnTx/>
                <a:uFillTx/>
                <a:latin typeface="Calibri"/>
                <a:ea typeface="+mn-ea"/>
                <a:cs typeface="+mn-cs"/>
              </a:rPr>
              <a:t>al que se refiere la regla 2.4.11, en el dispositivo tecnológico de la información del pedimento. </a:t>
            </a:r>
          </a:p>
        </p:txBody>
      </p:sp>
      <p:sp>
        <p:nvSpPr>
          <p:cNvPr id="120" name="Rectangle 119">
            <a:extLst>
              <a:ext uri="{FF2B5EF4-FFF2-40B4-BE49-F238E27FC236}">
                <a16:creationId xmlns:a16="http://schemas.microsoft.com/office/drawing/2014/main" id="{A52BF1B0-5895-4A54-BB65-00C08648D2F3}"/>
              </a:ext>
            </a:extLst>
          </p:cNvPr>
          <p:cNvSpPr/>
          <p:nvPr/>
        </p:nvSpPr>
        <p:spPr bwMode="gray">
          <a:xfrm>
            <a:off x="9819608" y="6183543"/>
            <a:ext cx="1822304" cy="63618"/>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1" name="Freeform 36">
            <a:extLst>
              <a:ext uri="{FF2B5EF4-FFF2-40B4-BE49-F238E27FC236}">
                <a16:creationId xmlns:a16="http://schemas.microsoft.com/office/drawing/2014/main" id="{3EE1203B-0DAF-4B6C-B5A1-EB0AFF8C5B23}"/>
              </a:ext>
            </a:extLst>
          </p:cNvPr>
          <p:cNvSpPr/>
          <p:nvPr/>
        </p:nvSpPr>
        <p:spPr bwMode="gray">
          <a:xfrm>
            <a:off x="10386743" y="2663864"/>
            <a:ext cx="688031" cy="1168854"/>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Freeform 21">
            <a:extLst>
              <a:ext uri="{FF2B5EF4-FFF2-40B4-BE49-F238E27FC236}">
                <a16:creationId xmlns:a16="http://schemas.microsoft.com/office/drawing/2014/main" id="{EB06B02F-F913-4A46-BC4A-7FAA536AFCD3}"/>
              </a:ext>
            </a:extLst>
          </p:cNvPr>
          <p:cNvSpPr>
            <a:spLocks noEditPoints="1"/>
          </p:cNvSpPr>
          <p:nvPr/>
        </p:nvSpPr>
        <p:spPr bwMode="auto">
          <a:xfrm>
            <a:off x="10475341" y="2768603"/>
            <a:ext cx="510834" cy="546561"/>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nvGrpSpPr>
          <p:cNvPr id="123" name="Group 99">
            <a:extLst>
              <a:ext uri="{FF2B5EF4-FFF2-40B4-BE49-F238E27FC236}">
                <a16:creationId xmlns:a16="http://schemas.microsoft.com/office/drawing/2014/main" id="{74476ABF-6B8E-4256-934F-3A6383145503}"/>
              </a:ext>
            </a:extLst>
          </p:cNvPr>
          <p:cNvGrpSpPr>
            <a:grpSpLocks noChangeAspect="1"/>
          </p:cNvGrpSpPr>
          <p:nvPr/>
        </p:nvGrpSpPr>
        <p:grpSpPr bwMode="auto">
          <a:xfrm>
            <a:off x="10525904" y="2842117"/>
            <a:ext cx="409707" cy="409707"/>
            <a:chOff x="390" y="346"/>
            <a:chExt cx="340" cy="340"/>
          </a:xfrm>
          <a:solidFill>
            <a:schemeClr val="accent2"/>
          </a:solidFill>
        </p:grpSpPr>
        <p:sp>
          <p:nvSpPr>
            <p:cNvPr id="124" name="Freeform 100">
              <a:extLst>
                <a:ext uri="{FF2B5EF4-FFF2-40B4-BE49-F238E27FC236}">
                  <a16:creationId xmlns:a16="http://schemas.microsoft.com/office/drawing/2014/main" id="{166E2B33-13C2-44BA-9457-A25D07F888A3}"/>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5" name="Freeform 101">
              <a:extLst>
                <a:ext uri="{FF2B5EF4-FFF2-40B4-BE49-F238E27FC236}">
                  <a16:creationId xmlns:a16="http://schemas.microsoft.com/office/drawing/2014/main" id="{1D53E595-7623-4C9E-9444-6C56FA93274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6" name="Freeform 102">
              <a:extLst>
                <a:ext uri="{FF2B5EF4-FFF2-40B4-BE49-F238E27FC236}">
                  <a16:creationId xmlns:a16="http://schemas.microsoft.com/office/drawing/2014/main" id="{6A6F3877-0B8A-4719-A512-966A77428088}"/>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 uri="{91240B29-F687-4f45-9708-019B960494DF}">
                <a14:hiddenLine xmlns=""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 name="TextBox 1"/>
          <p:cNvSpPr txBox="1"/>
          <p:nvPr/>
        </p:nvSpPr>
        <p:spPr>
          <a:xfrm>
            <a:off x="482174" y="1097275"/>
            <a:ext cx="1120817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400" b="0" i="0" u="none" strike="noStrike" kern="1200" cap="none" spc="0" normalizeH="0" baseline="0" noProof="0" dirty="0">
                <a:ln>
                  <a:noFill/>
                </a:ln>
                <a:solidFill>
                  <a:srgbClr val="313131"/>
                </a:solidFill>
                <a:effectLst/>
                <a:uLnTx/>
                <a:uFillTx/>
                <a:latin typeface="Calibri Light"/>
                <a:ea typeface="+mn-ea"/>
                <a:cs typeface="+mn-cs"/>
              </a:rPr>
              <a:t>Esta serie de cambios a las reglas de comercio exterior pretenden incorporar la obligación de presentar un CFDI con complemento Carta Porte </a:t>
            </a:r>
            <a:r>
              <a:rPr kumimoji="0" lang="es-MX" sz="1400" b="1" i="0" u="none" strike="noStrike" kern="1200" cap="none" spc="0" normalizeH="0" baseline="0" noProof="0" dirty="0">
                <a:ln>
                  <a:noFill/>
                </a:ln>
                <a:solidFill>
                  <a:srgbClr val="313131"/>
                </a:solidFill>
                <a:effectLst/>
                <a:uLnTx/>
                <a:uFillTx/>
                <a:latin typeface="Calibri Light"/>
                <a:ea typeface="+mn-ea"/>
                <a:cs typeface="+mn-cs"/>
              </a:rPr>
              <a:t>PRE-DESPACHO</a:t>
            </a:r>
            <a:r>
              <a:rPr kumimoji="0" lang="es-MX" sz="1400" b="0" i="0" u="none" strike="noStrike" kern="1200" cap="none" spc="0" normalizeH="0" baseline="0" noProof="0" dirty="0">
                <a:ln>
                  <a:noFill/>
                </a:ln>
                <a:solidFill>
                  <a:srgbClr val="313131"/>
                </a:solidFill>
                <a:effectLst/>
                <a:uLnTx/>
                <a:uFillTx/>
                <a:latin typeface="Calibri Light"/>
                <a:ea typeface="+mn-ea"/>
                <a:cs typeface="+mn-cs"/>
              </a:rPr>
              <a:t>, es decir se impone como un requisito para efectos de importar o exportar una mercancía. Entraran en vigor el </a:t>
            </a:r>
            <a:r>
              <a:rPr kumimoji="0" lang="es-MX" sz="1400" b="1" i="0" u="none" strike="noStrike" kern="1200" cap="none" spc="0" normalizeH="0" baseline="0" noProof="0" dirty="0">
                <a:ln>
                  <a:noFill/>
                </a:ln>
                <a:solidFill>
                  <a:srgbClr val="313131"/>
                </a:solidFill>
                <a:effectLst/>
                <a:uLnTx/>
                <a:uFillTx/>
                <a:latin typeface="Calibri Light"/>
                <a:ea typeface="+mn-ea"/>
                <a:cs typeface="+mn-cs"/>
              </a:rPr>
              <a:t>1 de enero de 2023</a:t>
            </a:r>
            <a:r>
              <a:rPr kumimoji="0" lang="es-MX" sz="1400" b="0" i="0" u="none" strike="noStrike" kern="1200" cap="none" spc="0" normalizeH="0" baseline="0" noProof="0" dirty="0">
                <a:ln>
                  <a:noFill/>
                </a:ln>
                <a:solidFill>
                  <a:srgbClr val="313131"/>
                </a:solidFill>
                <a:effectLst/>
                <a:uLnTx/>
                <a:uFillTx/>
                <a:latin typeface="Calibri Light"/>
                <a:ea typeface="+mn-ea"/>
                <a:cs typeface="+mn-cs"/>
              </a:rPr>
              <a:t>. </a:t>
            </a:r>
          </a:p>
        </p:txBody>
      </p:sp>
      <p:cxnSp>
        <p:nvCxnSpPr>
          <p:cNvPr id="4" name="Straight Connector 3">
            <a:extLst>
              <a:ext uri="{FF2B5EF4-FFF2-40B4-BE49-F238E27FC236}">
                <a16:creationId xmlns:a16="http://schemas.microsoft.com/office/drawing/2014/main" id="{C086AB46-3BEF-4E8A-888F-B244E3155EEB}"/>
              </a:ext>
            </a:extLst>
          </p:cNvPr>
          <p:cNvCxnSpPr/>
          <p:nvPr/>
        </p:nvCxnSpPr>
        <p:spPr>
          <a:xfrm>
            <a:off x="412312" y="1691640"/>
            <a:ext cx="2231712" cy="455552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8ED1B608-0D81-405F-B9A3-A346225DC43E}"/>
              </a:ext>
            </a:extLst>
          </p:cNvPr>
          <p:cNvCxnSpPr>
            <a:cxnSpLocks/>
          </p:cNvCxnSpPr>
          <p:nvPr/>
        </p:nvCxnSpPr>
        <p:spPr>
          <a:xfrm flipH="1">
            <a:off x="412312" y="1691640"/>
            <a:ext cx="2188326" cy="450529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96561060-0353-4E05-932F-953769F80138}"/>
              </a:ext>
            </a:extLst>
          </p:cNvPr>
          <p:cNvSpPr/>
          <p:nvPr/>
        </p:nvSpPr>
        <p:spPr bwMode="gray">
          <a:xfrm>
            <a:off x="161692" y="642310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129" name="Rectangle 128">
            <a:extLst>
              <a:ext uri="{FF2B5EF4-FFF2-40B4-BE49-F238E27FC236}">
                <a16:creationId xmlns:a16="http://schemas.microsoft.com/office/drawing/2014/main" id="{68947BED-9435-49EA-8E1A-06A629070FCD}"/>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25750939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2649B1-4C9D-4FED-B394-C071704DF7C6}"/>
              </a:ext>
            </a:extLst>
          </p:cNvPr>
          <p:cNvSpPr/>
          <p:nvPr/>
        </p:nvSpPr>
        <p:spPr bwMode="gray">
          <a:xfrm>
            <a:off x="481132" y="1716306"/>
            <a:ext cx="11252200" cy="915987"/>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Text Placeholder 43"/>
          <p:cNvSpPr>
            <a:spLocks noGrp="1"/>
          </p:cNvSpPr>
          <p:nvPr>
            <p:ph type="body" sz="quarter" idx="13"/>
          </p:nvPr>
        </p:nvSpPr>
        <p:spPr>
          <a:xfrm>
            <a:off x="501650" y="661065"/>
            <a:ext cx="11188700" cy="757255"/>
          </a:xfrm>
        </p:spPr>
        <p:txBody>
          <a:bodyPr/>
          <a:lstStyle/>
          <a:p>
            <a:pPr lvl="0"/>
            <a:r>
              <a:rPr lang="en-US" dirty="0">
                <a:latin typeface="Calibri Light" panose="020F0302020204030204" pitchFamily="34" charset="0"/>
              </a:rPr>
              <a:t>Reglas Generales de Comercio Exterior-Despacho aduanero de mercancías con pedimento.</a:t>
            </a:r>
            <a:endParaRPr lang="en-GB" dirty="0">
              <a:latin typeface="Calibri Light" panose="020F0302020204030204" pitchFamily="34" charset="0"/>
            </a:endParaRPr>
          </a:p>
        </p:txBody>
      </p:sp>
      <p:sp>
        <p:nvSpPr>
          <p:cNvPr id="14" name="Title 1"/>
          <p:cNvSpPr>
            <a:spLocks noGrp="1"/>
          </p:cNvSpPr>
          <p:nvPr>
            <p:ph type="title"/>
          </p:nvPr>
        </p:nvSpPr>
        <p:spPr>
          <a:xfrm>
            <a:off x="501650" y="317501"/>
            <a:ext cx="11188700" cy="361250"/>
          </a:xfrm>
        </p:spPr>
        <p:txBody>
          <a:bodyPr/>
          <a:lstStyle/>
          <a:p>
            <a:r>
              <a:rPr lang="es-MX" dirty="0"/>
              <a:t>Complemento Carta Porte del CFDI</a:t>
            </a:r>
          </a:p>
        </p:txBody>
      </p:sp>
      <p:sp>
        <p:nvSpPr>
          <p:cNvPr id="108" name="Rectangle 107">
            <a:extLst>
              <a:ext uri="{FF2B5EF4-FFF2-40B4-BE49-F238E27FC236}">
                <a16:creationId xmlns:a16="http://schemas.microsoft.com/office/drawing/2014/main" id="{FF36E524-1298-445B-81CC-5F5266C44617}"/>
              </a:ext>
            </a:extLst>
          </p:cNvPr>
          <p:cNvSpPr/>
          <p:nvPr/>
        </p:nvSpPr>
        <p:spPr bwMode="gray">
          <a:xfrm>
            <a:off x="1303713" y="3632182"/>
            <a:ext cx="2974600" cy="2589196"/>
          </a:xfrm>
          <a:prstGeom prst="rect">
            <a:avLst/>
          </a:prstGeom>
          <a:solidFill>
            <a:schemeClr val="bg1">
              <a:lumMod val="95000"/>
            </a:schemeClr>
          </a:solidFill>
          <a:ln w="19050" algn="ctr">
            <a:noFill/>
            <a:miter lim="800000"/>
            <a:headEnd/>
            <a:tailEnd/>
          </a:ln>
        </p:spPr>
        <p:txBody>
          <a:bodyPr wrap="square" lIns="30375" tIns="91440" rIns="20250" bIns="20250" rtlCol="0" anchor="t"/>
          <a:lstStyle/>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srgbClr val="26890D"/>
                </a:solidFill>
                <a:effectLst/>
                <a:uLnTx/>
                <a:uFillTx/>
                <a:latin typeface="Calibri"/>
                <a:ea typeface="+mn-ea"/>
                <a:cs typeface="+mn-cs"/>
              </a:rPr>
              <a:t>Explicación: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Estas reglas indican los </a:t>
            </a:r>
            <a:r>
              <a:rPr kumimoji="0" lang="es-MX" sz="1200" b="1" i="0" u="none" strike="noStrike" kern="1200" cap="none" spc="0" normalizeH="0" baseline="0" noProof="0" dirty="0">
                <a:ln>
                  <a:noFill/>
                </a:ln>
                <a:solidFill>
                  <a:prstClr val="black"/>
                </a:solidFill>
                <a:effectLst/>
                <a:uLnTx/>
                <a:uFillTx/>
                <a:latin typeface="Calibri"/>
                <a:ea typeface="+mn-ea"/>
                <a:cs typeface="+mn-cs"/>
              </a:rPr>
              <a:t>documentos que deben presentarse junto a las mercancías </a:t>
            </a:r>
            <a:r>
              <a:rPr kumimoji="0" lang="es-MX" sz="1200" b="0" i="0" u="none" strike="noStrike" kern="1200" cap="none" spc="0" normalizeH="0" baseline="0" noProof="0" dirty="0">
                <a:ln>
                  <a:noFill/>
                </a:ln>
                <a:solidFill>
                  <a:prstClr val="black"/>
                </a:solidFill>
                <a:effectLst/>
                <a:uLnTx/>
                <a:uFillTx/>
                <a:latin typeface="Calibri"/>
                <a:ea typeface="+mn-ea"/>
                <a:cs typeface="+mn-cs"/>
              </a:rPr>
              <a:t>para su despacho a la entrada o salida del país. </a:t>
            </a:r>
            <a:br>
              <a:rPr kumimoji="0" lang="es-MX" sz="1200" b="0" i="0" u="none" strike="noStrike" kern="1200" cap="none" spc="0" normalizeH="0" baseline="0" noProof="0" dirty="0">
                <a:ln>
                  <a:noFill/>
                </a:ln>
                <a:solidFill>
                  <a:prstClr val="black"/>
                </a:solidFill>
                <a:effectLst/>
                <a:uLnTx/>
                <a:uFillTx/>
                <a:latin typeface="Calibri"/>
                <a:ea typeface="+mn-ea"/>
                <a:cs typeface="+mn-cs"/>
              </a:rPr>
            </a:br>
            <a:endParaRPr kumimoji="0" lang="es-MX" sz="1200" b="0" i="0" u="none" strike="noStrike" kern="1200" cap="none" spc="0" normalizeH="0" baseline="0" noProof="0" dirty="0">
              <a:ln>
                <a:noFill/>
              </a:ln>
              <a:solidFill>
                <a:prstClr val="black"/>
              </a:solidFill>
              <a:effectLst/>
              <a:uLnTx/>
              <a:uFillTx/>
              <a:latin typeface="Calibri"/>
              <a:ea typeface="+mn-ea"/>
              <a:cs typeface="+mn-cs"/>
            </a:endParaRP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1" i="0" u="none" strike="noStrike" kern="1200" cap="none" spc="0" normalizeH="0" baseline="0" noProof="0" dirty="0">
                <a:ln>
                  <a:noFill/>
                </a:ln>
                <a:solidFill>
                  <a:srgbClr val="26890D"/>
                </a:solidFill>
                <a:effectLst/>
                <a:uLnTx/>
                <a:uFillTx/>
                <a:latin typeface="Calibri"/>
                <a:ea typeface="+mn-ea"/>
                <a:cs typeface="+mn-cs"/>
              </a:rPr>
              <a:t>Complemento Carta Porte: </a:t>
            </a:r>
          </a:p>
          <a:p>
            <a:pPr marL="19288" marR="0" lvl="0" indent="0" algn="l" defTabSz="685800" rtl="0" eaLnBrk="1" fontAlgn="auto" latinLnBrk="0" hangingPunct="1">
              <a:lnSpc>
                <a:spcPct val="100000"/>
              </a:lnSpc>
              <a:spcBef>
                <a:spcPts val="338"/>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a:ea typeface="+mn-ea"/>
                <a:cs typeface="+mn-cs"/>
              </a:rPr>
              <a:t>Se incluye la obligación de indicar que se debe presentar folio fiscal, archivo digital o representación impresa </a:t>
            </a:r>
            <a:r>
              <a:rPr kumimoji="0" lang="es-MX" sz="1200" b="1" i="0" u="none" strike="noStrike" kern="1200" cap="none" spc="0" normalizeH="0" baseline="0" noProof="0" dirty="0">
                <a:ln>
                  <a:noFill/>
                </a:ln>
                <a:solidFill>
                  <a:schemeClr val="accent1">
                    <a:lumMod val="75000"/>
                  </a:schemeClr>
                </a:solidFill>
                <a:effectLst/>
                <a:uLnTx/>
                <a:uFillTx/>
                <a:latin typeface="Calibri"/>
                <a:ea typeface="+mn-ea"/>
                <a:cs typeface="+mn-cs"/>
              </a:rPr>
              <a:t>del CFDI con CCP; relacionándolo </a:t>
            </a:r>
            <a:r>
              <a:rPr kumimoji="0" lang="es-MX" sz="1200" b="0" i="0" u="none" strike="noStrike" kern="1200" cap="none" spc="0" normalizeH="0" baseline="0" noProof="0" dirty="0">
                <a:ln>
                  <a:noFill/>
                </a:ln>
                <a:solidFill>
                  <a:schemeClr val="accent1">
                    <a:lumMod val="75000"/>
                  </a:schemeClr>
                </a:solidFill>
                <a:effectLst/>
                <a:uLnTx/>
                <a:uFillTx/>
                <a:latin typeface="Calibri"/>
                <a:ea typeface="+mn-ea"/>
                <a:cs typeface="+mn-cs"/>
              </a:rPr>
              <a:t>con el </a:t>
            </a:r>
            <a:r>
              <a:rPr kumimoji="0" lang="es-MX" sz="1200" b="1" i="0" u="sng" strike="noStrike" kern="1200" cap="none" spc="0" normalizeH="0" baseline="0" noProof="0" dirty="0">
                <a:ln>
                  <a:noFill/>
                </a:ln>
                <a:solidFill>
                  <a:schemeClr val="accent1">
                    <a:lumMod val="75000"/>
                  </a:schemeClr>
                </a:solidFill>
                <a:effectLst/>
                <a:uLnTx/>
                <a:uFillTx/>
                <a:latin typeface="Calibri"/>
                <a:ea typeface="+mn-ea"/>
                <a:cs typeface="+mn-cs"/>
              </a:rPr>
              <a:t>número de pedimento y número de acuse de valor (COVE)</a:t>
            </a:r>
          </a:p>
        </p:txBody>
      </p:sp>
      <p:sp>
        <p:nvSpPr>
          <p:cNvPr id="2" name="TextBox 1"/>
          <p:cNvSpPr txBox="1"/>
          <p:nvPr/>
        </p:nvSpPr>
        <p:spPr>
          <a:xfrm>
            <a:off x="614256" y="1807772"/>
            <a:ext cx="10963488" cy="738664"/>
          </a:xfrm>
          <a:prstGeom prst="rect">
            <a:avLst/>
          </a:prstGeom>
          <a:solidFill>
            <a:schemeClr val="accent3"/>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600" b="0" i="0" u="none" strike="noStrike" kern="1200" cap="none" spc="0" normalizeH="0" baseline="0" noProof="0" dirty="0">
                <a:ln>
                  <a:noFill/>
                </a:ln>
                <a:solidFill>
                  <a:prstClr val="white"/>
                </a:solidFill>
                <a:effectLst/>
                <a:uLnTx/>
                <a:uFillTx/>
                <a:latin typeface="Calibri Light"/>
                <a:ea typeface="+mn-ea"/>
                <a:cs typeface="+mn-cs"/>
              </a:rPr>
              <a:t>Esta serie de cambios a las reglas de comercio exterior pretenden incorporar la obligación de presentar un CFDI con complemento Carta Porte </a:t>
            </a:r>
            <a:r>
              <a:rPr kumimoji="0" lang="es-MX" sz="1600" b="1" i="0" u="none" strike="noStrike" kern="1200" cap="none" spc="0" normalizeH="0" baseline="0" noProof="0" dirty="0">
                <a:ln>
                  <a:noFill/>
                </a:ln>
                <a:solidFill>
                  <a:prstClr val="white"/>
                </a:solidFill>
                <a:effectLst/>
                <a:uLnTx/>
                <a:uFillTx/>
                <a:latin typeface="Calibri Light"/>
                <a:ea typeface="+mn-ea"/>
                <a:cs typeface="+mn-cs"/>
              </a:rPr>
              <a:t>PRE-DESPACHO</a:t>
            </a:r>
            <a:r>
              <a:rPr kumimoji="0" lang="es-MX" sz="1600" b="0" i="0" u="none" strike="noStrike" kern="1200" cap="none" spc="0" normalizeH="0" baseline="0" noProof="0" dirty="0">
                <a:ln>
                  <a:noFill/>
                </a:ln>
                <a:solidFill>
                  <a:prstClr val="white"/>
                </a:solidFill>
                <a:effectLst/>
                <a:uLnTx/>
                <a:uFillTx/>
                <a:latin typeface="Calibri Light"/>
                <a:ea typeface="+mn-ea"/>
                <a:cs typeface="+mn-cs"/>
              </a:rPr>
              <a:t>, es decir se impone como un requisito para efectos de importar o exportar una mercancía. Estas disposiciones entraran en vigor el </a:t>
            </a:r>
            <a:r>
              <a:rPr kumimoji="0" lang="es-MX" sz="1600" b="1" i="0" u="none" strike="noStrike" kern="1200" cap="none" spc="0" normalizeH="0" baseline="0" noProof="0" dirty="0">
                <a:ln>
                  <a:noFill/>
                </a:ln>
                <a:solidFill>
                  <a:prstClr val="white"/>
                </a:solidFill>
                <a:effectLst/>
                <a:uLnTx/>
                <a:uFillTx/>
                <a:latin typeface="Calibri Light"/>
                <a:ea typeface="+mn-ea"/>
                <a:cs typeface="+mn-cs"/>
              </a:rPr>
              <a:t>1 de enero de 2023</a:t>
            </a:r>
            <a:r>
              <a:rPr kumimoji="0" lang="es-MX" sz="1600" b="0" i="0" u="none" strike="noStrike" kern="1200" cap="none" spc="0" normalizeH="0" baseline="0" noProof="0" dirty="0">
                <a:ln>
                  <a:noFill/>
                </a:ln>
                <a:solidFill>
                  <a:prstClr val="white"/>
                </a:solidFill>
                <a:effectLst/>
                <a:uLnTx/>
                <a:uFillTx/>
                <a:latin typeface="Calibri Light"/>
                <a:ea typeface="+mn-ea"/>
                <a:cs typeface="+mn-cs"/>
              </a:rPr>
              <a:t>. </a:t>
            </a:r>
          </a:p>
        </p:txBody>
      </p:sp>
      <p:sp>
        <p:nvSpPr>
          <p:cNvPr id="4" name="Rectangle 3">
            <a:extLst>
              <a:ext uri="{FF2B5EF4-FFF2-40B4-BE49-F238E27FC236}">
                <a16:creationId xmlns:a16="http://schemas.microsoft.com/office/drawing/2014/main" id="{3E34CDEC-90EF-4AE6-BB47-6D5D623C0486}"/>
              </a:ext>
            </a:extLst>
          </p:cNvPr>
          <p:cNvSpPr/>
          <p:nvPr/>
        </p:nvSpPr>
        <p:spPr bwMode="gray">
          <a:xfrm>
            <a:off x="1303339" y="2906481"/>
            <a:ext cx="2974974" cy="723900"/>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MX" sz="14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Reglas de Comercio Exterior</a:t>
            </a:r>
          </a:p>
        </p:txBody>
      </p:sp>
      <p:grpSp>
        <p:nvGrpSpPr>
          <p:cNvPr id="128" name="Group 489">
            <a:extLst>
              <a:ext uri="{FF2B5EF4-FFF2-40B4-BE49-F238E27FC236}">
                <a16:creationId xmlns:a16="http://schemas.microsoft.com/office/drawing/2014/main" id="{A585BA45-A518-41BB-9CDB-A6C646A6A858}"/>
              </a:ext>
            </a:extLst>
          </p:cNvPr>
          <p:cNvGrpSpPr>
            <a:grpSpLocks noChangeAspect="1"/>
          </p:cNvGrpSpPr>
          <p:nvPr/>
        </p:nvGrpSpPr>
        <p:grpSpPr bwMode="auto">
          <a:xfrm>
            <a:off x="490537" y="2994588"/>
            <a:ext cx="676782" cy="676782"/>
            <a:chOff x="2920" y="2264"/>
            <a:chExt cx="340" cy="340"/>
          </a:xfrm>
          <a:solidFill>
            <a:schemeClr val="accent2"/>
          </a:solidFill>
        </p:grpSpPr>
        <p:sp>
          <p:nvSpPr>
            <p:cNvPr id="129" name="Freeform 490">
              <a:extLst>
                <a:ext uri="{FF2B5EF4-FFF2-40B4-BE49-F238E27FC236}">
                  <a16:creationId xmlns:a16="http://schemas.microsoft.com/office/drawing/2014/main" id="{B16647CA-B1A9-48C2-BE4A-A4809D54751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0" name="Freeform 491">
              <a:extLst>
                <a:ext uri="{FF2B5EF4-FFF2-40B4-BE49-F238E27FC236}">
                  <a16:creationId xmlns:a16="http://schemas.microsoft.com/office/drawing/2014/main" id="{3A9E3E46-C463-45E3-BC02-8E4100F3C12F}"/>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31" name="Freeform 492">
              <a:extLst>
                <a:ext uri="{FF2B5EF4-FFF2-40B4-BE49-F238E27FC236}">
                  <a16:creationId xmlns:a16="http://schemas.microsoft.com/office/drawing/2014/main" id="{7E8E40B7-04B7-47BC-A8AD-6DD5D1C022AB}"/>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3" name="Rectangle 22">
            <a:extLst>
              <a:ext uri="{FF2B5EF4-FFF2-40B4-BE49-F238E27FC236}">
                <a16:creationId xmlns:a16="http://schemas.microsoft.com/office/drawing/2014/main" id="{8CC209CB-B181-4D25-908C-CBD56E8636FF}"/>
              </a:ext>
            </a:extLst>
          </p:cNvPr>
          <p:cNvSpPr/>
          <p:nvPr/>
        </p:nvSpPr>
        <p:spPr bwMode="gray">
          <a:xfrm>
            <a:off x="5774552" y="3355464"/>
            <a:ext cx="4663227" cy="2943736"/>
          </a:xfrm>
          <a:prstGeom prst="rect">
            <a:avLst/>
          </a:prstGeom>
          <a:solidFill>
            <a:schemeClr val="bg1">
              <a:lumMod val="95000"/>
            </a:schemeClr>
          </a:solidFill>
          <a:ln w="19050" algn="ctr">
            <a:noFill/>
            <a:miter lim="800000"/>
            <a:headEnd/>
            <a:tailEnd/>
          </a:ln>
        </p:spPr>
        <p:txBody>
          <a:bodyPr wrap="square" lIns="30375" tIns="91440" rIns="20250" bIns="20250" rtlCol="0" anchor="t"/>
          <a:lstStyle/>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Se requiere presentar el CFDI con CCP para efectos del despacho aduanero. </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Abarca TODOS los regímenes aduaneros. </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Abarca pedimentos consolidados y no consolidados. </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Abarca Importación y Exportación para PITA.</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l CFDI con CCP debe estar relacionado con el número de pedimento. </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El CFDI con CCP debe estar relacionado con el número de acuse de valor. </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Sin dicho documento no se podrá despachar la mercancía.</a:t>
            </a:r>
          </a:p>
          <a:p>
            <a:pPr marL="190738" marR="0" lvl="0" indent="-1714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solidFill>
                <a:effectLst/>
                <a:uLnTx/>
                <a:uFillTx/>
                <a:latin typeface="Calibri"/>
                <a:ea typeface="+mn-ea"/>
                <a:cs typeface="+mn-cs"/>
              </a:rPr>
              <a:t>No existe excepción alguna a la fecha.</a:t>
            </a:r>
          </a:p>
        </p:txBody>
      </p:sp>
      <p:sp>
        <p:nvSpPr>
          <p:cNvPr id="24" name="Rectangle 23">
            <a:extLst>
              <a:ext uri="{FF2B5EF4-FFF2-40B4-BE49-F238E27FC236}">
                <a16:creationId xmlns:a16="http://schemas.microsoft.com/office/drawing/2014/main" id="{C081B997-E57E-4FA1-B34A-7C3CDCEFA87F}"/>
              </a:ext>
            </a:extLst>
          </p:cNvPr>
          <p:cNvSpPr/>
          <p:nvPr/>
        </p:nvSpPr>
        <p:spPr bwMode="gray">
          <a:xfrm>
            <a:off x="5774552" y="2906481"/>
            <a:ext cx="4682682" cy="429606"/>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MX" sz="1400" b="1" i="0" u="none" strike="noStrike" kern="1200" cap="none" spc="0" normalizeH="0" baseline="0" noProof="0" dirty="0">
                <a:ln>
                  <a:noFill/>
                </a:ln>
                <a:solidFill>
                  <a:prstClr val="white"/>
                </a:solidFill>
                <a:effectLst/>
                <a:uLnTx/>
                <a:uFillTx/>
                <a:latin typeface="Calibri"/>
                <a:ea typeface="+mn-ea"/>
                <a:cs typeface="Calibri" panose="020F0502020204030204" pitchFamily="34" charset="0"/>
              </a:rPr>
              <a:t>Implicaciones relacionadas con la regla</a:t>
            </a:r>
          </a:p>
        </p:txBody>
      </p:sp>
      <p:sp>
        <p:nvSpPr>
          <p:cNvPr id="16" name="Freeform 232">
            <a:extLst>
              <a:ext uri="{FF2B5EF4-FFF2-40B4-BE49-F238E27FC236}">
                <a16:creationId xmlns:a16="http://schemas.microsoft.com/office/drawing/2014/main" id="{8C51C39B-67B5-479F-9760-6A7FDECB20D8}"/>
              </a:ext>
            </a:extLst>
          </p:cNvPr>
          <p:cNvSpPr>
            <a:spLocks noChangeAspect="1" noEditPoints="1"/>
          </p:cNvSpPr>
          <p:nvPr/>
        </p:nvSpPr>
        <p:spPr bwMode="auto">
          <a:xfrm>
            <a:off x="4599596" y="4196632"/>
            <a:ext cx="881366" cy="88136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60 h 512"/>
              <a:gd name="T12" fmla="*/ 413 w 512"/>
              <a:gd name="T13" fmla="*/ 263 h 512"/>
              <a:gd name="T14" fmla="*/ 327 w 512"/>
              <a:gd name="T15" fmla="*/ 349 h 512"/>
              <a:gd name="T16" fmla="*/ 320 w 512"/>
              <a:gd name="T17" fmla="*/ 352 h 512"/>
              <a:gd name="T18" fmla="*/ 312 w 512"/>
              <a:gd name="T19" fmla="*/ 349 h 512"/>
              <a:gd name="T20" fmla="*/ 312 w 512"/>
              <a:gd name="T21" fmla="*/ 333 h 512"/>
              <a:gd name="T22" fmla="*/ 379 w 512"/>
              <a:gd name="T23" fmla="*/ 266 h 512"/>
              <a:gd name="T24" fmla="*/ 106 w 512"/>
              <a:gd name="T25" fmla="*/ 266 h 512"/>
              <a:gd name="T26" fmla="*/ 96 w 512"/>
              <a:gd name="T27" fmla="*/ 256 h 512"/>
              <a:gd name="T28" fmla="*/ 106 w 512"/>
              <a:gd name="T29" fmla="*/ 245 h 512"/>
              <a:gd name="T30" fmla="*/ 379 w 512"/>
              <a:gd name="T31" fmla="*/ 245 h 512"/>
              <a:gd name="T32" fmla="*/ 312 w 512"/>
              <a:gd name="T33" fmla="*/ 178 h 512"/>
              <a:gd name="T34" fmla="*/ 312 w 512"/>
              <a:gd name="T35" fmla="*/ 163 h 512"/>
              <a:gd name="T36" fmla="*/ 327 w 512"/>
              <a:gd name="T37" fmla="*/ 163 h 512"/>
              <a:gd name="T38" fmla="*/ 413 w 512"/>
              <a:gd name="T39" fmla="*/ 248 h 512"/>
              <a:gd name="T40" fmla="*/ 415 w 512"/>
              <a:gd name="T41" fmla="*/ 252 h 512"/>
              <a:gd name="T42" fmla="*/ 415 w 512"/>
              <a:gd name="T43"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0"/>
                </a:moveTo>
                <a:cubicBezTo>
                  <a:pt x="414" y="261"/>
                  <a:pt x="414" y="262"/>
                  <a:pt x="413" y="263"/>
                </a:cubicBezTo>
                <a:cubicBezTo>
                  <a:pt x="327" y="349"/>
                  <a:pt x="327" y="349"/>
                  <a:pt x="327" y="349"/>
                </a:cubicBezTo>
                <a:cubicBezTo>
                  <a:pt x="325" y="351"/>
                  <a:pt x="322" y="352"/>
                  <a:pt x="320" y="352"/>
                </a:cubicBezTo>
                <a:cubicBezTo>
                  <a:pt x="317" y="352"/>
                  <a:pt x="314" y="351"/>
                  <a:pt x="312" y="349"/>
                </a:cubicBezTo>
                <a:cubicBezTo>
                  <a:pt x="308" y="344"/>
                  <a:pt x="308" y="338"/>
                  <a:pt x="312" y="333"/>
                </a:cubicBezTo>
                <a:cubicBezTo>
                  <a:pt x="379" y="266"/>
                  <a:pt x="379" y="266"/>
                  <a:pt x="379" y="266"/>
                </a:cubicBezTo>
                <a:cubicBezTo>
                  <a:pt x="106" y="266"/>
                  <a:pt x="106" y="266"/>
                  <a:pt x="106" y="266"/>
                </a:cubicBezTo>
                <a:cubicBezTo>
                  <a:pt x="100" y="266"/>
                  <a:pt x="96" y="262"/>
                  <a:pt x="96" y="256"/>
                </a:cubicBezTo>
                <a:cubicBezTo>
                  <a:pt x="96" y="250"/>
                  <a:pt x="100" y="245"/>
                  <a:pt x="106" y="245"/>
                </a:cubicBezTo>
                <a:cubicBezTo>
                  <a:pt x="379" y="245"/>
                  <a:pt x="379" y="245"/>
                  <a:pt x="379" y="245"/>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4" y="249"/>
                  <a:pt x="414" y="250"/>
                  <a:pt x="415" y="252"/>
                </a:cubicBezTo>
                <a:cubicBezTo>
                  <a:pt x="416" y="254"/>
                  <a:pt x="416" y="257"/>
                  <a:pt x="415" y="2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2424AC9D-706B-49F9-A3D1-6A8B880838C1}"/>
              </a:ext>
            </a:extLst>
          </p:cNvPr>
          <p:cNvSpPr/>
          <p:nvPr/>
        </p:nvSpPr>
        <p:spPr bwMode="gray">
          <a:xfrm>
            <a:off x="161692" y="642310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18" name="Rectangle 17">
            <a:extLst>
              <a:ext uri="{FF2B5EF4-FFF2-40B4-BE49-F238E27FC236}">
                <a16:creationId xmlns:a16="http://schemas.microsoft.com/office/drawing/2014/main" id="{4E6F81EF-E701-4D04-A85B-B207DEDE5D4B}"/>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19" name="Rectangle 18">
            <a:extLst>
              <a:ext uri="{FF2B5EF4-FFF2-40B4-BE49-F238E27FC236}">
                <a16:creationId xmlns:a16="http://schemas.microsoft.com/office/drawing/2014/main" id="{824D02D5-0910-4066-BA42-8FDB79C84F17}"/>
              </a:ext>
            </a:extLst>
          </p:cNvPr>
          <p:cNvSpPr/>
          <p:nvPr/>
        </p:nvSpPr>
        <p:spPr bwMode="gray">
          <a:xfrm>
            <a:off x="535104" y="6395025"/>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Rectangle 19">
            <a:extLst>
              <a:ext uri="{FF2B5EF4-FFF2-40B4-BE49-F238E27FC236}">
                <a16:creationId xmlns:a16="http://schemas.microsoft.com/office/drawing/2014/main" id="{B1F99DAE-5746-4848-98B7-281BF78B7DF6}"/>
              </a:ext>
            </a:extLst>
          </p:cNvPr>
          <p:cNvSpPr/>
          <p:nvPr/>
        </p:nvSpPr>
        <p:spPr>
          <a:xfrm>
            <a:off x="535103" y="6461482"/>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196214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1"/>
          <p:cNvSpPr txBox="1">
            <a:spLocks/>
          </p:cNvSpPr>
          <p:nvPr/>
        </p:nvSpPr>
        <p:spPr bwMode="gray">
          <a:xfrm>
            <a:off x="4481512" y="1700213"/>
            <a:ext cx="7240587" cy="1592403"/>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600" b="1" kern="1200">
                <a:solidFill>
                  <a:schemeClr val="bg1"/>
                </a:solidFill>
                <a:latin typeface="+mj-lt"/>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a:xfrm>
            <a:off x="457200" y="3048430"/>
            <a:ext cx="5549900" cy="761140"/>
          </a:xfrm>
        </p:spPr>
        <p:txBody>
          <a:bodyPr/>
          <a:lstStyle/>
          <a:p>
            <a:r>
              <a:rPr lang="es-MX" dirty="0">
                <a:solidFill>
                  <a:schemeClr val="bg1"/>
                </a:solidFill>
              </a:rPr>
              <a:t>Novedades en materia de  Comercio Exterior</a:t>
            </a:r>
            <a:endParaRPr lang="es-ES_tradnl" dirty="0">
              <a:solidFill>
                <a:schemeClr val="bg1"/>
              </a:solidFill>
            </a:endParaRPr>
          </a:p>
        </p:txBody>
      </p:sp>
      <p:pic>
        <p:nvPicPr>
          <p:cNvPr id="17412" name="Picture 4">
            <a:extLst>
              <a:ext uri="{FF2B5EF4-FFF2-40B4-BE49-F238E27FC236}">
                <a16:creationId xmlns:a16="http://schemas.microsoft.com/office/drawing/2014/main" id="{39292811-7F43-43CC-A8C1-9067DA326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9549" y="0"/>
            <a:ext cx="586245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56601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ext Placeholder 43"/>
          <p:cNvSpPr txBox="1">
            <a:spLocks/>
          </p:cNvSpPr>
          <p:nvPr/>
        </p:nvSpPr>
        <p:spPr>
          <a:xfrm>
            <a:off x="487650" y="559303"/>
            <a:ext cx="11188700" cy="41097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s-MX" dirty="0">
              <a:latin typeface="Calibri Light" panose="020F0302020204030204" pitchFamily="34" charset="0"/>
            </a:endParaRPr>
          </a:p>
        </p:txBody>
      </p:sp>
      <p:sp>
        <p:nvSpPr>
          <p:cNvPr id="96" name="Title 1"/>
          <p:cNvSpPr txBox="1">
            <a:spLocks/>
          </p:cNvSpPr>
          <p:nvPr/>
        </p:nvSpPr>
        <p:spPr bwMode="gray">
          <a:xfrm>
            <a:off x="501650" y="317501"/>
            <a:ext cx="11188700" cy="36125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MX"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endParaRPr>
          </a:p>
        </p:txBody>
      </p:sp>
      <p:sp>
        <p:nvSpPr>
          <p:cNvPr id="5" name="Text Placeholder 4">
            <a:extLst>
              <a:ext uri="{FF2B5EF4-FFF2-40B4-BE49-F238E27FC236}">
                <a16:creationId xmlns:a16="http://schemas.microsoft.com/office/drawing/2014/main" id="{D1BFC2BB-15AD-4286-8C4A-FEE4B93A5517}"/>
              </a:ext>
            </a:extLst>
          </p:cNvPr>
          <p:cNvSpPr>
            <a:spLocks noGrp="1"/>
          </p:cNvSpPr>
          <p:nvPr>
            <p:ph type="body" sz="quarter" idx="13"/>
          </p:nvPr>
        </p:nvSpPr>
        <p:spPr/>
        <p:txBody>
          <a:bodyPr/>
          <a:lstStyle/>
          <a:p>
            <a:r>
              <a:rPr lang="es-MX" dirty="0">
                <a:latin typeface="Verdana" panose="020B0604030504040204" pitchFamily="34" charset="0"/>
                <a:ea typeface="Verdana" panose="020B0604030504040204" pitchFamily="34" charset="0"/>
              </a:rPr>
              <a:t>Problemáticas Aduaneras</a:t>
            </a:r>
          </a:p>
        </p:txBody>
      </p:sp>
      <p:sp>
        <p:nvSpPr>
          <p:cNvPr id="2" name="Title 1">
            <a:extLst>
              <a:ext uri="{FF2B5EF4-FFF2-40B4-BE49-F238E27FC236}">
                <a16:creationId xmlns:a16="http://schemas.microsoft.com/office/drawing/2014/main" id="{1FC574F7-2B29-4B7F-BD42-7720397BDB94}"/>
              </a:ext>
            </a:extLst>
          </p:cNvPr>
          <p:cNvSpPr>
            <a:spLocks noGrp="1"/>
          </p:cNvSpPr>
          <p:nvPr>
            <p:ph type="title"/>
          </p:nvPr>
        </p:nvSpPr>
        <p:spPr>
          <a:xfrm>
            <a:off x="501650" y="293749"/>
            <a:ext cx="11188700" cy="357851"/>
          </a:xfrm>
        </p:spPr>
        <p:txBody>
          <a:bodyPr/>
          <a:lstStyle/>
          <a:p>
            <a:r>
              <a:rPr lang="es-MX" sz="1800" b="1" dirty="0">
                <a:latin typeface="Verdana" panose="020B0604030504040204" pitchFamily="34" charset="0"/>
                <a:ea typeface="Verdana" panose="020B0604030504040204" pitchFamily="34" charset="0"/>
                <a:cs typeface="+mj-cs"/>
              </a:rPr>
              <a:t>Complemento Carta Porte del CFDI</a:t>
            </a:r>
            <a:br>
              <a:rPr lang="es-MX" sz="1800" b="1" dirty="0">
                <a:latin typeface="Verdana" panose="020B0604030504040204" pitchFamily="34" charset="0"/>
                <a:ea typeface="Verdana" panose="020B0604030504040204" pitchFamily="34" charset="0"/>
                <a:cs typeface="+mj-cs"/>
              </a:rPr>
            </a:br>
            <a:endParaRPr lang="en-US" sz="1800" b="1" dirty="0">
              <a:latin typeface="Verdana" panose="020B0604030504040204" pitchFamily="34" charset="0"/>
              <a:ea typeface="Verdana" panose="020B0604030504040204" pitchFamily="34" charset="0"/>
              <a:cs typeface="+mj-cs"/>
            </a:endParaRPr>
          </a:p>
        </p:txBody>
      </p:sp>
      <p:sp>
        <p:nvSpPr>
          <p:cNvPr id="89" name="Rectangle 11">
            <a:extLst>
              <a:ext uri="{FF2B5EF4-FFF2-40B4-BE49-F238E27FC236}">
                <a16:creationId xmlns:a16="http://schemas.microsoft.com/office/drawing/2014/main" id="{170DA6AA-6E1B-45D4-AA1C-D83656E7C4B6}"/>
              </a:ext>
            </a:extLst>
          </p:cNvPr>
          <p:cNvSpPr>
            <a:spLocks noChangeArrowheads="1"/>
          </p:cNvSpPr>
          <p:nvPr/>
        </p:nvSpPr>
        <p:spPr bwMode="auto">
          <a:xfrm>
            <a:off x="3322829" y="2632395"/>
            <a:ext cx="2660904" cy="3641346"/>
          </a:xfrm>
          <a:prstGeom prst="rect">
            <a:avLst/>
          </a:prstGeom>
          <a:noFill/>
          <a:ln w="19050" algn="ctr">
            <a:solidFill>
              <a:schemeClr val="accent3"/>
            </a:solidFill>
            <a:miter lim="800000"/>
            <a:headEnd/>
            <a:tailEnd/>
          </a:ln>
        </p:spPr>
        <p:txBody>
          <a:bodyPr lIns="88900" tIns="91440" rIns="88900" bIns="88900" anchor="t" anchorCtr="0"/>
          <a:lstStyle/>
          <a:p>
            <a:pPr defTabSz="957263">
              <a:spcBef>
                <a:spcPts val="200"/>
              </a:spcBef>
              <a:spcAft>
                <a:spcPts val="300"/>
              </a:spcAft>
            </a:pPr>
            <a:r>
              <a:rPr lang="es-MX" sz="1400" dirty="0">
                <a:cs typeface="Arial" pitchFamily="34" charset="0"/>
              </a:rPr>
              <a:t>El hecho de que se este pidiendo </a:t>
            </a:r>
            <a:r>
              <a:rPr lang="es-MX" sz="1400" b="1" dirty="0">
                <a:cs typeface="Arial" pitchFamily="34" charset="0"/>
              </a:rPr>
              <a:t>contar con el complemento Carta Porte previo al despacho</a:t>
            </a:r>
            <a:r>
              <a:rPr lang="es-MX" sz="1400" dirty="0">
                <a:cs typeface="Arial" pitchFamily="34" charset="0"/>
              </a:rPr>
              <a:t>; y para la salida y entrada en las aduanas puede generar una seria </a:t>
            </a:r>
            <a:r>
              <a:rPr lang="es-MX" sz="1400" b="1" dirty="0">
                <a:cs typeface="Arial" pitchFamily="34" charset="0"/>
              </a:rPr>
              <a:t>aglomeración en las aduanas</a:t>
            </a:r>
            <a:r>
              <a:rPr lang="es-MX" sz="1400" dirty="0">
                <a:cs typeface="Arial" pitchFamily="34" charset="0"/>
              </a:rPr>
              <a:t> del país e inoperancia en el despacho aduanero, haciendo que el comercio exterior se ralentice y no se facilite de mejor forma.</a:t>
            </a:r>
          </a:p>
          <a:p>
            <a:pPr defTabSz="957263">
              <a:spcBef>
                <a:spcPts val="200"/>
              </a:spcBef>
              <a:spcAft>
                <a:spcPts val="300"/>
              </a:spcAft>
            </a:pPr>
            <a:r>
              <a:rPr lang="es-MX" sz="1400" b="1" dirty="0">
                <a:cs typeface="Arial" pitchFamily="34" charset="0"/>
              </a:rPr>
              <a:t>Ya hay algunas aduanas que los están exigiendo  los documentos para despachar. </a:t>
            </a:r>
          </a:p>
        </p:txBody>
      </p:sp>
      <p:sp>
        <p:nvSpPr>
          <p:cNvPr id="6" name="Rectangle: Rounded Corners 5">
            <a:extLst>
              <a:ext uri="{FF2B5EF4-FFF2-40B4-BE49-F238E27FC236}">
                <a16:creationId xmlns:a16="http://schemas.microsoft.com/office/drawing/2014/main" id="{24017218-FDC1-494C-80B3-EBCF210AF07F}"/>
              </a:ext>
            </a:extLst>
          </p:cNvPr>
          <p:cNvSpPr/>
          <p:nvPr/>
        </p:nvSpPr>
        <p:spPr bwMode="gray">
          <a:xfrm>
            <a:off x="3322828" y="1675257"/>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Paro operativo y aglomeraciones en la aduana</a:t>
            </a:r>
          </a:p>
        </p:txBody>
      </p:sp>
      <p:sp>
        <p:nvSpPr>
          <p:cNvPr id="14" name="Rectangle 11">
            <a:extLst>
              <a:ext uri="{FF2B5EF4-FFF2-40B4-BE49-F238E27FC236}">
                <a16:creationId xmlns:a16="http://schemas.microsoft.com/office/drawing/2014/main" id="{151E9CA6-DAEA-4891-9A0E-2299F7E8A534}"/>
              </a:ext>
            </a:extLst>
          </p:cNvPr>
          <p:cNvSpPr>
            <a:spLocks noChangeArrowheads="1"/>
          </p:cNvSpPr>
          <p:nvPr/>
        </p:nvSpPr>
        <p:spPr bwMode="auto">
          <a:xfrm>
            <a:off x="6186093" y="2626878"/>
            <a:ext cx="2660904" cy="3670300"/>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La información con la que se elaboran los pedimentos en cuanto a especificaciones de la mercancía, se duplica con lo que se solicita para la elaboración del CCP, como pesos, volumen, fracción arancelaria, origen y destino, entre otros, por lo cual se solicita</a:t>
            </a:r>
            <a:r>
              <a:rPr lang="es-MX" sz="1400" b="1" dirty="0">
                <a:cs typeface="Arial" pitchFamily="34" charset="0"/>
              </a:rPr>
              <a:t> estarse contemplando una interconexión </a:t>
            </a:r>
            <a:r>
              <a:rPr lang="es-MX" sz="1400" dirty="0">
                <a:cs typeface="Arial" pitchFamily="34" charset="0"/>
              </a:rPr>
              <a:t>del Sistema Electrónico Aduanero y de los sistemas para expedir el CFDI con CCP.</a:t>
            </a:r>
          </a:p>
        </p:txBody>
      </p:sp>
      <p:sp>
        <p:nvSpPr>
          <p:cNvPr id="15" name="Rectangle: Rounded Corners 14">
            <a:extLst>
              <a:ext uri="{FF2B5EF4-FFF2-40B4-BE49-F238E27FC236}">
                <a16:creationId xmlns:a16="http://schemas.microsoft.com/office/drawing/2014/main" id="{3583511C-BA94-4367-B3E2-7E8ED8ECF53C}"/>
              </a:ext>
            </a:extLst>
          </p:cNvPr>
          <p:cNvSpPr/>
          <p:nvPr/>
        </p:nvSpPr>
        <p:spPr bwMode="gray">
          <a:xfrm>
            <a:off x="6186093" y="1698191"/>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Duplicidad en la información aduanera y del CCP</a:t>
            </a:r>
          </a:p>
        </p:txBody>
      </p:sp>
      <p:sp>
        <p:nvSpPr>
          <p:cNvPr id="16" name="Rectangle: Rounded Corners 15">
            <a:extLst>
              <a:ext uri="{FF2B5EF4-FFF2-40B4-BE49-F238E27FC236}">
                <a16:creationId xmlns:a16="http://schemas.microsoft.com/office/drawing/2014/main" id="{4D3D616C-EF95-4CAA-AEEF-ACE2A91961EB}"/>
              </a:ext>
            </a:extLst>
          </p:cNvPr>
          <p:cNvSpPr/>
          <p:nvPr/>
        </p:nvSpPr>
        <p:spPr bwMode="gray">
          <a:xfrm>
            <a:off x="9049752" y="1699710"/>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No esta previsto las correcciones para efectos del despacho</a:t>
            </a:r>
          </a:p>
        </p:txBody>
      </p:sp>
      <p:sp>
        <p:nvSpPr>
          <p:cNvPr id="23" name="Rectangle 11">
            <a:extLst>
              <a:ext uri="{FF2B5EF4-FFF2-40B4-BE49-F238E27FC236}">
                <a16:creationId xmlns:a16="http://schemas.microsoft.com/office/drawing/2014/main" id="{844174B6-B81B-4928-8433-870918ED5DC9}"/>
              </a:ext>
            </a:extLst>
          </p:cNvPr>
          <p:cNvSpPr>
            <a:spLocks noChangeArrowheads="1"/>
          </p:cNvSpPr>
          <p:nvPr/>
        </p:nvSpPr>
        <p:spPr bwMode="auto">
          <a:xfrm>
            <a:off x="9061195" y="2628397"/>
            <a:ext cx="2660904" cy="3670300"/>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No se está contemplando que sucede en caso de corrección al pedimento declarado en el CFDI con CCP, o la fracción arancelaria, u otro dato aduanero relacionado, ni hay un mecanismo que sea claro, por lo que pudiera ser necesario </a:t>
            </a:r>
            <a:r>
              <a:rPr lang="es-MX" sz="1400" b="1" dirty="0">
                <a:cs typeface="Arial" pitchFamily="34" charset="0"/>
              </a:rPr>
              <a:t>rectificar el pedimento </a:t>
            </a:r>
            <a:r>
              <a:rPr lang="es-MX" sz="1400" dirty="0">
                <a:cs typeface="Arial" pitchFamily="34" charset="0"/>
              </a:rPr>
              <a:t>ante cualquier cambio en información del CCP. </a:t>
            </a:r>
          </a:p>
        </p:txBody>
      </p:sp>
      <p:sp>
        <p:nvSpPr>
          <p:cNvPr id="24" name="Rectangle: Rounded Corners 23">
            <a:extLst>
              <a:ext uri="{FF2B5EF4-FFF2-40B4-BE49-F238E27FC236}">
                <a16:creationId xmlns:a16="http://schemas.microsoft.com/office/drawing/2014/main" id="{C831798A-9D73-478D-A037-3DAAABE4D237}"/>
              </a:ext>
            </a:extLst>
          </p:cNvPr>
          <p:cNvSpPr/>
          <p:nvPr/>
        </p:nvSpPr>
        <p:spPr bwMode="gray">
          <a:xfrm>
            <a:off x="457668" y="1697172"/>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Referencia Cruzada</a:t>
            </a:r>
          </a:p>
        </p:txBody>
      </p:sp>
      <p:sp>
        <p:nvSpPr>
          <p:cNvPr id="25" name="Rectangle 11">
            <a:extLst>
              <a:ext uri="{FF2B5EF4-FFF2-40B4-BE49-F238E27FC236}">
                <a16:creationId xmlns:a16="http://schemas.microsoft.com/office/drawing/2014/main" id="{BFD1A802-0D69-4AE1-A607-D6EA09EB168C}"/>
              </a:ext>
            </a:extLst>
          </p:cNvPr>
          <p:cNvSpPr>
            <a:spLocks noChangeArrowheads="1"/>
          </p:cNvSpPr>
          <p:nvPr/>
        </p:nvSpPr>
        <p:spPr bwMode="auto">
          <a:xfrm>
            <a:off x="447726" y="2626879"/>
            <a:ext cx="2660904" cy="3641346"/>
          </a:xfrm>
          <a:prstGeom prst="rect">
            <a:avLst/>
          </a:prstGeom>
          <a:noFill/>
          <a:ln w="19050" algn="ctr">
            <a:solidFill>
              <a:schemeClr val="accent3"/>
            </a:solidFill>
            <a:miter lim="800000"/>
            <a:headEnd/>
            <a:tailEnd/>
          </a:ln>
        </p:spPr>
        <p:txBody>
          <a:bodyPr lIns="88900" tIns="91440" rIns="88900" bIns="88900" anchor="t" anchorCtr="0"/>
          <a:lstStyle/>
          <a:p>
            <a:pPr defTabSz="957263">
              <a:spcBef>
                <a:spcPts val="200"/>
              </a:spcBef>
              <a:spcAft>
                <a:spcPts val="300"/>
              </a:spcAft>
            </a:pPr>
            <a:r>
              <a:rPr lang="es-MX" sz="1400" b="1" dirty="0">
                <a:cs typeface="Arial" pitchFamily="34" charset="0"/>
              </a:rPr>
              <a:t>El pedimento de </a:t>
            </a:r>
            <a:r>
              <a:rPr lang="es-MX" sz="1400" dirty="0">
                <a:cs typeface="Arial" pitchFamily="34" charset="0"/>
              </a:rPr>
              <a:t>importación o exportación</a:t>
            </a:r>
            <a:r>
              <a:rPr lang="es-MX" sz="1400" b="1" dirty="0">
                <a:cs typeface="Arial" pitchFamily="34" charset="0"/>
              </a:rPr>
              <a:t>, requiere para su elaboración el folio Fiscal</a:t>
            </a:r>
            <a:r>
              <a:rPr lang="es-MX" sz="1400" dirty="0">
                <a:cs typeface="Arial" pitchFamily="34" charset="0"/>
              </a:rPr>
              <a:t> del CFDI con complemento carta porte para su elaboración </a:t>
            </a:r>
            <a:r>
              <a:rPr lang="es-MX" sz="1400" b="1" dirty="0">
                <a:cs typeface="Arial" pitchFamily="34" charset="0"/>
              </a:rPr>
              <a:t>y</a:t>
            </a:r>
            <a:r>
              <a:rPr lang="es-MX" sz="1400" dirty="0">
                <a:cs typeface="Arial" pitchFamily="34" charset="0"/>
              </a:rPr>
              <a:t> el CFDI requiere declarar en </a:t>
            </a:r>
            <a:r>
              <a:rPr lang="es-MX" sz="1400" b="1" dirty="0">
                <a:cs typeface="Arial" pitchFamily="34" charset="0"/>
              </a:rPr>
              <a:t>el CCP el número de Pedimento.</a:t>
            </a:r>
          </a:p>
        </p:txBody>
      </p:sp>
      <p:sp>
        <p:nvSpPr>
          <p:cNvPr id="27" name="Rectangle 26">
            <a:extLst>
              <a:ext uri="{FF2B5EF4-FFF2-40B4-BE49-F238E27FC236}">
                <a16:creationId xmlns:a16="http://schemas.microsoft.com/office/drawing/2014/main" id="{158881E7-3FC0-406F-9A33-8C09E9A759EF}"/>
              </a:ext>
            </a:extLst>
          </p:cNvPr>
          <p:cNvSpPr/>
          <p:nvPr/>
        </p:nvSpPr>
        <p:spPr bwMode="gray">
          <a:xfrm>
            <a:off x="161692" y="642310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8" name="Rectangle 27">
            <a:extLst>
              <a:ext uri="{FF2B5EF4-FFF2-40B4-BE49-F238E27FC236}">
                <a16:creationId xmlns:a16="http://schemas.microsoft.com/office/drawing/2014/main" id="{DF68668F-1246-4456-A56C-DA91F395093C}"/>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56696531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ext Placeholder 43"/>
          <p:cNvSpPr txBox="1">
            <a:spLocks/>
          </p:cNvSpPr>
          <p:nvPr/>
        </p:nvSpPr>
        <p:spPr>
          <a:xfrm>
            <a:off x="487650" y="559303"/>
            <a:ext cx="11188700" cy="41097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800" b="0" kern="1200">
                <a:solidFill>
                  <a:srgbClr val="575757"/>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s-MX" dirty="0">
              <a:latin typeface="Calibri Light" panose="020F0302020204030204" pitchFamily="34" charset="0"/>
            </a:endParaRPr>
          </a:p>
        </p:txBody>
      </p:sp>
      <p:sp>
        <p:nvSpPr>
          <p:cNvPr id="96" name="Title 1"/>
          <p:cNvSpPr txBox="1">
            <a:spLocks/>
          </p:cNvSpPr>
          <p:nvPr/>
        </p:nvSpPr>
        <p:spPr bwMode="gray">
          <a:xfrm>
            <a:off x="501650" y="317501"/>
            <a:ext cx="11188700" cy="36125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s-MX" sz="2100" b="0" i="0" u="none" strike="noStrike" kern="1200" cap="none" spc="0" normalizeH="0" baseline="0" noProof="0" dirty="0">
              <a:ln>
                <a:noFill/>
              </a:ln>
              <a:solidFill>
                <a:sysClr val="windowText" lastClr="000000"/>
              </a:solidFill>
              <a:effectLst/>
              <a:uLnTx/>
              <a:uFillTx/>
              <a:latin typeface="Calibri"/>
              <a:ea typeface="+mj-ea"/>
              <a:cs typeface="Calibri Light" panose="020F0302020204030204" pitchFamily="34" charset="0"/>
            </a:endParaRPr>
          </a:p>
        </p:txBody>
      </p:sp>
      <p:sp>
        <p:nvSpPr>
          <p:cNvPr id="5" name="Text Placeholder 4">
            <a:extLst>
              <a:ext uri="{FF2B5EF4-FFF2-40B4-BE49-F238E27FC236}">
                <a16:creationId xmlns:a16="http://schemas.microsoft.com/office/drawing/2014/main" id="{D1BFC2BB-15AD-4286-8C4A-FEE4B93A5517}"/>
              </a:ext>
            </a:extLst>
          </p:cNvPr>
          <p:cNvSpPr>
            <a:spLocks noGrp="1"/>
          </p:cNvSpPr>
          <p:nvPr>
            <p:ph type="body" sz="quarter" idx="13"/>
          </p:nvPr>
        </p:nvSpPr>
        <p:spPr/>
        <p:txBody>
          <a:bodyPr/>
          <a:lstStyle/>
          <a:p>
            <a:r>
              <a:rPr lang="es-MX" dirty="0">
                <a:latin typeface="Verdana" panose="020B0604030504040204" pitchFamily="34" charset="0"/>
                <a:ea typeface="Verdana" panose="020B0604030504040204" pitchFamily="34" charset="0"/>
              </a:rPr>
              <a:t>Problemáticas Aduaneras</a:t>
            </a:r>
          </a:p>
        </p:txBody>
      </p:sp>
      <p:sp>
        <p:nvSpPr>
          <p:cNvPr id="2" name="Title 1">
            <a:extLst>
              <a:ext uri="{FF2B5EF4-FFF2-40B4-BE49-F238E27FC236}">
                <a16:creationId xmlns:a16="http://schemas.microsoft.com/office/drawing/2014/main" id="{1FC574F7-2B29-4B7F-BD42-7720397BDB94}"/>
              </a:ext>
            </a:extLst>
          </p:cNvPr>
          <p:cNvSpPr>
            <a:spLocks noGrp="1"/>
          </p:cNvSpPr>
          <p:nvPr>
            <p:ph type="title"/>
          </p:nvPr>
        </p:nvSpPr>
        <p:spPr>
          <a:xfrm>
            <a:off x="501650" y="317500"/>
            <a:ext cx="11188700" cy="203081"/>
          </a:xfrm>
        </p:spPr>
        <p:txBody>
          <a:bodyPr/>
          <a:lstStyle/>
          <a:p>
            <a:r>
              <a:rPr lang="es-MX" sz="1800" b="1" dirty="0">
                <a:latin typeface="Verdana" panose="020B0604030504040204" pitchFamily="34" charset="0"/>
                <a:ea typeface="Verdana" panose="020B0604030504040204" pitchFamily="34" charset="0"/>
                <a:cs typeface="+mj-cs"/>
              </a:rPr>
              <a:t>Complemento Carta Porte del CFDI</a:t>
            </a:r>
            <a:br>
              <a:rPr lang="es-MX" dirty="0"/>
            </a:br>
            <a:endParaRPr lang="en-US" dirty="0"/>
          </a:p>
        </p:txBody>
      </p:sp>
      <p:sp>
        <p:nvSpPr>
          <p:cNvPr id="17" name="Rectangle: Rounded Corners 16">
            <a:extLst>
              <a:ext uri="{FF2B5EF4-FFF2-40B4-BE49-F238E27FC236}">
                <a16:creationId xmlns:a16="http://schemas.microsoft.com/office/drawing/2014/main" id="{45067AF4-5D30-4B25-81A7-BD96B48444CA}"/>
              </a:ext>
            </a:extLst>
          </p:cNvPr>
          <p:cNvSpPr/>
          <p:nvPr/>
        </p:nvSpPr>
        <p:spPr bwMode="gray">
          <a:xfrm>
            <a:off x="6196430" y="1700213"/>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Particularidades por cada régimen aduanero sin reglas de operación</a:t>
            </a:r>
          </a:p>
        </p:txBody>
      </p:sp>
      <p:sp>
        <p:nvSpPr>
          <p:cNvPr id="18" name="Rectangle: Rounded Corners 17">
            <a:extLst>
              <a:ext uri="{FF2B5EF4-FFF2-40B4-BE49-F238E27FC236}">
                <a16:creationId xmlns:a16="http://schemas.microsoft.com/office/drawing/2014/main" id="{9BEEBEBD-77F6-4E7F-943C-80B8014654DE}"/>
              </a:ext>
            </a:extLst>
          </p:cNvPr>
          <p:cNvSpPr/>
          <p:nvPr/>
        </p:nvSpPr>
        <p:spPr bwMode="gray">
          <a:xfrm>
            <a:off x="9059694" y="1700213"/>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Clasificación arancelaria y clasificación en catalogo de productos CCP </a:t>
            </a:r>
          </a:p>
        </p:txBody>
      </p:sp>
      <p:sp>
        <p:nvSpPr>
          <p:cNvPr id="20" name="Rectangle 11">
            <a:extLst>
              <a:ext uri="{FF2B5EF4-FFF2-40B4-BE49-F238E27FC236}">
                <a16:creationId xmlns:a16="http://schemas.microsoft.com/office/drawing/2014/main" id="{64565A14-6632-46B8-A897-58705186BC76}"/>
              </a:ext>
            </a:extLst>
          </p:cNvPr>
          <p:cNvSpPr>
            <a:spLocks noChangeArrowheads="1"/>
          </p:cNvSpPr>
          <p:nvPr/>
        </p:nvSpPr>
        <p:spPr bwMode="auto">
          <a:xfrm>
            <a:off x="6186487" y="2628899"/>
            <a:ext cx="2660904" cy="3763445"/>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No se contemplan las particularidades que tiene  cada régimen aduanero, en donde hay regímenes </a:t>
            </a:r>
            <a:r>
              <a:rPr lang="es-MX" sz="1400" b="1" dirty="0">
                <a:cs typeface="Arial" pitchFamily="34" charset="0"/>
              </a:rPr>
              <a:t>que no pasan por el mecanismo de selección </a:t>
            </a:r>
            <a:r>
              <a:rPr lang="es-MX" sz="1400" dirty="0">
                <a:cs typeface="Arial" pitchFamily="34" charset="0"/>
              </a:rPr>
              <a:t>automáticas, como lo son </a:t>
            </a:r>
            <a:r>
              <a:rPr lang="es-MX" sz="1400" b="1" dirty="0">
                <a:cs typeface="Arial" pitchFamily="34" charset="0"/>
              </a:rPr>
              <a:t>los pedimentos virtuales, </a:t>
            </a:r>
            <a:r>
              <a:rPr lang="es-MX" sz="1400" dirty="0">
                <a:cs typeface="Arial" pitchFamily="34" charset="0"/>
              </a:rPr>
              <a:t>o se encuentran regulados a través de rutas fiscales con limitantes de tiempo como el transito internacional e interno, </a:t>
            </a:r>
            <a:r>
              <a:rPr lang="es-MX" sz="1400" b="1" dirty="0">
                <a:cs typeface="Arial" pitchFamily="34" charset="0"/>
              </a:rPr>
              <a:t>operaciones consolidadas, procedimientos simplificados, importaciones temporales, deposito fiscal, recinto fiscalizado</a:t>
            </a:r>
            <a:r>
              <a:rPr lang="es-MX" sz="1400" dirty="0">
                <a:cs typeface="Arial" pitchFamily="34" charset="0"/>
              </a:rPr>
              <a:t>, ente otros.</a:t>
            </a:r>
          </a:p>
        </p:txBody>
      </p:sp>
      <p:sp>
        <p:nvSpPr>
          <p:cNvPr id="21" name="Rectangle 11">
            <a:extLst>
              <a:ext uri="{FF2B5EF4-FFF2-40B4-BE49-F238E27FC236}">
                <a16:creationId xmlns:a16="http://schemas.microsoft.com/office/drawing/2014/main" id="{418951CC-E12C-4536-898A-791D240BAD39}"/>
              </a:ext>
            </a:extLst>
          </p:cNvPr>
          <p:cNvSpPr>
            <a:spLocks noChangeArrowheads="1"/>
          </p:cNvSpPr>
          <p:nvPr/>
        </p:nvSpPr>
        <p:spPr bwMode="auto">
          <a:xfrm>
            <a:off x="9061195" y="2628900"/>
            <a:ext cx="2660904" cy="3752850"/>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Existen diversas fracciones arancelarias </a:t>
            </a:r>
            <a:r>
              <a:rPr lang="es-MX" sz="1400" b="1" dirty="0">
                <a:cs typeface="Arial" pitchFamily="34" charset="0"/>
              </a:rPr>
              <a:t>genéricas o que  permiten no identificar el producto de manera especifica </a:t>
            </a:r>
            <a:r>
              <a:rPr lang="es-MX" sz="1400" dirty="0">
                <a:cs typeface="Arial" pitchFamily="34" charset="0"/>
              </a:rPr>
              <a:t> como los son aquellas de </a:t>
            </a:r>
            <a:r>
              <a:rPr lang="es-MX" sz="1400" b="1" dirty="0">
                <a:cs typeface="Arial" pitchFamily="34" charset="0"/>
              </a:rPr>
              <a:t>mensajería y paquetería, regla octava, operaciones especiales, muestras, entre otros; </a:t>
            </a:r>
            <a:r>
              <a:rPr lang="es-MX" sz="1400" dirty="0">
                <a:cs typeface="Arial" pitchFamily="34" charset="0"/>
              </a:rPr>
              <a:t>y que la clasificación arancelaria puede </a:t>
            </a:r>
            <a:r>
              <a:rPr lang="es-MX" sz="1400" b="1" dirty="0">
                <a:cs typeface="Arial" pitchFamily="34" charset="0"/>
              </a:rPr>
              <a:t>no encuadrarían con el catalogo de productos del CCP </a:t>
            </a:r>
            <a:r>
              <a:rPr lang="es-MX" sz="1400" dirty="0">
                <a:cs typeface="Arial" pitchFamily="34" charset="0"/>
              </a:rPr>
              <a:t>para efectos de identificar las mercancías. Asimismo la clasificación en el catalogo CCP del producto toma tiempo, y puede haber un inventario gigante que clasificar.</a:t>
            </a:r>
          </a:p>
        </p:txBody>
      </p:sp>
      <p:sp>
        <p:nvSpPr>
          <p:cNvPr id="24" name="Rectangle: Rounded Corners 23">
            <a:extLst>
              <a:ext uri="{FF2B5EF4-FFF2-40B4-BE49-F238E27FC236}">
                <a16:creationId xmlns:a16="http://schemas.microsoft.com/office/drawing/2014/main" id="{F8752E44-05C7-46A0-96ED-D442AF8C6538}"/>
              </a:ext>
            </a:extLst>
          </p:cNvPr>
          <p:cNvSpPr/>
          <p:nvPr/>
        </p:nvSpPr>
        <p:spPr bwMode="gray">
          <a:xfrm>
            <a:off x="458457" y="1700213"/>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ts val="1700"/>
              </a:lnSpc>
            </a:pPr>
            <a:r>
              <a:rPr lang="es-MX" sz="1600" b="1" dirty="0">
                <a:solidFill>
                  <a:schemeClr val="bg1"/>
                </a:solidFill>
                <a:cs typeface="Arial" pitchFamily="34" charset="0"/>
              </a:rPr>
              <a:t>Casos Transfer o información que varia</a:t>
            </a:r>
          </a:p>
        </p:txBody>
      </p:sp>
      <p:sp>
        <p:nvSpPr>
          <p:cNvPr id="25" name="Rectangle: Rounded Corners 24">
            <a:extLst>
              <a:ext uri="{FF2B5EF4-FFF2-40B4-BE49-F238E27FC236}">
                <a16:creationId xmlns:a16="http://schemas.microsoft.com/office/drawing/2014/main" id="{D1923D3F-9053-45FB-A48B-49A61F109897}"/>
              </a:ext>
            </a:extLst>
          </p:cNvPr>
          <p:cNvSpPr/>
          <p:nvPr/>
        </p:nvSpPr>
        <p:spPr bwMode="gray">
          <a:xfrm>
            <a:off x="3321722" y="1700213"/>
            <a:ext cx="2662406" cy="797668"/>
          </a:xfrm>
          <a:prstGeom prst="roundRect">
            <a:avLst/>
          </a:prstGeom>
          <a:solidFill>
            <a:schemeClr val="accent3"/>
          </a:solidFill>
          <a:ln w="19050" algn="ctr">
            <a:noFill/>
            <a:miter lim="800000"/>
            <a:headEnd/>
            <a:tailEnd/>
          </a:ln>
        </p:spPr>
        <p:txBody>
          <a:bodyPr wrap="square" lIns="88900" tIns="88900" rIns="88900" bIns="88900" rtlCol="0" anchor="ctr"/>
          <a:lstStyle/>
          <a:p>
            <a:pPr algn="ctr" defTabSz="957263">
              <a:spcBef>
                <a:spcPts val="200"/>
              </a:spcBef>
            </a:pPr>
            <a:r>
              <a:rPr lang="es-MX" sz="1600" b="1" dirty="0">
                <a:solidFill>
                  <a:schemeClr val="bg1"/>
                </a:solidFill>
                <a:cs typeface="Arial" pitchFamily="34" charset="0"/>
              </a:rPr>
              <a:t>Penas excesivas-Contrabando</a:t>
            </a:r>
          </a:p>
        </p:txBody>
      </p:sp>
      <p:sp>
        <p:nvSpPr>
          <p:cNvPr id="26" name="Rectangle 11">
            <a:extLst>
              <a:ext uri="{FF2B5EF4-FFF2-40B4-BE49-F238E27FC236}">
                <a16:creationId xmlns:a16="http://schemas.microsoft.com/office/drawing/2014/main" id="{3810946C-E49F-4EF5-93A1-C04716AE5494}"/>
              </a:ext>
            </a:extLst>
          </p:cNvPr>
          <p:cNvSpPr>
            <a:spLocks noChangeArrowheads="1"/>
          </p:cNvSpPr>
          <p:nvPr/>
        </p:nvSpPr>
        <p:spPr bwMode="auto">
          <a:xfrm>
            <a:off x="469900" y="2628900"/>
            <a:ext cx="2660904" cy="3752850"/>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En el caso de las aduanas fronterizas quien presenta al despacho la mercancía o que la saca de la aduana y la deposita en el patio del transportista, se </a:t>
            </a:r>
            <a:r>
              <a:rPr lang="es-MX" sz="1400" b="1" dirty="0">
                <a:cs typeface="Arial" pitchFamily="34" charset="0"/>
              </a:rPr>
              <a:t>asigna de último minuto y es diferente al que la traslada a su destino. </a:t>
            </a:r>
          </a:p>
        </p:txBody>
      </p:sp>
      <p:sp>
        <p:nvSpPr>
          <p:cNvPr id="27" name="Rectangle 11">
            <a:extLst>
              <a:ext uri="{FF2B5EF4-FFF2-40B4-BE49-F238E27FC236}">
                <a16:creationId xmlns:a16="http://schemas.microsoft.com/office/drawing/2014/main" id="{61D06F57-5F53-49ED-91E9-4E5ED4B8E815}"/>
              </a:ext>
            </a:extLst>
          </p:cNvPr>
          <p:cNvSpPr>
            <a:spLocks noChangeArrowheads="1"/>
          </p:cNvSpPr>
          <p:nvPr/>
        </p:nvSpPr>
        <p:spPr bwMode="auto">
          <a:xfrm>
            <a:off x="3311779" y="2628900"/>
            <a:ext cx="2660904" cy="3752850"/>
          </a:xfrm>
          <a:prstGeom prst="rect">
            <a:avLst/>
          </a:prstGeom>
          <a:noFill/>
          <a:ln w="19050" algn="ctr">
            <a:solidFill>
              <a:schemeClr val="accent3"/>
            </a:solidFill>
            <a:miter lim="800000"/>
            <a:headEnd/>
            <a:tailEnd/>
          </a:ln>
        </p:spPr>
        <p:txBody>
          <a:bodyPr lIns="45720" tIns="91440" rIns="45720" bIns="88900" anchor="t" anchorCtr="0"/>
          <a:lstStyle/>
          <a:p>
            <a:pPr defTabSz="957263">
              <a:spcBef>
                <a:spcPts val="200"/>
              </a:spcBef>
              <a:spcAft>
                <a:spcPts val="300"/>
              </a:spcAft>
            </a:pPr>
            <a:r>
              <a:rPr lang="es-MX" sz="1400" dirty="0">
                <a:cs typeface="Arial" pitchFamily="34" charset="0"/>
              </a:rPr>
              <a:t>La </a:t>
            </a:r>
            <a:r>
              <a:rPr lang="es-MX" sz="1400" b="1" dirty="0">
                <a:cs typeface="Arial" pitchFamily="34" charset="0"/>
              </a:rPr>
              <a:t>penas por no cumplir con la emisión del CFDI con CCP son excesivas especialmente </a:t>
            </a:r>
            <a:r>
              <a:rPr lang="es-MX" sz="1400" dirty="0">
                <a:cs typeface="Arial" pitchFamily="34" charset="0"/>
              </a:rPr>
              <a:t>por como se da la operación y considerando que es una </a:t>
            </a:r>
            <a:r>
              <a:rPr lang="es-MX" sz="1400" b="1" dirty="0">
                <a:cs typeface="Arial" pitchFamily="34" charset="0"/>
              </a:rPr>
              <a:t>responsabilidad compartida </a:t>
            </a:r>
            <a:r>
              <a:rPr lang="es-MX" sz="1400" dirty="0">
                <a:cs typeface="Arial" pitchFamily="34" charset="0"/>
              </a:rPr>
              <a:t>entre el transportista y el propietario de las mercancías; y no es claro tampoco quien sería sujeto de la pena y en que causas, además de que un error involuntario de captura como pudiera ser el pedimento, una ubicación u otro dato relevante dentro del CCP, que implique un contrabando más todas la penas indicadas es excesivo y difícil de atender.</a:t>
            </a:r>
          </a:p>
        </p:txBody>
      </p:sp>
      <p:sp>
        <p:nvSpPr>
          <p:cNvPr id="28" name="Rectangle 27">
            <a:extLst>
              <a:ext uri="{FF2B5EF4-FFF2-40B4-BE49-F238E27FC236}">
                <a16:creationId xmlns:a16="http://schemas.microsoft.com/office/drawing/2014/main" id="{B22C9276-A825-4B6C-98C3-CB1FC87CA9B7}"/>
              </a:ext>
            </a:extLst>
          </p:cNvPr>
          <p:cNvSpPr/>
          <p:nvPr/>
        </p:nvSpPr>
        <p:spPr bwMode="gray">
          <a:xfrm>
            <a:off x="161692" y="642310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9" name="Rectangle 28">
            <a:extLst>
              <a:ext uri="{FF2B5EF4-FFF2-40B4-BE49-F238E27FC236}">
                <a16:creationId xmlns:a16="http://schemas.microsoft.com/office/drawing/2014/main" id="{B1FBB385-AF9E-4101-9840-1A6EE3167B09}"/>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30" name="Rectangle 29">
            <a:extLst>
              <a:ext uri="{FF2B5EF4-FFF2-40B4-BE49-F238E27FC236}">
                <a16:creationId xmlns:a16="http://schemas.microsoft.com/office/drawing/2014/main" id="{87388412-5417-4B3F-9DF2-4F26D818F61A}"/>
              </a:ext>
            </a:extLst>
          </p:cNvPr>
          <p:cNvSpPr/>
          <p:nvPr/>
        </p:nvSpPr>
        <p:spPr bwMode="gray">
          <a:xfrm>
            <a:off x="535104" y="6407725"/>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1" name="Rectangle 30">
            <a:extLst>
              <a:ext uri="{FF2B5EF4-FFF2-40B4-BE49-F238E27FC236}">
                <a16:creationId xmlns:a16="http://schemas.microsoft.com/office/drawing/2014/main" id="{B99656B7-4770-42CF-90DD-136BF09F9B09}"/>
              </a:ext>
            </a:extLst>
          </p:cNvPr>
          <p:cNvSpPr/>
          <p:nvPr/>
        </p:nvSpPr>
        <p:spPr>
          <a:xfrm>
            <a:off x="535103" y="6461482"/>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81636718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74015" y="3811578"/>
            <a:ext cx="11162349" cy="698501"/>
          </a:xfrm>
        </p:spPr>
        <p:txBody>
          <a:bodyPr/>
          <a:lstStyle/>
          <a:p>
            <a:r>
              <a:rPr lang="es-MX" sz="4000" b="1" dirty="0"/>
              <a:t>Manifestación de Valor </a:t>
            </a:r>
            <a:br>
              <a:rPr lang="es-MX" sz="4000" b="1" dirty="0"/>
            </a:br>
            <a:r>
              <a:rPr lang="es-MX" sz="4000" b="1" dirty="0"/>
              <a:t>Electrónica</a:t>
            </a:r>
            <a:br>
              <a:rPr lang="es-MX" dirty="0"/>
            </a:br>
            <a:endParaRPr lang="es-MX" dirty="0"/>
          </a:p>
        </p:txBody>
      </p:sp>
      <p:sp>
        <p:nvSpPr>
          <p:cNvPr id="18" name="TextBox 17"/>
          <p:cNvSpPr txBox="1"/>
          <p:nvPr/>
        </p:nvSpPr>
        <p:spPr>
          <a:xfrm>
            <a:off x="11382377" y="6477000"/>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32</a:t>
            </a:fld>
            <a:endParaRPr kumimoji="0" lang="en-US" sz="9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21" name="Rectangle 20"/>
          <p:cNvSpPr/>
          <p:nvPr/>
        </p:nvSpPr>
        <p:spPr bwMode="gray">
          <a:xfrm>
            <a:off x="8630816" y="6223518"/>
            <a:ext cx="2827176" cy="410547"/>
          </a:xfrm>
          <a:prstGeom prst="rect">
            <a:avLst/>
          </a:prstGeom>
          <a:solidFill>
            <a:schemeClr val="accent6">
              <a:lumMod val="7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7" name="TextBox 16"/>
          <p:cNvSpPr txBox="1"/>
          <p:nvPr/>
        </p:nvSpPr>
        <p:spPr>
          <a:xfrm>
            <a:off x="6335184" y="6469257"/>
            <a:ext cx="4896560" cy="41549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15" name="Group 14"/>
          <p:cNvGrpSpPr/>
          <p:nvPr/>
        </p:nvGrpSpPr>
        <p:grpSpPr>
          <a:xfrm>
            <a:off x="7730535" y="2568778"/>
            <a:ext cx="2869723" cy="2869723"/>
            <a:chOff x="-951258" y="1193925"/>
            <a:chExt cx="2857926" cy="2857926"/>
          </a:xfrm>
          <a:solidFill>
            <a:schemeClr val="accent6">
              <a:lumMod val="60000"/>
              <a:lumOff val="40000"/>
              <a:alpha val="69804"/>
            </a:schemeClr>
          </a:solidFill>
        </p:grpSpPr>
        <p:sp>
          <p:nvSpPr>
            <p:cNvPr id="16" name="Oval 15"/>
            <p:cNvSpPr/>
            <p:nvPr/>
          </p:nvSpPr>
          <p:spPr bwMode="gray">
            <a:xfrm>
              <a:off x="-951258" y="1193925"/>
              <a:ext cx="2857926" cy="2857926"/>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0" name="Oval 19"/>
            <p:cNvSpPr/>
            <p:nvPr/>
          </p:nvSpPr>
          <p:spPr bwMode="gray">
            <a:xfrm>
              <a:off x="-847540" y="1297643"/>
              <a:ext cx="2650491" cy="2650491"/>
            </a:xfrm>
            <a:prstGeom prst="ellips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3" name="Oval 22"/>
            <p:cNvSpPr/>
            <p:nvPr/>
          </p:nvSpPr>
          <p:spPr bwMode="gray">
            <a:xfrm>
              <a:off x="-700076" y="1433125"/>
              <a:ext cx="2381102" cy="2381103"/>
            </a:xfrm>
            <a:prstGeom prst="ellipse">
              <a:avLst/>
            </a:prstGeom>
            <a:grpFill/>
            <a:ln w="15875" cmpd="sng" algn="ctr">
              <a:solidFill>
                <a:schemeClr val="bg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Light"/>
                  <a:ea typeface="+mn-ea"/>
                  <a:cs typeface="Arial" pitchFamily="34" charset="0"/>
                </a:rPr>
                <a:t> </a:t>
              </a:r>
            </a:p>
          </p:txBody>
        </p:sp>
      </p:grpSp>
      <p:grpSp>
        <p:nvGrpSpPr>
          <p:cNvPr id="24" name="Group 23"/>
          <p:cNvGrpSpPr/>
          <p:nvPr/>
        </p:nvGrpSpPr>
        <p:grpSpPr>
          <a:xfrm rot="219170">
            <a:off x="7133448" y="1949593"/>
            <a:ext cx="4105581" cy="4076928"/>
            <a:chOff x="3246439" y="2191227"/>
            <a:chExt cx="3028795" cy="3019830"/>
          </a:xfrm>
          <a:solidFill>
            <a:srgbClr val="37C4FF">
              <a:alpha val="50196"/>
            </a:srgbClr>
          </a:solidFill>
        </p:grpSpPr>
        <p:sp>
          <p:nvSpPr>
            <p:cNvPr id="25" name="Block Arc 24"/>
            <p:cNvSpPr/>
            <p:nvPr/>
          </p:nvSpPr>
          <p:spPr>
            <a:xfrm flipV="1">
              <a:off x="3246439" y="2191227"/>
              <a:ext cx="3019828" cy="3019829"/>
            </a:xfrm>
            <a:prstGeom prst="blockArc">
              <a:avLst>
                <a:gd name="adj1" fmla="val 11191580"/>
                <a:gd name="adj2" fmla="val 132976"/>
                <a:gd name="adj3" fmla="val 27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27" name="Block Arc 26"/>
            <p:cNvSpPr/>
            <p:nvPr/>
          </p:nvSpPr>
          <p:spPr>
            <a:xfrm>
              <a:off x="3255405" y="2191228"/>
              <a:ext cx="3019829" cy="3019829"/>
            </a:xfrm>
            <a:prstGeom prst="blockArc">
              <a:avLst>
                <a:gd name="adj1" fmla="val 10803362"/>
                <a:gd name="adj2" fmla="val 21151827"/>
                <a:gd name="adj3" fmla="val 333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Light"/>
                <a:ea typeface="+mn-ea"/>
                <a:cs typeface="+mn-cs"/>
              </a:endParaRPr>
            </a:p>
          </p:txBody>
        </p:sp>
      </p:grpSp>
      <p:sp>
        <p:nvSpPr>
          <p:cNvPr id="28" name="Oval 27"/>
          <p:cNvSpPr/>
          <p:nvPr/>
        </p:nvSpPr>
        <p:spPr bwMode="gray">
          <a:xfrm>
            <a:off x="7496910" y="2347510"/>
            <a:ext cx="3360663" cy="3321092"/>
          </a:xfrm>
          <a:prstGeom prst="ellipse">
            <a:avLst/>
          </a:prstGeom>
          <a:noFill/>
          <a:ln w="19050" cmpd="sng" algn="ctr">
            <a:solidFill>
              <a:schemeClr val="accent6">
                <a:alpha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9" name="Oval 18">
            <a:extLst>
              <a:ext uri="{FF2B5EF4-FFF2-40B4-BE49-F238E27FC236}">
                <a16:creationId xmlns:a16="http://schemas.microsoft.com/office/drawing/2014/main" id="{7A1BE266-FD02-46D3-8B58-A07151EB0F3F}"/>
              </a:ext>
            </a:extLst>
          </p:cNvPr>
          <p:cNvSpPr/>
          <p:nvPr/>
        </p:nvSpPr>
        <p:spPr bwMode="gray">
          <a:xfrm>
            <a:off x="8161379" y="2953831"/>
            <a:ext cx="2131525" cy="2074169"/>
          </a:xfrm>
          <a:prstGeom prst="ellips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0" name="Freeform 13">
            <a:extLst>
              <a:ext uri="{FF2B5EF4-FFF2-40B4-BE49-F238E27FC236}">
                <a16:creationId xmlns:a16="http://schemas.microsoft.com/office/drawing/2014/main" id="{D8D6F038-DDA2-4F6A-B5CC-BF3DDE4C72E8}"/>
              </a:ext>
            </a:extLst>
          </p:cNvPr>
          <p:cNvSpPr>
            <a:spLocks noEditPoints="1"/>
          </p:cNvSpPr>
          <p:nvPr/>
        </p:nvSpPr>
        <p:spPr bwMode="auto">
          <a:xfrm>
            <a:off x="8816561" y="3507305"/>
            <a:ext cx="766255" cy="1026528"/>
          </a:xfrm>
          <a:custGeom>
            <a:avLst/>
            <a:gdLst>
              <a:gd name="T0" fmla="*/ 93 w 146"/>
              <a:gd name="T1" fmla="*/ 167 h 201"/>
              <a:gd name="T2" fmla="*/ 83 w 146"/>
              <a:gd name="T3" fmla="*/ 173 h 201"/>
              <a:gd name="T4" fmla="*/ 82 w 146"/>
              <a:gd name="T5" fmla="*/ 162 h 201"/>
              <a:gd name="T6" fmla="*/ 64 w 146"/>
              <a:gd name="T7" fmla="*/ 162 h 201"/>
              <a:gd name="T8" fmla="*/ 63 w 146"/>
              <a:gd name="T9" fmla="*/ 173 h 201"/>
              <a:gd name="T10" fmla="*/ 53 w 146"/>
              <a:gd name="T11" fmla="*/ 167 h 201"/>
              <a:gd name="T12" fmla="*/ 34 w 146"/>
              <a:gd name="T13" fmla="*/ 161 h 201"/>
              <a:gd name="T14" fmla="*/ 40 w 146"/>
              <a:gd name="T15" fmla="*/ 170 h 201"/>
              <a:gd name="T16" fmla="*/ 29 w 146"/>
              <a:gd name="T17" fmla="*/ 172 h 201"/>
              <a:gd name="T18" fmla="*/ 31 w 146"/>
              <a:gd name="T19" fmla="*/ 161 h 201"/>
              <a:gd name="T20" fmla="*/ 120 w 146"/>
              <a:gd name="T21" fmla="*/ 138 h 201"/>
              <a:gd name="T22" fmla="*/ 116 w 146"/>
              <a:gd name="T23" fmla="*/ 173 h 201"/>
              <a:gd name="T24" fmla="*/ 106 w 146"/>
              <a:gd name="T25" fmla="*/ 167 h 201"/>
              <a:gd name="T26" fmla="*/ 113 w 146"/>
              <a:gd name="T27" fmla="*/ 133 h 201"/>
              <a:gd name="T28" fmla="*/ 93 w 146"/>
              <a:gd name="T29" fmla="*/ 141 h 201"/>
              <a:gd name="T30" fmla="*/ 83 w 146"/>
              <a:gd name="T31" fmla="*/ 147 h 201"/>
              <a:gd name="T32" fmla="*/ 82 w 146"/>
              <a:gd name="T33" fmla="*/ 136 h 201"/>
              <a:gd name="T34" fmla="*/ 64 w 146"/>
              <a:gd name="T35" fmla="*/ 136 h 201"/>
              <a:gd name="T36" fmla="*/ 63 w 146"/>
              <a:gd name="T37" fmla="*/ 147 h 201"/>
              <a:gd name="T38" fmla="*/ 53 w 146"/>
              <a:gd name="T39" fmla="*/ 141 h 201"/>
              <a:gd name="T40" fmla="*/ 34 w 146"/>
              <a:gd name="T41" fmla="*/ 133 h 201"/>
              <a:gd name="T42" fmla="*/ 40 w 146"/>
              <a:gd name="T43" fmla="*/ 143 h 201"/>
              <a:gd name="T44" fmla="*/ 29 w 146"/>
              <a:gd name="T45" fmla="*/ 145 h 201"/>
              <a:gd name="T46" fmla="*/ 31 w 146"/>
              <a:gd name="T47" fmla="*/ 135 h 201"/>
              <a:gd name="T48" fmla="*/ 120 w 146"/>
              <a:gd name="T49" fmla="*/ 112 h 201"/>
              <a:gd name="T50" fmla="*/ 113 w 146"/>
              <a:gd name="T51" fmla="*/ 120 h 201"/>
              <a:gd name="T52" fmla="*/ 107 w 146"/>
              <a:gd name="T53" fmla="*/ 112 h 201"/>
              <a:gd name="T54" fmla="*/ 89 w 146"/>
              <a:gd name="T55" fmla="*/ 108 h 201"/>
              <a:gd name="T56" fmla="*/ 92 w 146"/>
              <a:gd name="T57" fmla="*/ 119 h 201"/>
              <a:gd name="T58" fmla="*/ 80 w 146"/>
              <a:gd name="T59" fmla="*/ 116 h 201"/>
              <a:gd name="T60" fmla="*/ 87 w 146"/>
              <a:gd name="T61" fmla="*/ 107 h 201"/>
              <a:gd name="T62" fmla="*/ 66 w 146"/>
              <a:gd name="T63" fmla="*/ 114 h 201"/>
              <a:gd name="T64" fmla="*/ 57 w 146"/>
              <a:gd name="T65" fmla="*/ 120 h 201"/>
              <a:gd name="T66" fmla="*/ 56 w 146"/>
              <a:gd name="T67" fmla="*/ 109 h 201"/>
              <a:gd name="T68" fmla="*/ 37 w 146"/>
              <a:gd name="T69" fmla="*/ 109 h 201"/>
              <a:gd name="T70" fmla="*/ 36 w 146"/>
              <a:gd name="T71" fmla="*/ 120 h 201"/>
              <a:gd name="T72" fmla="*/ 27 w 146"/>
              <a:gd name="T73" fmla="*/ 114 h 201"/>
              <a:gd name="T74" fmla="*/ 113 w 146"/>
              <a:gd name="T75" fmla="*/ 80 h 201"/>
              <a:gd name="T76" fmla="*/ 120 w 146"/>
              <a:gd name="T77" fmla="*/ 90 h 201"/>
              <a:gd name="T78" fmla="*/ 109 w 146"/>
              <a:gd name="T79" fmla="*/ 92 h 201"/>
              <a:gd name="T80" fmla="*/ 111 w 146"/>
              <a:gd name="T81" fmla="*/ 81 h 201"/>
              <a:gd name="T82" fmla="*/ 93 w 146"/>
              <a:gd name="T83" fmla="*/ 84 h 201"/>
              <a:gd name="T84" fmla="*/ 87 w 146"/>
              <a:gd name="T85" fmla="*/ 93 h 201"/>
              <a:gd name="T86" fmla="*/ 80 w 146"/>
              <a:gd name="T87" fmla="*/ 84 h 201"/>
              <a:gd name="T88" fmla="*/ 63 w 146"/>
              <a:gd name="T89" fmla="*/ 81 h 201"/>
              <a:gd name="T90" fmla="*/ 64 w 146"/>
              <a:gd name="T91" fmla="*/ 92 h 201"/>
              <a:gd name="T92" fmla="*/ 54 w 146"/>
              <a:gd name="T93" fmla="*/ 90 h 201"/>
              <a:gd name="T94" fmla="*/ 59 w 146"/>
              <a:gd name="T95" fmla="*/ 80 h 201"/>
              <a:gd name="T96" fmla="*/ 40 w 146"/>
              <a:gd name="T97" fmla="*/ 87 h 201"/>
              <a:gd name="T98" fmla="*/ 31 w 146"/>
              <a:gd name="T99" fmla="*/ 93 h 201"/>
              <a:gd name="T100" fmla="*/ 29 w 146"/>
              <a:gd name="T101" fmla="*/ 83 h 201"/>
              <a:gd name="T102" fmla="*/ 106 w 146"/>
              <a:gd name="T103" fmla="*/ 54 h 201"/>
              <a:gd name="T104" fmla="*/ 116 w 146"/>
              <a:gd name="T105" fmla="*/ 28 h 201"/>
              <a:gd name="T106" fmla="*/ 120 w 146"/>
              <a:gd name="T107" fmla="*/ 63 h 201"/>
              <a:gd name="T108" fmla="*/ 31 w 146"/>
              <a:gd name="T109" fmla="*/ 67 h 201"/>
              <a:gd name="T110" fmla="*/ 27 w 146"/>
              <a:gd name="T111" fmla="*/ 32 h 201"/>
              <a:gd name="T112" fmla="*/ 13 w 146"/>
              <a:gd name="T113" fmla="*/ 186 h 201"/>
              <a:gd name="T114" fmla="*/ 140 w 146"/>
              <a:gd name="T115" fmla="*/ 0 h 201"/>
              <a:gd name="T116" fmla="*/ 146 w 146"/>
              <a:gd name="T117" fmla="*/ 194 h 201"/>
              <a:gd name="T118" fmla="*/ 7 w 146"/>
              <a:gd name="T119" fmla="*/ 201 h 201"/>
              <a:gd name="T120" fmla="*/ 0 w 146"/>
              <a:gd name="T121" fmla="*/ 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6" h="201">
                <a:moveTo>
                  <a:pt x="87" y="161"/>
                </a:moveTo>
                <a:lnTo>
                  <a:pt x="89" y="161"/>
                </a:lnTo>
                <a:lnTo>
                  <a:pt x="92" y="162"/>
                </a:lnTo>
                <a:lnTo>
                  <a:pt x="93" y="165"/>
                </a:lnTo>
                <a:lnTo>
                  <a:pt x="93" y="167"/>
                </a:lnTo>
                <a:lnTo>
                  <a:pt x="93" y="170"/>
                </a:lnTo>
                <a:lnTo>
                  <a:pt x="92" y="172"/>
                </a:lnTo>
                <a:lnTo>
                  <a:pt x="89" y="173"/>
                </a:lnTo>
                <a:lnTo>
                  <a:pt x="87" y="173"/>
                </a:lnTo>
                <a:lnTo>
                  <a:pt x="83" y="173"/>
                </a:lnTo>
                <a:lnTo>
                  <a:pt x="82" y="172"/>
                </a:lnTo>
                <a:lnTo>
                  <a:pt x="80" y="170"/>
                </a:lnTo>
                <a:lnTo>
                  <a:pt x="80" y="167"/>
                </a:lnTo>
                <a:lnTo>
                  <a:pt x="80" y="165"/>
                </a:lnTo>
                <a:lnTo>
                  <a:pt x="82" y="162"/>
                </a:lnTo>
                <a:lnTo>
                  <a:pt x="83" y="161"/>
                </a:lnTo>
                <a:lnTo>
                  <a:pt x="87" y="161"/>
                </a:lnTo>
                <a:close/>
                <a:moveTo>
                  <a:pt x="59" y="161"/>
                </a:moveTo>
                <a:lnTo>
                  <a:pt x="63" y="161"/>
                </a:lnTo>
                <a:lnTo>
                  <a:pt x="64" y="162"/>
                </a:lnTo>
                <a:lnTo>
                  <a:pt x="66" y="165"/>
                </a:lnTo>
                <a:lnTo>
                  <a:pt x="66" y="167"/>
                </a:lnTo>
                <a:lnTo>
                  <a:pt x="66" y="170"/>
                </a:lnTo>
                <a:lnTo>
                  <a:pt x="64" y="172"/>
                </a:lnTo>
                <a:lnTo>
                  <a:pt x="63" y="173"/>
                </a:lnTo>
                <a:lnTo>
                  <a:pt x="59" y="173"/>
                </a:lnTo>
                <a:lnTo>
                  <a:pt x="57" y="173"/>
                </a:lnTo>
                <a:lnTo>
                  <a:pt x="56" y="172"/>
                </a:lnTo>
                <a:lnTo>
                  <a:pt x="54" y="170"/>
                </a:lnTo>
                <a:lnTo>
                  <a:pt x="53" y="167"/>
                </a:lnTo>
                <a:lnTo>
                  <a:pt x="54" y="165"/>
                </a:lnTo>
                <a:lnTo>
                  <a:pt x="56" y="162"/>
                </a:lnTo>
                <a:lnTo>
                  <a:pt x="57" y="161"/>
                </a:lnTo>
                <a:lnTo>
                  <a:pt x="59" y="161"/>
                </a:lnTo>
                <a:close/>
                <a:moveTo>
                  <a:pt x="34" y="161"/>
                </a:moveTo>
                <a:lnTo>
                  <a:pt x="36" y="161"/>
                </a:lnTo>
                <a:lnTo>
                  <a:pt x="37" y="162"/>
                </a:lnTo>
                <a:lnTo>
                  <a:pt x="40" y="165"/>
                </a:lnTo>
                <a:lnTo>
                  <a:pt x="40" y="167"/>
                </a:lnTo>
                <a:lnTo>
                  <a:pt x="40" y="170"/>
                </a:lnTo>
                <a:lnTo>
                  <a:pt x="37" y="172"/>
                </a:lnTo>
                <a:lnTo>
                  <a:pt x="36" y="173"/>
                </a:lnTo>
                <a:lnTo>
                  <a:pt x="34" y="173"/>
                </a:lnTo>
                <a:lnTo>
                  <a:pt x="31" y="173"/>
                </a:lnTo>
                <a:lnTo>
                  <a:pt x="29" y="172"/>
                </a:lnTo>
                <a:lnTo>
                  <a:pt x="27" y="170"/>
                </a:lnTo>
                <a:lnTo>
                  <a:pt x="27" y="167"/>
                </a:lnTo>
                <a:lnTo>
                  <a:pt x="27" y="165"/>
                </a:lnTo>
                <a:lnTo>
                  <a:pt x="29" y="162"/>
                </a:lnTo>
                <a:lnTo>
                  <a:pt x="31" y="161"/>
                </a:lnTo>
                <a:lnTo>
                  <a:pt x="34" y="161"/>
                </a:lnTo>
                <a:close/>
                <a:moveTo>
                  <a:pt x="113" y="133"/>
                </a:moveTo>
                <a:lnTo>
                  <a:pt x="116" y="135"/>
                </a:lnTo>
                <a:lnTo>
                  <a:pt x="118" y="136"/>
                </a:lnTo>
                <a:lnTo>
                  <a:pt x="120" y="138"/>
                </a:lnTo>
                <a:lnTo>
                  <a:pt x="120" y="141"/>
                </a:lnTo>
                <a:lnTo>
                  <a:pt x="120" y="167"/>
                </a:lnTo>
                <a:lnTo>
                  <a:pt x="120" y="170"/>
                </a:lnTo>
                <a:lnTo>
                  <a:pt x="118" y="172"/>
                </a:lnTo>
                <a:lnTo>
                  <a:pt x="116" y="173"/>
                </a:lnTo>
                <a:lnTo>
                  <a:pt x="113" y="173"/>
                </a:lnTo>
                <a:lnTo>
                  <a:pt x="111" y="173"/>
                </a:lnTo>
                <a:lnTo>
                  <a:pt x="109" y="172"/>
                </a:lnTo>
                <a:lnTo>
                  <a:pt x="107" y="170"/>
                </a:lnTo>
                <a:lnTo>
                  <a:pt x="106" y="167"/>
                </a:lnTo>
                <a:lnTo>
                  <a:pt x="106" y="141"/>
                </a:lnTo>
                <a:lnTo>
                  <a:pt x="107" y="138"/>
                </a:lnTo>
                <a:lnTo>
                  <a:pt x="109" y="136"/>
                </a:lnTo>
                <a:lnTo>
                  <a:pt x="111" y="135"/>
                </a:lnTo>
                <a:lnTo>
                  <a:pt x="113" y="133"/>
                </a:lnTo>
                <a:close/>
                <a:moveTo>
                  <a:pt x="87" y="133"/>
                </a:moveTo>
                <a:lnTo>
                  <a:pt x="89" y="135"/>
                </a:lnTo>
                <a:lnTo>
                  <a:pt x="92" y="136"/>
                </a:lnTo>
                <a:lnTo>
                  <a:pt x="93" y="138"/>
                </a:lnTo>
                <a:lnTo>
                  <a:pt x="93" y="141"/>
                </a:lnTo>
                <a:lnTo>
                  <a:pt x="93" y="143"/>
                </a:lnTo>
                <a:lnTo>
                  <a:pt x="92" y="145"/>
                </a:lnTo>
                <a:lnTo>
                  <a:pt x="89" y="147"/>
                </a:lnTo>
                <a:lnTo>
                  <a:pt x="87" y="147"/>
                </a:lnTo>
                <a:lnTo>
                  <a:pt x="83" y="147"/>
                </a:lnTo>
                <a:lnTo>
                  <a:pt x="82" y="145"/>
                </a:lnTo>
                <a:lnTo>
                  <a:pt x="80" y="143"/>
                </a:lnTo>
                <a:lnTo>
                  <a:pt x="80" y="141"/>
                </a:lnTo>
                <a:lnTo>
                  <a:pt x="80" y="138"/>
                </a:lnTo>
                <a:lnTo>
                  <a:pt x="82" y="136"/>
                </a:lnTo>
                <a:lnTo>
                  <a:pt x="83" y="135"/>
                </a:lnTo>
                <a:lnTo>
                  <a:pt x="87" y="133"/>
                </a:lnTo>
                <a:close/>
                <a:moveTo>
                  <a:pt x="59" y="133"/>
                </a:moveTo>
                <a:lnTo>
                  <a:pt x="63" y="135"/>
                </a:lnTo>
                <a:lnTo>
                  <a:pt x="64" y="136"/>
                </a:lnTo>
                <a:lnTo>
                  <a:pt x="66" y="138"/>
                </a:lnTo>
                <a:lnTo>
                  <a:pt x="66" y="141"/>
                </a:lnTo>
                <a:lnTo>
                  <a:pt x="66" y="143"/>
                </a:lnTo>
                <a:lnTo>
                  <a:pt x="64" y="145"/>
                </a:lnTo>
                <a:lnTo>
                  <a:pt x="63" y="147"/>
                </a:lnTo>
                <a:lnTo>
                  <a:pt x="59" y="147"/>
                </a:lnTo>
                <a:lnTo>
                  <a:pt x="57" y="147"/>
                </a:lnTo>
                <a:lnTo>
                  <a:pt x="56" y="145"/>
                </a:lnTo>
                <a:lnTo>
                  <a:pt x="54" y="143"/>
                </a:lnTo>
                <a:lnTo>
                  <a:pt x="53" y="141"/>
                </a:lnTo>
                <a:lnTo>
                  <a:pt x="54" y="138"/>
                </a:lnTo>
                <a:lnTo>
                  <a:pt x="56" y="136"/>
                </a:lnTo>
                <a:lnTo>
                  <a:pt x="57" y="135"/>
                </a:lnTo>
                <a:lnTo>
                  <a:pt x="59" y="133"/>
                </a:lnTo>
                <a:close/>
                <a:moveTo>
                  <a:pt x="34" y="133"/>
                </a:moveTo>
                <a:lnTo>
                  <a:pt x="36" y="135"/>
                </a:lnTo>
                <a:lnTo>
                  <a:pt x="37" y="136"/>
                </a:lnTo>
                <a:lnTo>
                  <a:pt x="40" y="138"/>
                </a:lnTo>
                <a:lnTo>
                  <a:pt x="40" y="141"/>
                </a:lnTo>
                <a:lnTo>
                  <a:pt x="40" y="143"/>
                </a:lnTo>
                <a:lnTo>
                  <a:pt x="37" y="145"/>
                </a:lnTo>
                <a:lnTo>
                  <a:pt x="36" y="147"/>
                </a:lnTo>
                <a:lnTo>
                  <a:pt x="34" y="147"/>
                </a:lnTo>
                <a:lnTo>
                  <a:pt x="31" y="147"/>
                </a:lnTo>
                <a:lnTo>
                  <a:pt x="29" y="145"/>
                </a:lnTo>
                <a:lnTo>
                  <a:pt x="27" y="143"/>
                </a:lnTo>
                <a:lnTo>
                  <a:pt x="27" y="141"/>
                </a:lnTo>
                <a:lnTo>
                  <a:pt x="27" y="138"/>
                </a:lnTo>
                <a:lnTo>
                  <a:pt x="29" y="136"/>
                </a:lnTo>
                <a:lnTo>
                  <a:pt x="31" y="135"/>
                </a:lnTo>
                <a:lnTo>
                  <a:pt x="34" y="133"/>
                </a:lnTo>
                <a:close/>
                <a:moveTo>
                  <a:pt x="113" y="107"/>
                </a:moveTo>
                <a:lnTo>
                  <a:pt x="116" y="108"/>
                </a:lnTo>
                <a:lnTo>
                  <a:pt x="118" y="109"/>
                </a:lnTo>
                <a:lnTo>
                  <a:pt x="120" y="112"/>
                </a:lnTo>
                <a:lnTo>
                  <a:pt x="120" y="114"/>
                </a:lnTo>
                <a:lnTo>
                  <a:pt x="120" y="116"/>
                </a:lnTo>
                <a:lnTo>
                  <a:pt x="118" y="119"/>
                </a:lnTo>
                <a:lnTo>
                  <a:pt x="116" y="120"/>
                </a:lnTo>
                <a:lnTo>
                  <a:pt x="113" y="120"/>
                </a:lnTo>
                <a:lnTo>
                  <a:pt x="111" y="120"/>
                </a:lnTo>
                <a:lnTo>
                  <a:pt x="109" y="119"/>
                </a:lnTo>
                <a:lnTo>
                  <a:pt x="107" y="116"/>
                </a:lnTo>
                <a:lnTo>
                  <a:pt x="106" y="114"/>
                </a:lnTo>
                <a:lnTo>
                  <a:pt x="107" y="112"/>
                </a:lnTo>
                <a:lnTo>
                  <a:pt x="109" y="109"/>
                </a:lnTo>
                <a:lnTo>
                  <a:pt x="111" y="108"/>
                </a:lnTo>
                <a:lnTo>
                  <a:pt x="113" y="107"/>
                </a:lnTo>
                <a:close/>
                <a:moveTo>
                  <a:pt x="87" y="107"/>
                </a:moveTo>
                <a:lnTo>
                  <a:pt x="89" y="108"/>
                </a:lnTo>
                <a:lnTo>
                  <a:pt x="92" y="109"/>
                </a:lnTo>
                <a:lnTo>
                  <a:pt x="93" y="112"/>
                </a:lnTo>
                <a:lnTo>
                  <a:pt x="93" y="114"/>
                </a:lnTo>
                <a:lnTo>
                  <a:pt x="93" y="116"/>
                </a:lnTo>
                <a:lnTo>
                  <a:pt x="92" y="119"/>
                </a:lnTo>
                <a:lnTo>
                  <a:pt x="89" y="120"/>
                </a:lnTo>
                <a:lnTo>
                  <a:pt x="87" y="120"/>
                </a:lnTo>
                <a:lnTo>
                  <a:pt x="83" y="120"/>
                </a:lnTo>
                <a:lnTo>
                  <a:pt x="82" y="119"/>
                </a:lnTo>
                <a:lnTo>
                  <a:pt x="80" y="116"/>
                </a:lnTo>
                <a:lnTo>
                  <a:pt x="80" y="114"/>
                </a:lnTo>
                <a:lnTo>
                  <a:pt x="80" y="112"/>
                </a:lnTo>
                <a:lnTo>
                  <a:pt x="82" y="109"/>
                </a:lnTo>
                <a:lnTo>
                  <a:pt x="83" y="108"/>
                </a:lnTo>
                <a:lnTo>
                  <a:pt x="87" y="107"/>
                </a:lnTo>
                <a:close/>
                <a:moveTo>
                  <a:pt x="59" y="107"/>
                </a:moveTo>
                <a:lnTo>
                  <a:pt x="63" y="108"/>
                </a:lnTo>
                <a:lnTo>
                  <a:pt x="64" y="109"/>
                </a:lnTo>
                <a:lnTo>
                  <a:pt x="66" y="112"/>
                </a:lnTo>
                <a:lnTo>
                  <a:pt x="66" y="114"/>
                </a:lnTo>
                <a:lnTo>
                  <a:pt x="66" y="116"/>
                </a:lnTo>
                <a:lnTo>
                  <a:pt x="64" y="119"/>
                </a:lnTo>
                <a:lnTo>
                  <a:pt x="63" y="120"/>
                </a:lnTo>
                <a:lnTo>
                  <a:pt x="59" y="120"/>
                </a:lnTo>
                <a:lnTo>
                  <a:pt x="57" y="120"/>
                </a:lnTo>
                <a:lnTo>
                  <a:pt x="56" y="119"/>
                </a:lnTo>
                <a:lnTo>
                  <a:pt x="54" y="116"/>
                </a:lnTo>
                <a:lnTo>
                  <a:pt x="53" y="114"/>
                </a:lnTo>
                <a:lnTo>
                  <a:pt x="54" y="112"/>
                </a:lnTo>
                <a:lnTo>
                  <a:pt x="56" y="109"/>
                </a:lnTo>
                <a:lnTo>
                  <a:pt x="57" y="108"/>
                </a:lnTo>
                <a:lnTo>
                  <a:pt x="59" y="107"/>
                </a:lnTo>
                <a:close/>
                <a:moveTo>
                  <a:pt x="34" y="107"/>
                </a:moveTo>
                <a:lnTo>
                  <a:pt x="36" y="108"/>
                </a:lnTo>
                <a:lnTo>
                  <a:pt x="37" y="109"/>
                </a:lnTo>
                <a:lnTo>
                  <a:pt x="40" y="112"/>
                </a:lnTo>
                <a:lnTo>
                  <a:pt x="40" y="114"/>
                </a:lnTo>
                <a:lnTo>
                  <a:pt x="40" y="116"/>
                </a:lnTo>
                <a:lnTo>
                  <a:pt x="37" y="119"/>
                </a:lnTo>
                <a:lnTo>
                  <a:pt x="36" y="120"/>
                </a:lnTo>
                <a:lnTo>
                  <a:pt x="34" y="120"/>
                </a:lnTo>
                <a:lnTo>
                  <a:pt x="31" y="120"/>
                </a:lnTo>
                <a:lnTo>
                  <a:pt x="29" y="119"/>
                </a:lnTo>
                <a:lnTo>
                  <a:pt x="27" y="116"/>
                </a:lnTo>
                <a:lnTo>
                  <a:pt x="27" y="114"/>
                </a:lnTo>
                <a:lnTo>
                  <a:pt x="27" y="112"/>
                </a:lnTo>
                <a:lnTo>
                  <a:pt x="29" y="109"/>
                </a:lnTo>
                <a:lnTo>
                  <a:pt x="31" y="108"/>
                </a:lnTo>
                <a:lnTo>
                  <a:pt x="34" y="107"/>
                </a:lnTo>
                <a:close/>
                <a:moveTo>
                  <a:pt x="113" y="80"/>
                </a:moveTo>
                <a:lnTo>
                  <a:pt x="116" y="81"/>
                </a:lnTo>
                <a:lnTo>
                  <a:pt x="118" y="83"/>
                </a:lnTo>
                <a:lnTo>
                  <a:pt x="120" y="84"/>
                </a:lnTo>
                <a:lnTo>
                  <a:pt x="120" y="87"/>
                </a:lnTo>
                <a:lnTo>
                  <a:pt x="120" y="90"/>
                </a:lnTo>
                <a:lnTo>
                  <a:pt x="118" y="92"/>
                </a:lnTo>
                <a:lnTo>
                  <a:pt x="116" y="93"/>
                </a:lnTo>
                <a:lnTo>
                  <a:pt x="113" y="93"/>
                </a:lnTo>
                <a:lnTo>
                  <a:pt x="111" y="93"/>
                </a:lnTo>
                <a:lnTo>
                  <a:pt x="109" y="92"/>
                </a:lnTo>
                <a:lnTo>
                  <a:pt x="107" y="90"/>
                </a:lnTo>
                <a:lnTo>
                  <a:pt x="106" y="87"/>
                </a:lnTo>
                <a:lnTo>
                  <a:pt x="107" y="84"/>
                </a:lnTo>
                <a:lnTo>
                  <a:pt x="109" y="83"/>
                </a:lnTo>
                <a:lnTo>
                  <a:pt x="111" y="81"/>
                </a:lnTo>
                <a:lnTo>
                  <a:pt x="113" y="80"/>
                </a:lnTo>
                <a:close/>
                <a:moveTo>
                  <a:pt x="87" y="80"/>
                </a:moveTo>
                <a:lnTo>
                  <a:pt x="89" y="81"/>
                </a:lnTo>
                <a:lnTo>
                  <a:pt x="92" y="83"/>
                </a:lnTo>
                <a:lnTo>
                  <a:pt x="93" y="84"/>
                </a:lnTo>
                <a:lnTo>
                  <a:pt x="93" y="87"/>
                </a:lnTo>
                <a:lnTo>
                  <a:pt x="93" y="90"/>
                </a:lnTo>
                <a:lnTo>
                  <a:pt x="92" y="92"/>
                </a:lnTo>
                <a:lnTo>
                  <a:pt x="89" y="93"/>
                </a:lnTo>
                <a:lnTo>
                  <a:pt x="87" y="93"/>
                </a:lnTo>
                <a:lnTo>
                  <a:pt x="83" y="93"/>
                </a:lnTo>
                <a:lnTo>
                  <a:pt x="82" y="92"/>
                </a:lnTo>
                <a:lnTo>
                  <a:pt x="80" y="90"/>
                </a:lnTo>
                <a:lnTo>
                  <a:pt x="80" y="87"/>
                </a:lnTo>
                <a:lnTo>
                  <a:pt x="80" y="84"/>
                </a:lnTo>
                <a:lnTo>
                  <a:pt x="82" y="83"/>
                </a:lnTo>
                <a:lnTo>
                  <a:pt x="83" y="81"/>
                </a:lnTo>
                <a:lnTo>
                  <a:pt x="87" y="80"/>
                </a:lnTo>
                <a:close/>
                <a:moveTo>
                  <a:pt x="59" y="80"/>
                </a:moveTo>
                <a:lnTo>
                  <a:pt x="63" y="81"/>
                </a:lnTo>
                <a:lnTo>
                  <a:pt x="64" y="83"/>
                </a:lnTo>
                <a:lnTo>
                  <a:pt x="66" y="84"/>
                </a:lnTo>
                <a:lnTo>
                  <a:pt x="66" y="87"/>
                </a:lnTo>
                <a:lnTo>
                  <a:pt x="66" y="90"/>
                </a:lnTo>
                <a:lnTo>
                  <a:pt x="64" y="92"/>
                </a:lnTo>
                <a:lnTo>
                  <a:pt x="63" y="93"/>
                </a:lnTo>
                <a:lnTo>
                  <a:pt x="59" y="93"/>
                </a:lnTo>
                <a:lnTo>
                  <a:pt x="57" y="93"/>
                </a:lnTo>
                <a:lnTo>
                  <a:pt x="56" y="92"/>
                </a:lnTo>
                <a:lnTo>
                  <a:pt x="54" y="90"/>
                </a:lnTo>
                <a:lnTo>
                  <a:pt x="53" y="87"/>
                </a:lnTo>
                <a:lnTo>
                  <a:pt x="54" y="84"/>
                </a:lnTo>
                <a:lnTo>
                  <a:pt x="56" y="83"/>
                </a:lnTo>
                <a:lnTo>
                  <a:pt x="57" y="81"/>
                </a:lnTo>
                <a:lnTo>
                  <a:pt x="59" y="80"/>
                </a:lnTo>
                <a:close/>
                <a:moveTo>
                  <a:pt x="34" y="80"/>
                </a:moveTo>
                <a:lnTo>
                  <a:pt x="36" y="81"/>
                </a:lnTo>
                <a:lnTo>
                  <a:pt x="37" y="83"/>
                </a:lnTo>
                <a:lnTo>
                  <a:pt x="40" y="84"/>
                </a:lnTo>
                <a:lnTo>
                  <a:pt x="40" y="87"/>
                </a:lnTo>
                <a:lnTo>
                  <a:pt x="40" y="90"/>
                </a:lnTo>
                <a:lnTo>
                  <a:pt x="37" y="92"/>
                </a:lnTo>
                <a:lnTo>
                  <a:pt x="36" y="93"/>
                </a:lnTo>
                <a:lnTo>
                  <a:pt x="34" y="93"/>
                </a:lnTo>
                <a:lnTo>
                  <a:pt x="31" y="93"/>
                </a:lnTo>
                <a:lnTo>
                  <a:pt x="29" y="92"/>
                </a:lnTo>
                <a:lnTo>
                  <a:pt x="27" y="90"/>
                </a:lnTo>
                <a:lnTo>
                  <a:pt x="27" y="87"/>
                </a:lnTo>
                <a:lnTo>
                  <a:pt x="27" y="84"/>
                </a:lnTo>
                <a:lnTo>
                  <a:pt x="29" y="83"/>
                </a:lnTo>
                <a:lnTo>
                  <a:pt x="31" y="81"/>
                </a:lnTo>
                <a:lnTo>
                  <a:pt x="34" y="80"/>
                </a:lnTo>
                <a:close/>
                <a:moveTo>
                  <a:pt x="40" y="40"/>
                </a:moveTo>
                <a:lnTo>
                  <a:pt x="40" y="54"/>
                </a:lnTo>
                <a:lnTo>
                  <a:pt x="106" y="54"/>
                </a:lnTo>
                <a:lnTo>
                  <a:pt x="106" y="40"/>
                </a:lnTo>
                <a:lnTo>
                  <a:pt x="40" y="40"/>
                </a:lnTo>
                <a:close/>
                <a:moveTo>
                  <a:pt x="34" y="27"/>
                </a:moveTo>
                <a:lnTo>
                  <a:pt x="113" y="27"/>
                </a:lnTo>
                <a:lnTo>
                  <a:pt x="116" y="28"/>
                </a:lnTo>
                <a:lnTo>
                  <a:pt x="118" y="29"/>
                </a:lnTo>
                <a:lnTo>
                  <a:pt x="120" y="32"/>
                </a:lnTo>
                <a:lnTo>
                  <a:pt x="120" y="34"/>
                </a:lnTo>
                <a:lnTo>
                  <a:pt x="120" y="61"/>
                </a:lnTo>
                <a:lnTo>
                  <a:pt x="120" y="63"/>
                </a:lnTo>
                <a:lnTo>
                  <a:pt x="118" y="66"/>
                </a:lnTo>
                <a:lnTo>
                  <a:pt x="116" y="67"/>
                </a:lnTo>
                <a:lnTo>
                  <a:pt x="113" y="67"/>
                </a:lnTo>
                <a:lnTo>
                  <a:pt x="34" y="67"/>
                </a:lnTo>
                <a:lnTo>
                  <a:pt x="31" y="67"/>
                </a:lnTo>
                <a:lnTo>
                  <a:pt x="29" y="66"/>
                </a:lnTo>
                <a:lnTo>
                  <a:pt x="27" y="63"/>
                </a:lnTo>
                <a:lnTo>
                  <a:pt x="27" y="61"/>
                </a:lnTo>
                <a:lnTo>
                  <a:pt x="27" y="34"/>
                </a:lnTo>
                <a:lnTo>
                  <a:pt x="27" y="32"/>
                </a:lnTo>
                <a:lnTo>
                  <a:pt x="29" y="29"/>
                </a:lnTo>
                <a:lnTo>
                  <a:pt x="31" y="28"/>
                </a:lnTo>
                <a:lnTo>
                  <a:pt x="34" y="27"/>
                </a:lnTo>
                <a:close/>
                <a:moveTo>
                  <a:pt x="13" y="14"/>
                </a:moveTo>
                <a:lnTo>
                  <a:pt x="13" y="186"/>
                </a:lnTo>
                <a:lnTo>
                  <a:pt x="133" y="186"/>
                </a:lnTo>
                <a:lnTo>
                  <a:pt x="133" y="14"/>
                </a:lnTo>
                <a:lnTo>
                  <a:pt x="13" y="14"/>
                </a:lnTo>
                <a:close/>
                <a:moveTo>
                  <a:pt x="7" y="0"/>
                </a:moveTo>
                <a:lnTo>
                  <a:pt x="140" y="0"/>
                </a:lnTo>
                <a:lnTo>
                  <a:pt x="142" y="2"/>
                </a:lnTo>
                <a:lnTo>
                  <a:pt x="145" y="3"/>
                </a:lnTo>
                <a:lnTo>
                  <a:pt x="146" y="4"/>
                </a:lnTo>
                <a:lnTo>
                  <a:pt x="146" y="8"/>
                </a:lnTo>
                <a:lnTo>
                  <a:pt x="146" y="194"/>
                </a:lnTo>
                <a:lnTo>
                  <a:pt x="146" y="196"/>
                </a:lnTo>
                <a:lnTo>
                  <a:pt x="145" y="199"/>
                </a:lnTo>
                <a:lnTo>
                  <a:pt x="142" y="200"/>
                </a:lnTo>
                <a:lnTo>
                  <a:pt x="140" y="201"/>
                </a:lnTo>
                <a:lnTo>
                  <a:pt x="7" y="201"/>
                </a:lnTo>
                <a:lnTo>
                  <a:pt x="4" y="200"/>
                </a:lnTo>
                <a:lnTo>
                  <a:pt x="2" y="199"/>
                </a:lnTo>
                <a:lnTo>
                  <a:pt x="0" y="196"/>
                </a:lnTo>
                <a:lnTo>
                  <a:pt x="0" y="194"/>
                </a:lnTo>
                <a:lnTo>
                  <a:pt x="0" y="8"/>
                </a:lnTo>
                <a:lnTo>
                  <a:pt x="0" y="4"/>
                </a:lnTo>
                <a:lnTo>
                  <a:pt x="2" y="3"/>
                </a:lnTo>
                <a:lnTo>
                  <a:pt x="4" y="2"/>
                </a:lnTo>
                <a:lnTo>
                  <a:pt x="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31" name="Freeform 14">
            <a:extLst>
              <a:ext uri="{FF2B5EF4-FFF2-40B4-BE49-F238E27FC236}">
                <a16:creationId xmlns:a16="http://schemas.microsoft.com/office/drawing/2014/main" id="{D199BB1D-8565-4771-867C-CB80E4BC2417}"/>
              </a:ext>
            </a:extLst>
          </p:cNvPr>
          <p:cNvSpPr>
            <a:spLocks noEditPoints="1"/>
          </p:cNvSpPr>
          <p:nvPr/>
        </p:nvSpPr>
        <p:spPr bwMode="auto">
          <a:xfrm>
            <a:off x="8266777" y="3064870"/>
            <a:ext cx="1920727" cy="1902467"/>
          </a:xfrm>
          <a:custGeom>
            <a:avLst/>
            <a:gdLst>
              <a:gd name="T0" fmla="*/ 131 w 319"/>
              <a:gd name="T1" fmla="*/ 16 h 319"/>
              <a:gd name="T2" fmla="*/ 78 w 319"/>
              <a:gd name="T3" fmla="*/ 39 h 319"/>
              <a:gd name="T4" fmla="*/ 38 w 319"/>
              <a:gd name="T5" fmla="*/ 78 h 319"/>
              <a:gd name="T6" fmla="*/ 16 w 319"/>
              <a:gd name="T7" fmla="*/ 131 h 319"/>
              <a:gd name="T8" fmla="*/ 16 w 319"/>
              <a:gd name="T9" fmla="*/ 189 h 319"/>
              <a:gd name="T10" fmla="*/ 38 w 319"/>
              <a:gd name="T11" fmla="*/ 241 h 319"/>
              <a:gd name="T12" fmla="*/ 78 w 319"/>
              <a:gd name="T13" fmla="*/ 280 h 319"/>
              <a:gd name="T14" fmla="*/ 131 w 319"/>
              <a:gd name="T15" fmla="*/ 302 h 319"/>
              <a:gd name="T16" fmla="*/ 189 w 319"/>
              <a:gd name="T17" fmla="*/ 302 h 319"/>
              <a:gd name="T18" fmla="*/ 242 w 319"/>
              <a:gd name="T19" fmla="*/ 280 h 319"/>
              <a:gd name="T20" fmla="*/ 280 w 319"/>
              <a:gd name="T21" fmla="*/ 241 h 319"/>
              <a:gd name="T22" fmla="*/ 303 w 319"/>
              <a:gd name="T23" fmla="*/ 189 h 319"/>
              <a:gd name="T24" fmla="*/ 303 w 319"/>
              <a:gd name="T25" fmla="*/ 131 h 319"/>
              <a:gd name="T26" fmla="*/ 280 w 319"/>
              <a:gd name="T27" fmla="*/ 78 h 319"/>
              <a:gd name="T28" fmla="*/ 242 w 319"/>
              <a:gd name="T29" fmla="*/ 39 h 319"/>
              <a:gd name="T30" fmla="*/ 189 w 319"/>
              <a:gd name="T31" fmla="*/ 16 h 319"/>
              <a:gd name="T32" fmla="*/ 160 w 319"/>
              <a:gd name="T33" fmla="*/ 0 h 319"/>
              <a:gd name="T34" fmla="*/ 192 w 319"/>
              <a:gd name="T35" fmla="*/ 4 h 319"/>
              <a:gd name="T36" fmla="*/ 249 w 319"/>
              <a:gd name="T37" fmla="*/ 28 h 319"/>
              <a:gd name="T38" fmla="*/ 292 w 319"/>
              <a:gd name="T39" fmla="*/ 70 h 319"/>
              <a:gd name="T40" fmla="*/ 317 w 319"/>
              <a:gd name="T41" fmla="*/ 127 h 319"/>
              <a:gd name="T42" fmla="*/ 319 w 319"/>
              <a:gd name="T43" fmla="*/ 160 h 319"/>
              <a:gd name="T44" fmla="*/ 307 w 319"/>
              <a:gd name="T45" fmla="*/ 221 h 319"/>
              <a:gd name="T46" fmla="*/ 273 w 319"/>
              <a:gd name="T47" fmla="*/ 272 h 319"/>
              <a:gd name="T48" fmla="*/ 222 w 319"/>
              <a:gd name="T49" fmla="*/ 306 h 319"/>
              <a:gd name="T50" fmla="*/ 160 w 319"/>
              <a:gd name="T51" fmla="*/ 319 h 319"/>
              <a:gd name="T52" fmla="*/ 97 w 319"/>
              <a:gd name="T53" fmla="*/ 306 h 319"/>
              <a:gd name="T54" fmla="*/ 46 w 319"/>
              <a:gd name="T55" fmla="*/ 272 h 319"/>
              <a:gd name="T56" fmla="*/ 12 w 319"/>
              <a:gd name="T57" fmla="*/ 221 h 319"/>
              <a:gd name="T58" fmla="*/ 0 w 319"/>
              <a:gd name="T59" fmla="*/ 160 h 319"/>
              <a:gd name="T60" fmla="*/ 3 w 319"/>
              <a:gd name="T61" fmla="*/ 127 h 319"/>
              <a:gd name="T62" fmla="*/ 27 w 319"/>
              <a:gd name="T63" fmla="*/ 70 h 319"/>
              <a:gd name="T64" fmla="*/ 70 w 319"/>
              <a:gd name="T65" fmla="*/ 28 h 319"/>
              <a:gd name="T66" fmla="*/ 127 w 319"/>
              <a:gd name="T67" fmla="*/ 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9" h="319">
                <a:moveTo>
                  <a:pt x="160" y="14"/>
                </a:moveTo>
                <a:lnTo>
                  <a:pt x="131" y="16"/>
                </a:lnTo>
                <a:lnTo>
                  <a:pt x="103" y="26"/>
                </a:lnTo>
                <a:lnTo>
                  <a:pt x="78" y="39"/>
                </a:lnTo>
                <a:lnTo>
                  <a:pt x="56" y="56"/>
                </a:lnTo>
                <a:lnTo>
                  <a:pt x="38" y="78"/>
                </a:lnTo>
                <a:lnTo>
                  <a:pt x="24" y="103"/>
                </a:lnTo>
                <a:lnTo>
                  <a:pt x="16" y="131"/>
                </a:lnTo>
                <a:lnTo>
                  <a:pt x="14" y="160"/>
                </a:lnTo>
                <a:lnTo>
                  <a:pt x="16" y="189"/>
                </a:lnTo>
                <a:lnTo>
                  <a:pt x="24" y="216"/>
                </a:lnTo>
                <a:lnTo>
                  <a:pt x="38" y="241"/>
                </a:lnTo>
                <a:lnTo>
                  <a:pt x="56" y="262"/>
                </a:lnTo>
                <a:lnTo>
                  <a:pt x="78" y="280"/>
                </a:lnTo>
                <a:lnTo>
                  <a:pt x="103" y="294"/>
                </a:lnTo>
                <a:lnTo>
                  <a:pt x="131" y="302"/>
                </a:lnTo>
                <a:lnTo>
                  <a:pt x="160" y="306"/>
                </a:lnTo>
                <a:lnTo>
                  <a:pt x="189" y="302"/>
                </a:lnTo>
                <a:lnTo>
                  <a:pt x="216" y="294"/>
                </a:lnTo>
                <a:lnTo>
                  <a:pt x="242" y="280"/>
                </a:lnTo>
                <a:lnTo>
                  <a:pt x="263" y="262"/>
                </a:lnTo>
                <a:lnTo>
                  <a:pt x="280" y="241"/>
                </a:lnTo>
                <a:lnTo>
                  <a:pt x="295" y="216"/>
                </a:lnTo>
                <a:lnTo>
                  <a:pt x="303" y="189"/>
                </a:lnTo>
                <a:lnTo>
                  <a:pt x="306" y="160"/>
                </a:lnTo>
                <a:lnTo>
                  <a:pt x="303" y="131"/>
                </a:lnTo>
                <a:lnTo>
                  <a:pt x="295" y="103"/>
                </a:lnTo>
                <a:lnTo>
                  <a:pt x="280" y="78"/>
                </a:lnTo>
                <a:lnTo>
                  <a:pt x="263" y="56"/>
                </a:lnTo>
                <a:lnTo>
                  <a:pt x="242" y="39"/>
                </a:lnTo>
                <a:lnTo>
                  <a:pt x="216" y="26"/>
                </a:lnTo>
                <a:lnTo>
                  <a:pt x="189" y="16"/>
                </a:lnTo>
                <a:lnTo>
                  <a:pt x="160" y="14"/>
                </a:lnTo>
                <a:close/>
                <a:moveTo>
                  <a:pt x="160" y="0"/>
                </a:moveTo>
                <a:lnTo>
                  <a:pt x="160" y="0"/>
                </a:lnTo>
                <a:lnTo>
                  <a:pt x="192" y="4"/>
                </a:lnTo>
                <a:lnTo>
                  <a:pt x="222" y="12"/>
                </a:lnTo>
                <a:lnTo>
                  <a:pt x="249" y="28"/>
                </a:lnTo>
                <a:lnTo>
                  <a:pt x="273" y="47"/>
                </a:lnTo>
                <a:lnTo>
                  <a:pt x="292" y="70"/>
                </a:lnTo>
                <a:lnTo>
                  <a:pt x="307" y="98"/>
                </a:lnTo>
                <a:lnTo>
                  <a:pt x="317" y="127"/>
                </a:lnTo>
                <a:lnTo>
                  <a:pt x="319" y="160"/>
                </a:lnTo>
                <a:lnTo>
                  <a:pt x="319" y="160"/>
                </a:lnTo>
                <a:lnTo>
                  <a:pt x="317" y="191"/>
                </a:lnTo>
                <a:lnTo>
                  <a:pt x="307" y="221"/>
                </a:lnTo>
                <a:lnTo>
                  <a:pt x="292" y="249"/>
                </a:lnTo>
                <a:lnTo>
                  <a:pt x="273" y="272"/>
                </a:lnTo>
                <a:lnTo>
                  <a:pt x="249" y="291"/>
                </a:lnTo>
                <a:lnTo>
                  <a:pt x="222" y="306"/>
                </a:lnTo>
                <a:lnTo>
                  <a:pt x="192" y="315"/>
                </a:lnTo>
                <a:lnTo>
                  <a:pt x="160" y="319"/>
                </a:lnTo>
                <a:lnTo>
                  <a:pt x="127" y="315"/>
                </a:lnTo>
                <a:lnTo>
                  <a:pt x="97" y="306"/>
                </a:lnTo>
                <a:lnTo>
                  <a:pt x="70" y="291"/>
                </a:lnTo>
                <a:lnTo>
                  <a:pt x="46" y="272"/>
                </a:lnTo>
                <a:lnTo>
                  <a:pt x="27" y="249"/>
                </a:lnTo>
                <a:lnTo>
                  <a:pt x="12" y="221"/>
                </a:lnTo>
                <a:lnTo>
                  <a:pt x="3" y="191"/>
                </a:lnTo>
                <a:lnTo>
                  <a:pt x="0" y="160"/>
                </a:lnTo>
                <a:lnTo>
                  <a:pt x="0" y="160"/>
                </a:lnTo>
                <a:lnTo>
                  <a:pt x="3" y="127"/>
                </a:lnTo>
                <a:lnTo>
                  <a:pt x="12" y="98"/>
                </a:lnTo>
                <a:lnTo>
                  <a:pt x="27" y="70"/>
                </a:lnTo>
                <a:lnTo>
                  <a:pt x="46" y="47"/>
                </a:lnTo>
                <a:lnTo>
                  <a:pt x="70" y="28"/>
                </a:lnTo>
                <a:lnTo>
                  <a:pt x="97" y="12"/>
                </a:lnTo>
                <a:lnTo>
                  <a:pt x="127" y="4"/>
                </a:lnTo>
                <a:lnTo>
                  <a:pt x="1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22598405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4"/>
          <p:cNvSpPr>
            <a:spLocks noGrp="1"/>
          </p:cNvSpPr>
          <p:nvPr>
            <p:ph type="title"/>
          </p:nvPr>
        </p:nvSpPr>
        <p:spPr>
          <a:xfrm>
            <a:off x="469900" y="323389"/>
            <a:ext cx="11188700" cy="698501"/>
          </a:xfrm>
        </p:spPr>
        <p:txBody>
          <a:bodyPr/>
          <a:lstStyle/>
          <a:p>
            <a:r>
              <a:rPr lang="en-US" noProof="0" dirty="0" err="1">
                <a:latin typeface="+mj-lt"/>
              </a:rPr>
              <a:t>Principales</a:t>
            </a:r>
            <a:r>
              <a:rPr lang="en-US" noProof="0" dirty="0">
                <a:latin typeface="+mj-lt"/>
              </a:rPr>
              <a:t> </a:t>
            </a:r>
            <a:r>
              <a:rPr lang="en-US" noProof="0" dirty="0" err="1">
                <a:latin typeface="+mj-lt"/>
              </a:rPr>
              <a:t>Modificaciones</a:t>
            </a:r>
            <a:r>
              <a:rPr lang="en-US" noProof="0" dirty="0">
                <a:latin typeface="+mj-lt"/>
              </a:rPr>
              <a:t> en </a:t>
            </a:r>
            <a:r>
              <a:rPr lang="en-US" noProof="0" dirty="0" err="1">
                <a:latin typeface="+mj-lt"/>
              </a:rPr>
              <a:t>Materia</a:t>
            </a:r>
            <a:r>
              <a:rPr lang="en-US" noProof="0" dirty="0">
                <a:latin typeface="+mj-lt"/>
              </a:rPr>
              <a:t> </a:t>
            </a:r>
            <a:r>
              <a:rPr lang="en-US" noProof="0" dirty="0" err="1">
                <a:latin typeface="+mj-lt"/>
              </a:rPr>
              <a:t>Regulatoria</a:t>
            </a:r>
            <a:br>
              <a:rPr lang="en-US" dirty="0">
                <a:latin typeface="+mj-lt"/>
              </a:rPr>
            </a:br>
            <a:endParaRPr lang="en-US" noProof="0" dirty="0">
              <a:latin typeface="+mj-lt"/>
            </a:endParaRPr>
          </a:p>
        </p:txBody>
      </p:sp>
      <p:sp>
        <p:nvSpPr>
          <p:cNvPr id="62" name="Text Placeholder 5"/>
          <p:cNvSpPr txBox="1">
            <a:spLocks/>
          </p:cNvSpPr>
          <p:nvPr/>
        </p:nvSpPr>
        <p:spPr>
          <a:xfrm>
            <a:off x="501650" y="7151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800" b="0" kern="1200">
                <a:solidFill>
                  <a:srgbClr val="575757"/>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ES_tradnl"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Manifestación de Valor</a:t>
            </a:r>
            <a:endParaRPr kumimoji="0" lang="es-ES_tradnl"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endParaRPr>
          </a:p>
        </p:txBody>
      </p:sp>
      <p:sp>
        <p:nvSpPr>
          <p:cNvPr id="63" name="Pentagon 62">
            <a:extLst>
              <a:ext uri="{FF2B5EF4-FFF2-40B4-BE49-F238E27FC236}">
                <a16:creationId xmlns:a16="http://schemas.microsoft.com/office/drawing/2014/main" id="{FD1018F8-194F-4D42-91AB-2023A37C1C8C}"/>
              </a:ext>
            </a:extLst>
          </p:cNvPr>
          <p:cNvSpPr/>
          <p:nvPr/>
        </p:nvSpPr>
        <p:spPr>
          <a:xfrm flipH="1">
            <a:off x="9990693" y="686572"/>
            <a:ext cx="2209013" cy="520526"/>
          </a:xfrm>
          <a:prstGeom prst="homePlate">
            <a:avLst/>
          </a:prstGeom>
          <a:solidFill>
            <a:srgbClr val="86BC25"/>
          </a:solidFill>
          <a:ln w="6350" cap="flat" cmpd="sng" algn="ctr">
            <a:noFill/>
            <a:prstDash val="solid"/>
          </a:ln>
          <a:effectLst/>
        </p:spPr>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300" b="1" i="0" u="none" strike="noStrike" kern="0" cap="none" spc="0" normalizeH="0" baseline="0" noProof="0" dirty="0">
                <a:ln>
                  <a:noFill/>
                </a:ln>
                <a:solidFill>
                  <a:prstClr val="white"/>
                </a:solidFill>
                <a:effectLst/>
                <a:uLnTx/>
                <a:uFillTx/>
                <a:latin typeface="Calibri"/>
                <a:ea typeface="+mn-ea"/>
                <a:cs typeface="+mn-cs"/>
              </a:rPr>
              <a:t>Regla 1.5.1 RGCE 2020</a:t>
            </a:r>
          </a:p>
        </p:txBody>
      </p:sp>
      <p:sp>
        <p:nvSpPr>
          <p:cNvPr id="56" name="Content Placeholder 6"/>
          <p:cNvSpPr txBox="1">
            <a:spLocks/>
          </p:cNvSpPr>
          <p:nvPr/>
        </p:nvSpPr>
        <p:spPr>
          <a:xfrm>
            <a:off x="512160" y="1385073"/>
            <a:ext cx="11178190" cy="4351338"/>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3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Se establece que la Manifestación de Valor, </a:t>
            </a:r>
            <a:r>
              <a:rPr kumimoji="0" lang="es-MX" sz="13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se deberá transmitir a través de VUCEM</a:t>
            </a:r>
            <a:r>
              <a:rPr kumimoji="0" lang="es-MX" sz="13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siendo necesario adjuntar los documentos a que se refieren las instrucciones del formato "Manifestación de Valor“.</a:t>
            </a:r>
          </a:p>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6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endParaRPr>
          </a:p>
        </p:txBody>
      </p:sp>
      <p:sp>
        <p:nvSpPr>
          <p:cNvPr id="57" name="Text Placeholder 3">
            <a:extLst>
              <a:ext uri="{FF2B5EF4-FFF2-40B4-BE49-F238E27FC236}">
                <a16:creationId xmlns:a16="http://schemas.microsoft.com/office/drawing/2014/main" id="{1CC600D2-1B61-42B8-A53D-A0A30767A817}"/>
              </a:ext>
            </a:extLst>
          </p:cNvPr>
          <p:cNvSpPr txBox="1">
            <a:spLocks/>
          </p:cNvSpPr>
          <p:nvPr/>
        </p:nvSpPr>
        <p:spPr bwMode="gray">
          <a:xfrm>
            <a:off x="8247548" y="3547312"/>
            <a:ext cx="2873582" cy="2652695"/>
          </a:xfrm>
          <a:prstGeom prst="rect">
            <a:avLst/>
          </a:prstGeom>
          <a:ln>
            <a:noFill/>
          </a:ln>
        </p:spPr>
        <p:txBody>
          <a:bodyPr vert="horz" wrap="square" lIns="0" tIns="783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n-US" sz="1400" b="1" i="0" u="none" strike="noStrike" kern="0" cap="none" spc="0" normalizeH="0" baseline="0" noProof="0" dirty="0">
                <a:ln>
                  <a:noFill/>
                </a:ln>
                <a:solidFill>
                  <a:srgbClr val="E7E6E6">
                    <a:lumMod val="50000"/>
                  </a:srgbClr>
                </a:solidFill>
                <a:effectLst/>
                <a:uLnTx/>
                <a:uFillTx/>
                <a:latin typeface="Calibri"/>
                <a:ea typeface="+mn-ea"/>
                <a:cs typeface="+mn-cs"/>
              </a:rPr>
              <a:t>1.5.1 RGCE para 2020</a:t>
            </a:r>
          </a:p>
          <a:p>
            <a:pPr marL="0" marR="0" lvl="1" indent="0" algn="ctr" defTabSz="685783" rtl="0" eaLnBrk="1" fontAlgn="auto" latinLnBrk="0" hangingPunct="1">
              <a:lnSpc>
                <a:spcPct val="100000"/>
              </a:lnSpc>
              <a:spcBef>
                <a:spcPts val="900"/>
              </a:spcBef>
              <a:spcAft>
                <a:spcPts val="0"/>
              </a:spcAft>
              <a:buClrTx/>
              <a:buSzPct val="100000"/>
              <a:buFontTx/>
              <a:buNone/>
              <a:tabLst/>
              <a:defRPr/>
            </a:pPr>
            <a:endParaRPr kumimoji="0" lang="en-US" sz="1250" b="0" i="0" u="none" strike="noStrike" kern="0" cap="none" spc="0" normalizeH="0" baseline="0" noProof="0" dirty="0">
              <a:ln>
                <a:noFill/>
              </a:ln>
              <a:solidFill>
                <a:srgbClr val="53565A"/>
              </a:solidFill>
              <a:effectLst/>
              <a:uLnTx/>
              <a:uFillTx/>
              <a:latin typeface="Calibri"/>
              <a:ea typeface="+mn-ea"/>
              <a:cs typeface="+mn-cs"/>
            </a:endParaRPr>
          </a:p>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200" b="0" i="0" u="none" strike="noStrike" kern="0" cap="none" spc="0" normalizeH="0" baseline="0" noProof="0" dirty="0">
                <a:ln>
                  <a:noFill/>
                </a:ln>
                <a:solidFill>
                  <a:prstClr val="black"/>
                </a:solidFill>
                <a:effectLst/>
                <a:uLnTx/>
                <a:uFillTx/>
                <a:latin typeface="Calibri"/>
                <a:ea typeface="+mn-ea"/>
                <a:cs typeface="+mn-cs"/>
              </a:rPr>
              <a:t>“El formato denominado "Manifestación de valor" del Anexo 1, se transmitirá (…) conforme a lo siguiente:</a:t>
            </a:r>
          </a:p>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200" b="0" i="0" u="none" strike="noStrike" kern="0" cap="none" spc="0" normalizeH="0" baseline="0" noProof="0" dirty="0">
                <a:ln>
                  <a:noFill/>
                </a:ln>
                <a:solidFill>
                  <a:prstClr val="black"/>
                </a:solidFill>
                <a:effectLst/>
                <a:uLnTx/>
                <a:uFillTx/>
                <a:latin typeface="Calibri"/>
                <a:ea typeface="+mn-ea"/>
                <a:cs typeface="+mn-cs"/>
              </a:rPr>
              <a:t>I. (…) sin tener que adjuntar los documentos a que se refieren las instrucciones del formato "Manifestación de Valor"”</a:t>
            </a:r>
          </a:p>
        </p:txBody>
      </p:sp>
      <p:sp>
        <p:nvSpPr>
          <p:cNvPr id="58" name="Text Placeholder 3">
            <a:extLst>
              <a:ext uri="{FF2B5EF4-FFF2-40B4-BE49-F238E27FC236}">
                <a16:creationId xmlns:a16="http://schemas.microsoft.com/office/drawing/2014/main" id="{638C9B80-D9F8-4D8D-91B0-36D6AB20E6B8}"/>
              </a:ext>
            </a:extLst>
          </p:cNvPr>
          <p:cNvSpPr txBox="1">
            <a:spLocks/>
          </p:cNvSpPr>
          <p:nvPr/>
        </p:nvSpPr>
        <p:spPr bwMode="gray">
          <a:xfrm>
            <a:off x="1440333" y="3547311"/>
            <a:ext cx="2156220" cy="2721944"/>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6">
                    <a:lumMod val="40000"/>
                    <a:lumOff val="60000"/>
                  </a:schemeClr>
                </a:solidFill>
              </a:defRPr>
            </a:lvl2pPr>
          </a:lstStyle>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400" b="1" i="0" u="none" strike="noStrike" kern="0" cap="none" spc="0" normalizeH="0" baseline="0" noProof="0" dirty="0">
                <a:ln>
                  <a:noFill/>
                </a:ln>
                <a:solidFill>
                  <a:srgbClr val="70AD47">
                    <a:lumMod val="75000"/>
                  </a:srgbClr>
                </a:solidFill>
                <a:effectLst/>
                <a:uLnTx/>
                <a:uFillTx/>
                <a:latin typeface="Calibri"/>
                <a:ea typeface="ヒラギノ角ゴ ProN W3" charset="0"/>
                <a:cs typeface="+mn-cs"/>
                <a:sym typeface="Gotham Book" charset="0"/>
              </a:rPr>
              <a:t>59 fracción III LA</a:t>
            </a:r>
          </a:p>
          <a:p>
            <a:pPr marL="0" marR="0" lvl="1" indent="0" algn="ctr" defTabSz="685783" rtl="0" eaLnBrk="1" fontAlgn="auto" latinLnBrk="0" hangingPunct="1">
              <a:lnSpc>
                <a:spcPct val="100000"/>
              </a:lnSpc>
              <a:spcBef>
                <a:spcPts val="900"/>
              </a:spcBef>
              <a:spcAft>
                <a:spcPts val="0"/>
              </a:spcAft>
              <a:buClrTx/>
              <a:buSzPct val="100000"/>
              <a:buFontTx/>
              <a:buNone/>
              <a:tabLst/>
              <a:defRPr/>
            </a:pPr>
            <a:endParaRPr kumimoji="0" lang="en-US" sz="1250" b="1" i="0" u="none" strike="noStrike" kern="0" cap="none" spc="0" normalizeH="0" baseline="0" noProof="0" dirty="0">
              <a:ln>
                <a:noFill/>
              </a:ln>
              <a:solidFill>
                <a:srgbClr val="046A38"/>
              </a:solidFill>
              <a:effectLst/>
              <a:uLnTx/>
              <a:uFillTx/>
              <a:latin typeface="Calibri"/>
              <a:ea typeface="+mn-ea"/>
              <a:cs typeface="+mn-cs"/>
            </a:endParaRPr>
          </a:p>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200" b="0" i="0" u="none" strike="noStrike" kern="0" cap="none" spc="0" normalizeH="0" baseline="0" noProof="0" dirty="0">
                <a:ln>
                  <a:noFill/>
                </a:ln>
                <a:solidFill>
                  <a:prstClr val="black"/>
                </a:solidFill>
                <a:effectLst/>
                <a:uLnTx/>
                <a:uFillTx/>
                <a:latin typeface="Calibri"/>
                <a:ea typeface="+mn-ea"/>
                <a:cs typeface="+mn-cs"/>
              </a:rPr>
              <a:t>“(…) proporcionar a las autoridades aduaneras una manifestación bajo protesta de decir verdad, con los elementos que,(…) permitan determinar el valor en aduana de las mercancías”</a:t>
            </a:r>
          </a:p>
        </p:txBody>
      </p:sp>
      <p:sp>
        <p:nvSpPr>
          <p:cNvPr id="59" name="Text Placeholder 3">
            <a:extLst>
              <a:ext uri="{FF2B5EF4-FFF2-40B4-BE49-F238E27FC236}">
                <a16:creationId xmlns:a16="http://schemas.microsoft.com/office/drawing/2014/main" id="{27443C9F-6F38-41D1-9AF7-CF5253A53CFD}"/>
              </a:ext>
            </a:extLst>
          </p:cNvPr>
          <p:cNvSpPr txBox="1">
            <a:spLocks/>
          </p:cNvSpPr>
          <p:nvPr/>
        </p:nvSpPr>
        <p:spPr bwMode="gray">
          <a:xfrm>
            <a:off x="3709403" y="3547316"/>
            <a:ext cx="2156220" cy="2537278"/>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400" b="1" i="0" u="none" strike="noStrike" kern="0" cap="none" spc="0" normalizeH="0" baseline="0" noProof="0" dirty="0">
                <a:ln>
                  <a:noFill/>
                </a:ln>
                <a:solidFill>
                  <a:srgbClr val="70AD47"/>
                </a:solidFill>
                <a:effectLst/>
                <a:uLnTx/>
                <a:uFillTx/>
                <a:latin typeface="Calibri"/>
                <a:ea typeface="ヒラギノ角ゴ ProN W3" charset="0"/>
                <a:cs typeface="+mn-cs"/>
                <a:sym typeface="Gotham Book" charset="0"/>
              </a:rPr>
              <a:t>81 RLA</a:t>
            </a:r>
          </a:p>
          <a:p>
            <a:pPr marL="0" marR="0" lvl="1" indent="0" algn="ctr" defTabSz="685783" rtl="0" eaLnBrk="1" fontAlgn="auto" latinLnBrk="0" hangingPunct="1">
              <a:lnSpc>
                <a:spcPct val="100000"/>
              </a:lnSpc>
              <a:spcBef>
                <a:spcPts val="900"/>
              </a:spcBef>
              <a:spcAft>
                <a:spcPts val="0"/>
              </a:spcAft>
              <a:buClrTx/>
              <a:buSzPct val="100000"/>
              <a:buFontTx/>
              <a:buNone/>
              <a:tabLst/>
              <a:defRPr/>
            </a:pPr>
            <a:endParaRPr kumimoji="0" lang="en-US" sz="1250" b="1" i="0" u="none" strike="noStrike" kern="0" cap="none" spc="0" normalizeH="0" baseline="0" noProof="0" dirty="0">
              <a:ln>
                <a:noFill/>
              </a:ln>
              <a:solidFill>
                <a:srgbClr val="007CB0"/>
              </a:solidFill>
              <a:effectLst/>
              <a:uLnTx/>
              <a:uFillTx/>
              <a:latin typeface="Calibri"/>
              <a:ea typeface="+mn-ea"/>
              <a:cs typeface="+mn-cs"/>
            </a:endParaRPr>
          </a:p>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200" b="0" i="0" u="none" strike="noStrike" kern="0" cap="none" spc="0" normalizeH="0" baseline="0" noProof="0" dirty="0">
                <a:ln>
                  <a:noFill/>
                </a:ln>
                <a:solidFill>
                  <a:prstClr val="black"/>
                </a:solidFill>
                <a:effectLst/>
                <a:uLnTx/>
                <a:uFillTx/>
                <a:latin typeface="Calibri"/>
                <a:ea typeface="+mn-ea"/>
                <a:cs typeface="+mn-cs"/>
              </a:rPr>
              <a:t>“(…) los elementos que el importador deberá proporcionar anexo a la manifestación de valor son los siguientes documentos: (Factura comercial, CO, Transporte, entre otros)”</a:t>
            </a:r>
          </a:p>
        </p:txBody>
      </p:sp>
      <p:sp>
        <p:nvSpPr>
          <p:cNvPr id="60" name="Text Placeholder 3">
            <a:extLst>
              <a:ext uri="{FF2B5EF4-FFF2-40B4-BE49-F238E27FC236}">
                <a16:creationId xmlns:a16="http://schemas.microsoft.com/office/drawing/2014/main" id="{F92BC711-077A-4D01-94DA-7128D3D3BB6A}"/>
              </a:ext>
            </a:extLst>
          </p:cNvPr>
          <p:cNvSpPr txBox="1">
            <a:spLocks/>
          </p:cNvSpPr>
          <p:nvPr/>
        </p:nvSpPr>
        <p:spPr bwMode="gray">
          <a:xfrm>
            <a:off x="5978476" y="3547314"/>
            <a:ext cx="2156220" cy="2167947"/>
          </a:xfrm>
          <a:prstGeom prst="rect">
            <a:avLst/>
          </a:prstGeom>
          <a:ln>
            <a:noFill/>
          </a:ln>
        </p:spPr>
        <p:txBody>
          <a:bodyPr vert="horz" lIns="0" tIns="783000" rIns="0" bIns="0" rtlCol="0" anchor="t">
            <a:spAutoFit/>
          </a:bodyPr>
          <a:lstStyle>
            <a:defPPr>
              <a:defRPr lang="en-US"/>
            </a:defPPr>
            <a:lvl2pPr marL="0" lvl="1">
              <a:spcBef>
                <a:spcPts val="1200"/>
              </a:spcBef>
              <a:buSzPct val="100000"/>
              <a:defRPr sz="1200" b="1">
                <a:solidFill>
                  <a:schemeClr val="accent1"/>
                </a:solidFill>
              </a:defRPr>
            </a:lvl2pPr>
          </a:lstStyle>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400" b="1" i="0" u="none" strike="noStrike" kern="0" cap="none" spc="0" normalizeH="0" baseline="0" noProof="0" dirty="0">
                <a:ln>
                  <a:noFill/>
                </a:ln>
                <a:solidFill>
                  <a:srgbClr val="5B9BD5">
                    <a:lumMod val="75000"/>
                  </a:srgbClr>
                </a:solidFill>
                <a:effectLst/>
                <a:uLnTx/>
                <a:uFillTx/>
                <a:latin typeface="Calibri"/>
                <a:ea typeface="+mn-ea"/>
                <a:cs typeface="+mn-cs"/>
              </a:rPr>
              <a:t>220 RLA</a:t>
            </a:r>
          </a:p>
          <a:p>
            <a:pPr marL="0" marR="0" lvl="1" indent="0" algn="ctr" defTabSz="685783" rtl="0" eaLnBrk="1" fontAlgn="auto" latinLnBrk="0" hangingPunct="1">
              <a:lnSpc>
                <a:spcPct val="100000"/>
              </a:lnSpc>
              <a:spcBef>
                <a:spcPts val="900"/>
              </a:spcBef>
              <a:spcAft>
                <a:spcPts val="0"/>
              </a:spcAft>
              <a:buClrTx/>
              <a:buSzPct val="100000"/>
              <a:buFontTx/>
              <a:buNone/>
              <a:tabLst/>
              <a:defRPr/>
            </a:pPr>
            <a:endParaRPr kumimoji="0" lang="es-MX" sz="1250" b="0" i="0" u="none" strike="noStrike" kern="0" cap="none" spc="0" normalizeH="0" baseline="0" noProof="0" dirty="0">
              <a:ln>
                <a:noFill/>
              </a:ln>
              <a:solidFill>
                <a:prstClr val="black"/>
              </a:solidFill>
              <a:effectLst/>
              <a:uLnTx/>
              <a:uFillTx/>
              <a:latin typeface="Calibri"/>
              <a:ea typeface="+mn-ea"/>
              <a:cs typeface="+mn-cs"/>
            </a:endParaRPr>
          </a:p>
          <a:p>
            <a:pPr marL="0" marR="0" lvl="1" indent="0" algn="ctr" defTabSz="685783" rtl="0" eaLnBrk="1" fontAlgn="auto" latinLnBrk="0" hangingPunct="1">
              <a:lnSpc>
                <a:spcPct val="100000"/>
              </a:lnSpc>
              <a:spcBef>
                <a:spcPts val="900"/>
              </a:spcBef>
              <a:spcAft>
                <a:spcPts val="0"/>
              </a:spcAft>
              <a:buClrTx/>
              <a:buSzPct val="100000"/>
              <a:buFontTx/>
              <a:buNone/>
              <a:tabLst/>
              <a:defRPr/>
            </a:pPr>
            <a:r>
              <a:rPr kumimoji="0" lang="es-MX" sz="1200" b="0" i="0" u="none" strike="noStrike" kern="0" cap="none" spc="0" normalizeH="0" baseline="0" noProof="0" dirty="0">
                <a:ln>
                  <a:noFill/>
                </a:ln>
                <a:solidFill>
                  <a:prstClr val="black"/>
                </a:solidFill>
                <a:effectLst/>
                <a:uLnTx/>
                <a:uFillTx/>
                <a:latin typeface="Calibri"/>
                <a:ea typeface="+mn-ea"/>
                <a:cs typeface="+mn-cs"/>
              </a:rPr>
              <a:t>“(…) el agente aduanal deberá conservar los documentos a que se refiere el artículo 81 de este Reglamento”</a:t>
            </a:r>
          </a:p>
        </p:txBody>
      </p:sp>
      <p:grpSp>
        <p:nvGrpSpPr>
          <p:cNvPr id="61" name="Group 60"/>
          <p:cNvGrpSpPr/>
          <p:nvPr/>
        </p:nvGrpSpPr>
        <p:grpSpPr>
          <a:xfrm>
            <a:off x="906879" y="2105987"/>
            <a:ext cx="10391856" cy="2609126"/>
            <a:chOff x="906879" y="1060979"/>
            <a:chExt cx="10391856" cy="2609126"/>
          </a:xfrm>
        </p:grpSpPr>
        <p:sp>
          <p:nvSpPr>
            <p:cNvPr id="64" name="Rectangle 5">
              <a:extLst>
                <a:ext uri="{FF2B5EF4-FFF2-40B4-BE49-F238E27FC236}">
                  <a16:creationId xmlns:a16="http://schemas.microsoft.com/office/drawing/2014/main" id="{D818A44A-E511-45D4-B2D6-5461597CA302}"/>
                </a:ext>
              </a:extLst>
            </p:cNvPr>
            <p:cNvSpPr/>
            <p:nvPr/>
          </p:nvSpPr>
          <p:spPr bwMode="gray">
            <a:xfrm>
              <a:off x="8247548" y="3609253"/>
              <a:ext cx="2636562" cy="60852"/>
            </a:xfrm>
            <a:prstGeom prst="rect">
              <a:avLst/>
            </a:prstGeom>
            <a:solidFill>
              <a:srgbClr val="E7E6E6">
                <a:lumMod val="75000"/>
              </a:srgbClr>
            </a:solidFill>
            <a:ln w="12700" cap="flat" cmpd="sng" algn="ctr">
              <a:noFill/>
              <a:prstDash val="solid"/>
              <a:miter lim="800000"/>
            </a:ln>
            <a:effectLst/>
          </p:spPr>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a:ea typeface="+mn-ea"/>
                <a:cs typeface="+mn-cs"/>
              </a:endParaRPr>
            </a:p>
          </p:txBody>
        </p:sp>
        <p:sp>
          <p:nvSpPr>
            <p:cNvPr id="65" name="Rectangle 3">
              <a:extLst>
                <a:ext uri="{FF2B5EF4-FFF2-40B4-BE49-F238E27FC236}">
                  <a16:creationId xmlns:a16="http://schemas.microsoft.com/office/drawing/2014/main" id="{7AA53DAB-12EB-4497-A3D2-F221665D8D86}"/>
                </a:ext>
              </a:extLst>
            </p:cNvPr>
            <p:cNvSpPr/>
            <p:nvPr/>
          </p:nvSpPr>
          <p:spPr bwMode="gray">
            <a:xfrm>
              <a:off x="1440333" y="3609253"/>
              <a:ext cx="2156220" cy="53906"/>
            </a:xfrm>
            <a:prstGeom prst="rect">
              <a:avLst/>
            </a:prstGeom>
            <a:solidFill>
              <a:srgbClr val="70AD47">
                <a:lumMod val="75000"/>
              </a:srgbClr>
            </a:solidFill>
            <a:ln w="12700" cap="flat" cmpd="sng" algn="ctr">
              <a:noFill/>
              <a:prstDash val="solid"/>
              <a:miter lim="800000"/>
            </a:ln>
            <a:effectLst/>
          </p:spPr>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a:ea typeface="+mn-ea"/>
                <a:cs typeface="+mn-cs"/>
              </a:endParaRPr>
            </a:p>
          </p:txBody>
        </p:sp>
        <p:sp>
          <p:nvSpPr>
            <p:cNvPr id="66" name="Rectangle 3">
              <a:extLst>
                <a:ext uri="{FF2B5EF4-FFF2-40B4-BE49-F238E27FC236}">
                  <a16:creationId xmlns:a16="http://schemas.microsoft.com/office/drawing/2014/main" id="{3D2F90D7-A13A-4887-A373-3BE0BEC51615}"/>
                </a:ext>
              </a:extLst>
            </p:cNvPr>
            <p:cNvSpPr/>
            <p:nvPr/>
          </p:nvSpPr>
          <p:spPr bwMode="gray">
            <a:xfrm>
              <a:off x="3709403" y="3609253"/>
              <a:ext cx="2156220" cy="53906"/>
            </a:xfrm>
            <a:prstGeom prst="rect">
              <a:avLst/>
            </a:prstGeom>
            <a:solidFill>
              <a:srgbClr val="70AD47"/>
            </a:solidFill>
            <a:ln w="12700" cap="flat" cmpd="sng" algn="ctr">
              <a:noFill/>
              <a:prstDash val="solid"/>
              <a:miter lim="800000"/>
            </a:ln>
            <a:effectLst/>
          </p:spPr>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a:ea typeface="+mn-ea"/>
                <a:cs typeface="+mn-cs"/>
              </a:endParaRPr>
            </a:p>
          </p:txBody>
        </p:sp>
        <p:sp>
          <p:nvSpPr>
            <p:cNvPr id="67" name="Rectangle 5">
              <a:extLst>
                <a:ext uri="{FF2B5EF4-FFF2-40B4-BE49-F238E27FC236}">
                  <a16:creationId xmlns:a16="http://schemas.microsoft.com/office/drawing/2014/main" id="{29EF69E9-7F38-4B85-9F75-DB513DB8A8DA}"/>
                </a:ext>
              </a:extLst>
            </p:cNvPr>
            <p:cNvSpPr/>
            <p:nvPr/>
          </p:nvSpPr>
          <p:spPr bwMode="gray">
            <a:xfrm>
              <a:off x="5978476" y="3609253"/>
              <a:ext cx="2156220" cy="53906"/>
            </a:xfrm>
            <a:prstGeom prst="rect">
              <a:avLst/>
            </a:prstGeom>
            <a:solidFill>
              <a:srgbClr val="5B9BD5"/>
            </a:solidFill>
            <a:ln w="12700" cap="flat" cmpd="sng" algn="ctr">
              <a:noFill/>
              <a:prstDash val="solid"/>
              <a:miter lim="800000"/>
            </a:ln>
            <a:effectLst/>
          </p:spPr>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a:ea typeface="+mn-ea"/>
                <a:cs typeface="+mn-cs"/>
              </a:endParaRPr>
            </a:p>
          </p:txBody>
        </p:sp>
        <p:sp>
          <p:nvSpPr>
            <p:cNvPr id="68" name="Rectangle 67">
              <a:extLst>
                <a:ext uri="{FF2B5EF4-FFF2-40B4-BE49-F238E27FC236}">
                  <a16:creationId xmlns:a16="http://schemas.microsoft.com/office/drawing/2014/main" id="{D4EDFEF8-557F-49C3-A558-7FE3B642AC34}"/>
                </a:ext>
              </a:extLst>
            </p:cNvPr>
            <p:cNvSpPr/>
            <p:nvPr/>
          </p:nvSpPr>
          <p:spPr bwMode="gray">
            <a:xfrm>
              <a:off x="7822163" y="2202605"/>
              <a:ext cx="1082663" cy="60852"/>
            </a:xfrm>
            <a:prstGeom prst="rect">
              <a:avLst/>
            </a:prstGeom>
            <a:gradFill>
              <a:gsLst>
                <a:gs pos="100000">
                  <a:srgbClr val="E7E6E6">
                    <a:lumMod val="75000"/>
                  </a:srgbClr>
                </a:gs>
                <a:gs pos="5000">
                  <a:srgbClr val="5B9BD5"/>
                </a:gs>
              </a:gsLst>
              <a:lin ang="0" scaled="0"/>
            </a:gra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19" name="Rectangle 118">
              <a:extLst>
                <a:ext uri="{FF2B5EF4-FFF2-40B4-BE49-F238E27FC236}">
                  <a16:creationId xmlns:a16="http://schemas.microsoft.com/office/drawing/2014/main" id="{744FF225-4BB4-42B6-ABE2-F4E1036D3532}"/>
                </a:ext>
              </a:extLst>
            </p:cNvPr>
            <p:cNvSpPr/>
            <p:nvPr/>
          </p:nvSpPr>
          <p:spPr bwMode="gray">
            <a:xfrm>
              <a:off x="906879" y="2202607"/>
              <a:ext cx="907231" cy="77753"/>
            </a:xfrm>
            <a:prstGeom prst="rect">
              <a:avLst/>
            </a:prstGeom>
            <a:solidFill>
              <a:srgbClr val="70AD47">
                <a:lumMod val="75000"/>
              </a:srgb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grpSp>
          <p:nvGrpSpPr>
            <p:cNvPr id="120" name="Group 119">
              <a:extLst>
                <a:ext uri="{FF2B5EF4-FFF2-40B4-BE49-F238E27FC236}">
                  <a16:creationId xmlns:a16="http://schemas.microsoft.com/office/drawing/2014/main" id="{A6664128-FFF9-4B21-8A4E-12599E521DD0}"/>
                </a:ext>
              </a:extLst>
            </p:cNvPr>
            <p:cNvGrpSpPr/>
            <p:nvPr/>
          </p:nvGrpSpPr>
          <p:grpSpPr>
            <a:xfrm>
              <a:off x="1743594" y="1072110"/>
              <a:ext cx="1595725" cy="2002256"/>
              <a:chOff x="3622989" y="1602865"/>
              <a:chExt cx="1598523" cy="2005765"/>
            </a:xfrm>
          </p:grpSpPr>
          <p:sp>
            <p:nvSpPr>
              <p:cNvPr id="147" name="Teardrop 146">
                <a:extLst>
                  <a:ext uri="{FF2B5EF4-FFF2-40B4-BE49-F238E27FC236}">
                    <a16:creationId xmlns:a16="http://schemas.microsoft.com/office/drawing/2014/main" id="{8700C81D-8B09-45CB-9BA7-46CE17AC84C4}"/>
                  </a:ext>
                </a:extLst>
              </p:cNvPr>
              <p:cNvSpPr/>
              <p:nvPr/>
            </p:nvSpPr>
            <p:spPr bwMode="gray">
              <a:xfrm rot="8100000">
                <a:off x="3670329" y="1602865"/>
                <a:ext cx="1503841" cy="1503844"/>
              </a:xfrm>
              <a:prstGeom prst="teardrop">
                <a:avLst/>
              </a:prstGeom>
              <a:solidFill>
                <a:srgbClr val="70AD47">
                  <a:lumMod val="75000"/>
                </a:srgb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046A38"/>
                  </a:solidFill>
                  <a:effectLst/>
                  <a:uLnTx/>
                  <a:uFillTx/>
                  <a:latin typeface="Calibri"/>
                  <a:ea typeface="+mn-ea"/>
                  <a:cs typeface="+mn-cs"/>
                </a:endParaRPr>
              </a:p>
            </p:txBody>
          </p:sp>
          <p:sp>
            <p:nvSpPr>
              <p:cNvPr id="148" name="Freeform 27">
                <a:extLst>
                  <a:ext uri="{FF2B5EF4-FFF2-40B4-BE49-F238E27FC236}">
                    <a16:creationId xmlns:a16="http://schemas.microsoft.com/office/drawing/2014/main" id="{3462ED85-0C05-4CE2-AE44-6035A8D1A9C4}"/>
                  </a:ext>
                </a:extLst>
              </p:cNvPr>
              <p:cNvSpPr/>
              <p:nvPr/>
            </p:nvSpPr>
            <p:spPr bwMode="gray">
              <a:xfrm>
                <a:off x="362298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rgbClr val="70AD47">
                  <a:lumMod val="75000"/>
                </a:srgb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046A38"/>
                  </a:solidFill>
                  <a:effectLst/>
                  <a:uLnTx/>
                  <a:uFillTx/>
                  <a:latin typeface="Calibri"/>
                  <a:ea typeface="+mn-ea"/>
                  <a:cs typeface="+mn-cs"/>
                </a:endParaRPr>
              </a:p>
            </p:txBody>
          </p:sp>
          <p:sp>
            <p:nvSpPr>
              <p:cNvPr id="149" name="Oval 148">
                <a:extLst>
                  <a:ext uri="{FF2B5EF4-FFF2-40B4-BE49-F238E27FC236}">
                    <a16:creationId xmlns:a16="http://schemas.microsoft.com/office/drawing/2014/main" id="{DFD0DB57-AC18-4EF1-907F-BF455E79E8D1}"/>
                  </a:ext>
                </a:extLst>
              </p:cNvPr>
              <p:cNvSpPr/>
              <p:nvPr/>
            </p:nvSpPr>
            <p:spPr bwMode="gray">
              <a:xfrm>
                <a:off x="3862715" y="1758652"/>
                <a:ext cx="1119070" cy="1119071"/>
              </a:xfrm>
              <a:prstGeom prst="ellipse">
                <a:avLst/>
              </a:prstGeom>
              <a:solidFill>
                <a:sysClr val="window" lastClr="FFFFFF"/>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046A38"/>
                  </a:solidFill>
                  <a:effectLst/>
                  <a:uLnTx/>
                  <a:uFillTx/>
                  <a:latin typeface="Calibri"/>
                  <a:ea typeface="+mn-ea"/>
                  <a:cs typeface="+mn-cs"/>
                </a:endParaRPr>
              </a:p>
            </p:txBody>
          </p:sp>
        </p:grpSp>
        <p:grpSp>
          <p:nvGrpSpPr>
            <p:cNvPr id="121" name="Group 120">
              <a:extLst>
                <a:ext uri="{FF2B5EF4-FFF2-40B4-BE49-F238E27FC236}">
                  <a16:creationId xmlns:a16="http://schemas.microsoft.com/office/drawing/2014/main" id="{B5416F2C-AE2C-4787-B0F9-06E24C1BCA16}"/>
                </a:ext>
              </a:extLst>
            </p:cNvPr>
            <p:cNvGrpSpPr/>
            <p:nvPr/>
          </p:nvGrpSpPr>
          <p:grpSpPr>
            <a:xfrm>
              <a:off x="3947357" y="1072110"/>
              <a:ext cx="1595725" cy="2002256"/>
              <a:chOff x="5190209" y="1602865"/>
              <a:chExt cx="1598523" cy="2005765"/>
            </a:xfrm>
          </p:grpSpPr>
          <p:sp>
            <p:nvSpPr>
              <p:cNvPr id="144" name="Teardrop 143">
                <a:extLst>
                  <a:ext uri="{FF2B5EF4-FFF2-40B4-BE49-F238E27FC236}">
                    <a16:creationId xmlns:a16="http://schemas.microsoft.com/office/drawing/2014/main" id="{8DAD929B-B306-448A-8D7F-6670106F5B07}"/>
                  </a:ext>
                </a:extLst>
              </p:cNvPr>
              <p:cNvSpPr/>
              <p:nvPr/>
            </p:nvSpPr>
            <p:spPr bwMode="gray">
              <a:xfrm rot="8100000">
                <a:off x="5237549" y="1602865"/>
                <a:ext cx="1503841" cy="1503844"/>
              </a:xfrm>
              <a:prstGeom prst="teardrop">
                <a:avLst/>
              </a:prstGeom>
              <a:solidFill>
                <a:srgbClr val="70AD47"/>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45" name="Freeform 31">
                <a:extLst>
                  <a:ext uri="{FF2B5EF4-FFF2-40B4-BE49-F238E27FC236}">
                    <a16:creationId xmlns:a16="http://schemas.microsoft.com/office/drawing/2014/main" id="{02DA98FE-67F2-4190-B846-BC71955D5DCF}"/>
                  </a:ext>
                </a:extLst>
              </p:cNvPr>
              <p:cNvSpPr/>
              <p:nvPr/>
            </p:nvSpPr>
            <p:spPr bwMode="gray">
              <a:xfrm>
                <a:off x="5190209"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rgbClr val="70AD47"/>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4AB60942-A244-4F0B-8B45-012B9C782162}"/>
                  </a:ext>
                </a:extLst>
              </p:cNvPr>
              <p:cNvSpPr/>
              <p:nvPr/>
            </p:nvSpPr>
            <p:spPr bwMode="gray">
              <a:xfrm>
                <a:off x="5429936" y="1758652"/>
                <a:ext cx="1119070" cy="1119071"/>
              </a:xfrm>
              <a:prstGeom prst="ellipse">
                <a:avLst/>
              </a:prstGeom>
              <a:solidFill>
                <a:sysClr val="window" lastClr="FFFFFF"/>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grpSp>
        <p:grpSp>
          <p:nvGrpSpPr>
            <p:cNvPr id="122" name="Group 121">
              <a:extLst>
                <a:ext uri="{FF2B5EF4-FFF2-40B4-BE49-F238E27FC236}">
                  <a16:creationId xmlns:a16="http://schemas.microsoft.com/office/drawing/2014/main" id="{583E8883-3086-48B1-8236-60731D417E74}"/>
                </a:ext>
              </a:extLst>
            </p:cNvPr>
            <p:cNvGrpSpPr/>
            <p:nvPr/>
          </p:nvGrpSpPr>
          <p:grpSpPr>
            <a:xfrm>
              <a:off x="6297038" y="1072110"/>
              <a:ext cx="1595725" cy="2002256"/>
              <a:chOff x="6763077" y="1602865"/>
              <a:chExt cx="1598523" cy="2005765"/>
            </a:xfrm>
          </p:grpSpPr>
          <p:sp>
            <p:nvSpPr>
              <p:cNvPr id="141" name="Teardrop 140">
                <a:extLst>
                  <a:ext uri="{FF2B5EF4-FFF2-40B4-BE49-F238E27FC236}">
                    <a16:creationId xmlns:a16="http://schemas.microsoft.com/office/drawing/2014/main" id="{500582AA-607B-4C0A-9AA8-B49305A1C27A}"/>
                  </a:ext>
                </a:extLst>
              </p:cNvPr>
              <p:cNvSpPr/>
              <p:nvPr/>
            </p:nvSpPr>
            <p:spPr bwMode="gray">
              <a:xfrm rot="8100000">
                <a:off x="6810418" y="1602865"/>
                <a:ext cx="1503841" cy="1503844"/>
              </a:xfrm>
              <a:prstGeom prst="teardrop">
                <a:avLst/>
              </a:prstGeom>
              <a:solidFill>
                <a:srgbClr val="5B9BD5"/>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42" name="Freeform 35">
                <a:extLst>
                  <a:ext uri="{FF2B5EF4-FFF2-40B4-BE49-F238E27FC236}">
                    <a16:creationId xmlns:a16="http://schemas.microsoft.com/office/drawing/2014/main" id="{8EEC739B-9B53-49BA-94AC-06DD070756DA}"/>
                  </a:ext>
                </a:extLst>
              </p:cNvPr>
              <p:cNvSpPr/>
              <p:nvPr/>
            </p:nvSpPr>
            <p:spPr bwMode="gray">
              <a:xfrm>
                <a:off x="6763077"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rgbClr val="5B9BD5"/>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870972BF-AB98-4CC2-BB60-84903DB5CFE2}"/>
                  </a:ext>
                </a:extLst>
              </p:cNvPr>
              <p:cNvSpPr/>
              <p:nvPr/>
            </p:nvSpPr>
            <p:spPr bwMode="gray">
              <a:xfrm>
                <a:off x="7007153" y="1758652"/>
                <a:ext cx="1119070" cy="1119071"/>
              </a:xfrm>
              <a:prstGeom prst="ellipse">
                <a:avLst/>
              </a:prstGeom>
              <a:solidFill>
                <a:sysClr val="window" lastClr="FFFFFF"/>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grpSp>
        <p:grpSp>
          <p:nvGrpSpPr>
            <p:cNvPr id="123" name="Group 122">
              <a:extLst>
                <a:ext uri="{FF2B5EF4-FFF2-40B4-BE49-F238E27FC236}">
                  <a16:creationId xmlns:a16="http://schemas.microsoft.com/office/drawing/2014/main" id="{2746340E-86D4-41CA-93A9-4E98D191BE05}"/>
                </a:ext>
              </a:extLst>
            </p:cNvPr>
            <p:cNvGrpSpPr/>
            <p:nvPr/>
          </p:nvGrpSpPr>
          <p:grpSpPr>
            <a:xfrm>
              <a:off x="8886470" y="1060979"/>
              <a:ext cx="1595724" cy="2002256"/>
              <a:chOff x="8355090" y="1602865"/>
              <a:chExt cx="1598523" cy="2005765"/>
            </a:xfrm>
          </p:grpSpPr>
          <p:sp>
            <p:nvSpPr>
              <p:cNvPr id="135" name="Teardrop 134">
                <a:extLst>
                  <a:ext uri="{FF2B5EF4-FFF2-40B4-BE49-F238E27FC236}">
                    <a16:creationId xmlns:a16="http://schemas.microsoft.com/office/drawing/2014/main" id="{78FD4A15-BB61-4D87-9E87-382B927FB4C9}"/>
                  </a:ext>
                </a:extLst>
              </p:cNvPr>
              <p:cNvSpPr/>
              <p:nvPr/>
            </p:nvSpPr>
            <p:spPr bwMode="gray">
              <a:xfrm rot="8100000">
                <a:off x="8402430" y="1602865"/>
                <a:ext cx="1503841" cy="1503844"/>
              </a:xfrm>
              <a:prstGeom prst="teardrop">
                <a:avLst/>
              </a:prstGeom>
              <a:solidFill>
                <a:srgbClr val="E7E6E6">
                  <a:lumMod val="75000"/>
                </a:srgb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36" name="Freeform 39">
                <a:extLst>
                  <a:ext uri="{FF2B5EF4-FFF2-40B4-BE49-F238E27FC236}">
                    <a16:creationId xmlns:a16="http://schemas.microsoft.com/office/drawing/2014/main" id="{4BC9A539-3667-4BFE-9E4F-81FA02EFA619}"/>
                  </a:ext>
                </a:extLst>
              </p:cNvPr>
              <p:cNvSpPr/>
              <p:nvPr/>
            </p:nvSpPr>
            <p:spPr bwMode="gray">
              <a:xfrm>
                <a:off x="8355090" y="2736722"/>
                <a:ext cx="1598523" cy="871908"/>
              </a:xfrm>
              <a:custGeom>
                <a:avLst/>
                <a:gdLst>
                  <a:gd name="connsiteX0" fmla="*/ 0 w 2235812"/>
                  <a:gd name="connsiteY0" fmla="*/ 0 h 1219515"/>
                  <a:gd name="connsiteX1" fmla="*/ 135994 w 2235812"/>
                  <a:gd name="connsiteY1" fmla="*/ 0 h 1219515"/>
                  <a:gd name="connsiteX2" fmla="*/ 183908 w 2235812"/>
                  <a:gd name="connsiteY2" fmla="*/ 81083 h 1219515"/>
                  <a:gd name="connsiteX3" fmla="*/ 327199 w 2235812"/>
                  <a:gd name="connsiteY3" fmla="*/ 256502 h 1219515"/>
                  <a:gd name="connsiteX4" fmla="*/ 1117908 w 2235812"/>
                  <a:gd name="connsiteY4" fmla="*/ 1047211 h 1219515"/>
                  <a:gd name="connsiteX5" fmla="*/ 1908614 w 2235812"/>
                  <a:gd name="connsiteY5" fmla="*/ 256504 h 1219515"/>
                  <a:gd name="connsiteX6" fmla="*/ 2051905 w 2235812"/>
                  <a:gd name="connsiteY6" fmla="*/ 81085 h 1219515"/>
                  <a:gd name="connsiteX7" fmla="*/ 2099821 w 2235812"/>
                  <a:gd name="connsiteY7" fmla="*/ 0 h 1219515"/>
                  <a:gd name="connsiteX8" fmla="*/ 2235812 w 2235812"/>
                  <a:gd name="connsiteY8" fmla="*/ 0 h 1219515"/>
                  <a:gd name="connsiteX9" fmla="*/ 2216094 w 2235812"/>
                  <a:gd name="connsiteY9" fmla="*/ 42485 h 1219515"/>
                  <a:gd name="connsiteX10" fmla="*/ 1994765 w 2235812"/>
                  <a:gd name="connsiteY10" fmla="*/ 342657 h 1219515"/>
                  <a:gd name="connsiteX11" fmla="*/ 1117907 w 2235812"/>
                  <a:gd name="connsiteY11" fmla="*/ 1219515 h 1219515"/>
                  <a:gd name="connsiteX12" fmla="*/ 241048 w 2235812"/>
                  <a:gd name="connsiteY12" fmla="*/ 342656 h 1219515"/>
                  <a:gd name="connsiteX13" fmla="*/ 19718 w 2235812"/>
                  <a:gd name="connsiteY13" fmla="*/ 42483 h 121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5812" h="1219515">
                    <a:moveTo>
                      <a:pt x="0" y="0"/>
                    </a:moveTo>
                    <a:lnTo>
                      <a:pt x="135994" y="0"/>
                    </a:lnTo>
                    <a:lnTo>
                      <a:pt x="183908" y="81083"/>
                    </a:lnTo>
                    <a:cubicBezTo>
                      <a:pt x="224849" y="143089"/>
                      <a:pt x="272612" y="201915"/>
                      <a:pt x="327199" y="256502"/>
                    </a:cubicBezTo>
                    <a:lnTo>
                      <a:pt x="1117908" y="1047211"/>
                    </a:lnTo>
                    <a:lnTo>
                      <a:pt x="1908614" y="256504"/>
                    </a:lnTo>
                    <a:cubicBezTo>
                      <a:pt x="1963201" y="201918"/>
                      <a:pt x="2010965" y="143091"/>
                      <a:pt x="2051905" y="81085"/>
                    </a:cubicBezTo>
                    <a:lnTo>
                      <a:pt x="2099821" y="0"/>
                    </a:lnTo>
                    <a:lnTo>
                      <a:pt x="2235812" y="0"/>
                    </a:lnTo>
                    <a:lnTo>
                      <a:pt x="2216094" y="42485"/>
                    </a:lnTo>
                    <a:cubicBezTo>
                      <a:pt x="2159343" y="150476"/>
                      <a:pt x="2085567" y="251855"/>
                      <a:pt x="1994765" y="342657"/>
                    </a:cubicBezTo>
                    <a:lnTo>
                      <a:pt x="1117907" y="1219515"/>
                    </a:lnTo>
                    <a:lnTo>
                      <a:pt x="241048" y="342656"/>
                    </a:lnTo>
                    <a:cubicBezTo>
                      <a:pt x="150246" y="251854"/>
                      <a:pt x="76469" y="150475"/>
                      <a:pt x="19718" y="42483"/>
                    </a:cubicBezTo>
                    <a:close/>
                  </a:path>
                </a:pathLst>
              </a:custGeom>
              <a:solidFill>
                <a:sysClr val="window" lastClr="FFFFFF">
                  <a:lumMod val="65000"/>
                </a:sys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grpSp>
            <p:nvGrpSpPr>
              <p:cNvPr id="137" name="Group 925">
                <a:extLst>
                  <a:ext uri="{FF2B5EF4-FFF2-40B4-BE49-F238E27FC236}">
                    <a16:creationId xmlns:a16="http://schemas.microsoft.com/office/drawing/2014/main" id="{E0D16D89-D72D-4F33-88DE-F94293011149}"/>
                  </a:ext>
                </a:extLst>
              </p:cNvPr>
              <p:cNvGrpSpPr>
                <a:grpSpLocks noChangeAspect="1"/>
              </p:cNvGrpSpPr>
              <p:nvPr/>
            </p:nvGrpSpPr>
            <p:grpSpPr bwMode="auto">
              <a:xfrm>
                <a:off x="8797164" y="1976762"/>
                <a:ext cx="686450" cy="682877"/>
                <a:chOff x="1224" y="3504"/>
                <a:chExt cx="192" cy="191"/>
              </a:xfrm>
              <a:solidFill>
                <a:srgbClr val="5B9BD5"/>
              </a:solidFill>
            </p:grpSpPr>
            <p:sp>
              <p:nvSpPr>
                <p:cNvPr id="139" name="Freeform 926">
                  <a:extLst>
                    <a:ext uri="{FF2B5EF4-FFF2-40B4-BE49-F238E27FC236}">
                      <a16:creationId xmlns:a16="http://schemas.microsoft.com/office/drawing/2014/main" id="{790BD73C-DE12-4489-882E-13024C466361}"/>
                    </a:ext>
                  </a:extLst>
                </p:cNvPr>
                <p:cNvSpPr>
                  <a:spLocks/>
                </p:cNvSpPr>
                <p:nvPr/>
              </p:nvSpPr>
              <p:spPr bwMode="auto">
                <a:xfrm>
                  <a:off x="1259" y="3539"/>
                  <a:ext cx="71" cy="71"/>
                </a:xfrm>
                <a:custGeom>
                  <a:avLst/>
                  <a:gdLst>
                    <a:gd name="T0" fmla="*/ 96 w 107"/>
                    <a:gd name="T1" fmla="*/ 43 h 107"/>
                    <a:gd name="T2" fmla="*/ 64 w 107"/>
                    <a:gd name="T3" fmla="*/ 43 h 107"/>
                    <a:gd name="T4" fmla="*/ 64 w 107"/>
                    <a:gd name="T5" fmla="*/ 11 h 107"/>
                    <a:gd name="T6" fmla="*/ 53 w 107"/>
                    <a:gd name="T7" fmla="*/ 0 h 107"/>
                    <a:gd name="T8" fmla="*/ 43 w 107"/>
                    <a:gd name="T9" fmla="*/ 11 h 107"/>
                    <a:gd name="T10" fmla="*/ 43 w 107"/>
                    <a:gd name="T11" fmla="*/ 43 h 107"/>
                    <a:gd name="T12" fmla="*/ 11 w 107"/>
                    <a:gd name="T13" fmla="*/ 43 h 107"/>
                    <a:gd name="T14" fmla="*/ 0 w 107"/>
                    <a:gd name="T15" fmla="*/ 53 h 107"/>
                    <a:gd name="T16" fmla="*/ 11 w 107"/>
                    <a:gd name="T17" fmla="*/ 64 h 107"/>
                    <a:gd name="T18" fmla="*/ 43 w 107"/>
                    <a:gd name="T19" fmla="*/ 64 h 107"/>
                    <a:gd name="T20" fmla="*/ 43 w 107"/>
                    <a:gd name="T21" fmla="*/ 96 h 107"/>
                    <a:gd name="T22" fmla="*/ 53 w 107"/>
                    <a:gd name="T23" fmla="*/ 107 h 107"/>
                    <a:gd name="T24" fmla="*/ 64 w 107"/>
                    <a:gd name="T25" fmla="*/ 96 h 107"/>
                    <a:gd name="T26" fmla="*/ 64 w 107"/>
                    <a:gd name="T27" fmla="*/ 64 h 107"/>
                    <a:gd name="T28" fmla="*/ 96 w 107"/>
                    <a:gd name="T29" fmla="*/ 64 h 107"/>
                    <a:gd name="T30" fmla="*/ 107 w 107"/>
                    <a:gd name="T31" fmla="*/ 53 h 107"/>
                    <a:gd name="T32" fmla="*/ 96 w 107"/>
                    <a:gd name="T33" fmla="*/ 4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96" y="43"/>
                      </a:moveTo>
                      <a:cubicBezTo>
                        <a:pt x="64" y="43"/>
                        <a:pt x="64" y="43"/>
                        <a:pt x="64" y="43"/>
                      </a:cubicBezTo>
                      <a:cubicBezTo>
                        <a:pt x="64" y="11"/>
                        <a:pt x="64" y="11"/>
                        <a:pt x="64" y="11"/>
                      </a:cubicBezTo>
                      <a:cubicBezTo>
                        <a:pt x="64" y="5"/>
                        <a:pt x="59" y="0"/>
                        <a:pt x="53" y="0"/>
                      </a:cubicBezTo>
                      <a:cubicBezTo>
                        <a:pt x="47" y="0"/>
                        <a:pt x="43" y="5"/>
                        <a:pt x="43" y="11"/>
                      </a:cubicBezTo>
                      <a:cubicBezTo>
                        <a:pt x="43" y="43"/>
                        <a:pt x="43" y="43"/>
                        <a:pt x="43" y="43"/>
                      </a:cubicBezTo>
                      <a:cubicBezTo>
                        <a:pt x="11" y="43"/>
                        <a:pt x="11" y="43"/>
                        <a:pt x="11" y="43"/>
                      </a:cubicBezTo>
                      <a:cubicBezTo>
                        <a:pt x="5" y="43"/>
                        <a:pt x="0" y="47"/>
                        <a:pt x="0" y="53"/>
                      </a:cubicBezTo>
                      <a:cubicBezTo>
                        <a:pt x="0" y="59"/>
                        <a:pt x="5" y="64"/>
                        <a:pt x="11" y="64"/>
                      </a:cubicBezTo>
                      <a:cubicBezTo>
                        <a:pt x="43" y="64"/>
                        <a:pt x="43" y="64"/>
                        <a:pt x="43" y="64"/>
                      </a:cubicBezTo>
                      <a:cubicBezTo>
                        <a:pt x="43" y="96"/>
                        <a:pt x="43" y="96"/>
                        <a:pt x="43" y="96"/>
                      </a:cubicBezTo>
                      <a:cubicBezTo>
                        <a:pt x="43" y="102"/>
                        <a:pt x="47" y="107"/>
                        <a:pt x="53" y="107"/>
                      </a:cubicBezTo>
                      <a:cubicBezTo>
                        <a:pt x="59" y="107"/>
                        <a:pt x="64" y="102"/>
                        <a:pt x="64" y="96"/>
                      </a:cubicBezTo>
                      <a:cubicBezTo>
                        <a:pt x="64" y="64"/>
                        <a:pt x="64" y="64"/>
                        <a:pt x="64" y="64"/>
                      </a:cubicBezTo>
                      <a:cubicBezTo>
                        <a:pt x="96" y="64"/>
                        <a:pt x="96" y="64"/>
                        <a:pt x="96" y="64"/>
                      </a:cubicBezTo>
                      <a:cubicBezTo>
                        <a:pt x="102" y="64"/>
                        <a:pt x="107" y="59"/>
                        <a:pt x="107" y="53"/>
                      </a:cubicBezTo>
                      <a:cubicBezTo>
                        <a:pt x="107" y="47"/>
                        <a:pt x="102" y="43"/>
                        <a:pt x="9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914356"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a:ea typeface="+mn-ea"/>
                    <a:cs typeface="+mn-cs"/>
                  </a:endParaRPr>
                </a:p>
              </p:txBody>
            </p:sp>
            <p:sp>
              <p:nvSpPr>
                <p:cNvPr id="140" name="Freeform 927">
                  <a:extLst>
                    <a:ext uri="{FF2B5EF4-FFF2-40B4-BE49-F238E27FC236}">
                      <a16:creationId xmlns:a16="http://schemas.microsoft.com/office/drawing/2014/main" id="{15FDF464-77C7-4E79-91EF-7F13541D888A}"/>
                    </a:ext>
                  </a:extLst>
                </p:cNvPr>
                <p:cNvSpPr>
                  <a:spLocks noEditPoints="1"/>
                </p:cNvSpPr>
                <p:nvPr/>
              </p:nvSpPr>
              <p:spPr bwMode="auto">
                <a:xfrm>
                  <a:off x="1224" y="3504"/>
                  <a:ext cx="192" cy="191"/>
                </a:xfrm>
                <a:custGeom>
                  <a:avLst/>
                  <a:gdLst>
                    <a:gd name="T0" fmla="*/ 189 w 289"/>
                    <a:gd name="T1" fmla="*/ 174 h 288"/>
                    <a:gd name="T2" fmla="*/ 213 w 289"/>
                    <a:gd name="T3" fmla="*/ 106 h 288"/>
                    <a:gd name="T4" fmla="*/ 106 w 289"/>
                    <a:gd name="T5" fmla="*/ 0 h 288"/>
                    <a:gd name="T6" fmla="*/ 0 w 289"/>
                    <a:gd name="T7" fmla="*/ 106 h 288"/>
                    <a:gd name="T8" fmla="*/ 106 w 289"/>
                    <a:gd name="T9" fmla="*/ 213 h 288"/>
                    <a:gd name="T10" fmla="*/ 174 w 289"/>
                    <a:gd name="T11" fmla="*/ 189 h 288"/>
                    <a:gd name="T12" fmla="*/ 269 w 289"/>
                    <a:gd name="T13" fmla="*/ 285 h 288"/>
                    <a:gd name="T14" fmla="*/ 277 w 289"/>
                    <a:gd name="T15" fmla="*/ 288 h 288"/>
                    <a:gd name="T16" fmla="*/ 285 w 289"/>
                    <a:gd name="T17" fmla="*/ 285 h 288"/>
                    <a:gd name="T18" fmla="*/ 285 w 289"/>
                    <a:gd name="T19" fmla="*/ 269 h 288"/>
                    <a:gd name="T20" fmla="*/ 189 w 289"/>
                    <a:gd name="T21" fmla="*/ 174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189" y="174"/>
                      </a:move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lnTo>
                        <a:pt x="189" y="174"/>
                      </a:ln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914356"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a:ea typeface="+mn-ea"/>
                    <a:cs typeface="+mn-cs"/>
                  </a:endParaRPr>
                </a:p>
              </p:txBody>
            </p:sp>
          </p:grpSp>
          <p:sp>
            <p:nvSpPr>
              <p:cNvPr id="138" name="Oval 137">
                <a:extLst>
                  <a:ext uri="{FF2B5EF4-FFF2-40B4-BE49-F238E27FC236}">
                    <a16:creationId xmlns:a16="http://schemas.microsoft.com/office/drawing/2014/main" id="{A05F4DB7-700C-4A2E-969D-33283C120EC9}"/>
                  </a:ext>
                </a:extLst>
              </p:cNvPr>
              <p:cNvSpPr/>
              <p:nvPr/>
            </p:nvSpPr>
            <p:spPr bwMode="gray">
              <a:xfrm>
                <a:off x="8591206" y="1758652"/>
                <a:ext cx="1119071" cy="1119070"/>
              </a:xfrm>
              <a:prstGeom prst="ellipse">
                <a:avLst/>
              </a:prstGeom>
              <a:solidFill>
                <a:sysClr val="window" lastClr="FFFFFF"/>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grpSp>
        <p:sp>
          <p:nvSpPr>
            <p:cNvPr id="124" name="Freeform 389">
              <a:extLst>
                <a:ext uri="{FF2B5EF4-FFF2-40B4-BE49-F238E27FC236}">
                  <a16:creationId xmlns:a16="http://schemas.microsoft.com/office/drawing/2014/main" id="{B218BD5D-ED08-49ED-BA00-6C403F0988DA}"/>
                </a:ext>
              </a:extLst>
            </p:cNvPr>
            <p:cNvSpPr>
              <a:spLocks noEditPoints="1"/>
            </p:cNvSpPr>
            <p:nvPr/>
          </p:nvSpPr>
          <p:spPr bwMode="auto">
            <a:xfrm>
              <a:off x="2169138" y="1537332"/>
              <a:ext cx="750182" cy="524775"/>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1200" cap="none" spc="0" normalizeH="0" baseline="0" noProof="0">
                <a:ln>
                  <a:noFill/>
                </a:ln>
                <a:solidFill>
                  <a:prstClr val="black"/>
                </a:solidFill>
                <a:effectLst/>
                <a:uLnTx/>
                <a:uFillTx/>
                <a:latin typeface="Calibri"/>
                <a:ea typeface="+mn-ea"/>
                <a:cs typeface="+mn-cs"/>
              </a:endParaRPr>
            </a:p>
          </p:txBody>
        </p:sp>
        <p:sp>
          <p:nvSpPr>
            <p:cNvPr id="125" name="Rectangle 124">
              <a:extLst>
                <a:ext uri="{FF2B5EF4-FFF2-40B4-BE49-F238E27FC236}">
                  <a16:creationId xmlns:a16="http://schemas.microsoft.com/office/drawing/2014/main" id="{81AB32D8-1E1F-4805-A285-6CDA13E7FA8B}"/>
                </a:ext>
              </a:extLst>
            </p:cNvPr>
            <p:cNvSpPr/>
            <p:nvPr/>
          </p:nvSpPr>
          <p:spPr bwMode="gray">
            <a:xfrm>
              <a:off x="10456630" y="2189943"/>
              <a:ext cx="842105" cy="77752"/>
            </a:xfrm>
            <a:prstGeom prst="rect">
              <a:avLst/>
            </a:prstGeom>
            <a:solidFill>
              <a:srgbClr val="E7E6E6">
                <a:lumMod val="75000"/>
              </a:srgbClr>
            </a:soli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ED7D31">
                    <a:lumMod val="50000"/>
                  </a:srgbClr>
                </a:solidFill>
                <a:effectLst/>
                <a:uLnTx/>
                <a:uFillTx/>
                <a:latin typeface="Calibri"/>
                <a:ea typeface="+mn-ea"/>
                <a:cs typeface="+mn-cs"/>
              </a:endParaRPr>
            </a:p>
          </p:txBody>
        </p:sp>
        <p:sp>
          <p:nvSpPr>
            <p:cNvPr id="126" name="Rectangle 125">
              <a:extLst>
                <a:ext uri="{FF2B5EF4-FFF2-40B4-BE49-F238E27FC236}">
                  <a16:creationId xmlns:a16="http://schemas.microsoft.com/office/drawing/2014/main" id="{37F4D018-52D1-43F5-90FA-FD3489D874A2}"/>
                </a:ext>
              </a:extLst>
            </p:cNvPr>
            <p:cNvSpPr/>
            <p:nvPr/>
          </p:nvSpPr>
          <p:spPr bwMode="gray">
            <a:xfrm>
              <a:off x="3268802" y="2202606"/>
              <a:ext cx="746116" cy="77753"/>
            </a:xfrm>
            <a:prstGeom prst="rect">
              <a:avLst/>
            </a:prstGeom>
            <a:gradFill>
              <a:gsLst>
                <a:gs pos="17000">
                  <a:srgbClr val="70AD47">
                    <a:lumMod val="75000"/>
                  </a:srgbClr>
                </a:gs>
                <a:gs pos="83000">
                  <a:srgbClr val="70AD47"/>
                </a:gs>
              </a:gsLst>
              <a:lin ang="0" scaled="0"/>
            </a:gra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27" name="Rectangle 126">
              <a:extLst>
                <a:ext uri="{FF2B5EF4-FFF2-40B4-BE49-F238E27FC236}">
                  <a16:creationId xmlns:a16="http://schemas.microsoft.com/office/drawing/2014/main" id="{1B2D7A2E-05BD-40D9-B7DD-7C6514CD2561}"/>
                </a:ext>
              </a:extLst>
            </p:cNvPr>
            <p:cNvSpPr/>
            <p:nvPr/>
          </p:nvSpPr>
          <p:spPr bwMode="gray">
            <a:xfrm>
              <a:off x="5461622" y="2202606"/>
              <a:ext cx="895850" cy="77753"/>
            </a:xfrm>
            <a:prstGeom prst="rect">
              <a:avLst/>
            </a:prstGeom>
            <a:gradFill>
              <a:gsLst>
                <a:gs pos="17000">
                  <a:srgbClr val="70AD47"/>
                </a:gs>
                <a:gs pos="83000">
                  <a:srgbClr val="5B9BD5"/>
                </a:gs>
              </a:gsLst>
              <a:lin ang="0" scaled="0"/>
            </a:gradFill>
            <a:ln w="19050" algn="ctr">
              <a:noFill/>
              <a:miter lim="800000"/>
              <a:headEnd/>
              <a:tailEnd/>
            </a:ln>
          </p:spPr>
          <p:txBody>
            <a:bodyPr wrap="square" lIns="66675" tIns="66675" rIns="66675" bIns="66675" rtlCol="0" anchor="ctr"/>
            <a:lstStyle/>
            <a:p>
              <a:pPr marL="0" marR="0" lvl="0" indent="0" algn="ctr" defTabSz="914356"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dirty="0" err="1">
                <a:ln>
                  <a:noFill/>
                </a:ln>
                <a:solidFill>
                  <a:srgbClr val="FFFFFF"/>
                </a:solidFill>
                <a:effectLst/>
                <a:uLnTx/>
                <a:uFillTx/>
                <a:latin typeface="Calibri"/>
                <a:ea typeface="+mn-ea"/>
                <a:cs typeface="+mn-cs"/>
              </a:endParaRPr>
            </a:p>
          </p:txBody>
        </p:sp>
        <p:sp>
          <p:nvSpPr>
            <p:cNvPr id="128" name="Freeform 400">
              <a:extLst>
                <a:ext uri="{FF2B5EF4-FFF2-40B4-BE49-F238E27FC236}">
                  <a16:creationId xmlns:a16="http://schemas.microsoft.com/office/drawing/2014/main" id="{F0CB5C78-806A-4062-A3FE-9B93B43A1AE9}"/>
                </a:ext>
              </a:extLst>
            </p:cNvPr>
            <p:cNvSpPr>
              <a:spLocks noEditPoints="1"/>
            </p:cNvSpPr>
            <p:nvPr/>
          </p:nvSpPr>
          <p:spPr bwMode="auto">
            <a:xfrm>
              <a:off x="4446952" y="1478845"/>
              <a:ext cx="614010" cy="614010"/>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rgbClr val="70AD4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grpSp>
          <p:nvGrpSpPr>
            <p:cNvPr id="129" name="Group 245">
              <a:extLst>
                <a:ext uri="{FF2B5EF4-FFF2-40B4-BE49-F238E27FC236}">
                  <a16:creationId xmlns:a16="http://schemas.microsoft.com/office/drawing/2014/main" id="{C6FA0BEA-237C-4B7A-8EE8-2F9E03DEFA6B}"/>
                </a:ext>
              </a:extLst>
            </p:cNvPr>
            <p:cNvGrpSpPr>
              <a:grpSpLocks noChangeAspect="1"/>
            </p:cNvGrpSpPr>
            <p:nvPr/>
          </p:nvGrpSpPr>
          <p:grpSpPr bwMode="auto">
            <a:xfrm>
              <a:off x="6733682" y="1521288"/>
              <a:ext cx="705642" cy="612442"/>
              <a:chOff x="3544" y="884"/>
              <a:chExt cx="212" cy="184"/>
            </a:xfrm>
            <a:solidFill>
              <a:srgbClr val="5B9BD5"/>
            </a:solidFill>
          </p:grpSpPr>
          <p:sp>
            <p:nvSpPr>
              <p:cNvPr id="131" name="Freeform 247">
                <a:extLst>
                  <a:ext uri="{FF2B5EF4-FFF2-40B4-BE49-F238E27FC236}">
                    <a16:creationId xmlns:a16="http://schemas.microsoft.com/office/drawing/2014/main" id="{68414C74-9DA3-402A-9D0B-D79AE4BF2211}"/>
                  </a:ext>
                </a:extLst>
              </p:cNvPr>
              <p:cNvSpPr>
                <a:spLocks noEditPoints="1"/>
              </p:cNvSpPr>
              <p:nvPr/>
            </p:nvSpPr>
            <p:spPr bwMode="auto">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sp>
            <p:nvSpPr>
              <p:cNvPr id="132" name="Freeform 248">
                <a:extLst>
                  <a:ext uri="{FF2B5EF4-FFF2-40B4-BE49-F238E27FC236}">
                    <a16:creationId xmlns:a16="http://schemas.microsoft.com/office/drawing/2014/main" id="{8D6B0C56-6DA7-4581-B8C8-22DDD9BE263F}"/>
                  </a:ext>
                </a:extLst>
              </p:cNvPr>
              <p:cNvSpPr>
                <a:spLocks/>
              </p:cNvSpPr>
              <p:nvPr/>
            </p:nvSpPr>
            <p:spPr bwMode="auto">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sp>
            <p:nvSpPr>
              <p:cNvPr id="133" name="Freeform 249">
                <a:extLst>
                  <a:ext uri="{FF2B5EF4-FFF2-40B4-BE49-F238E27FC236}">
                    <a16:creationId xmlns:a16="http://schemas.microsoft.com/office/drawing/2014/main" id="{988EA793-FA74-44B2-B525-1DD52D2E4BF9}"/>
                  </a:ext>
                </a:extLst>
              </p:cNvPr>
              <p:cNvSpPr>
                <a:spLocks/>
              </p:cNvSpPr>
              <p:nvPr/>
            </p:nvSpPr>
            <p:spPr bwMode="auto">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sp>
            <p:nvSpPr>
              <p:cNvPr id="134" name="Freeform 250">
                <a:extLst>
                  <a:ext uri="{FF2B5EF4-FFF2-40B4-BE49-F238E27FC236}">
                    <a16:creationId xmlns:a16="http://schemas.microsoft.com/office/drawing/2014/main" id="{4B5F7AC2-1B0F-4EEA-BC80-AE899365B441}"/>
                  </a:ext>
                </a:extLst>
              </p:cNvPr>
              <p:cNvSpPr>
                <a:spLocks/>
              </p:cNvSpPr>
              <p:nvPr/>
            </p:nvSpPr>
            <p:spPr bwMode="auto">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grpSp>
        <p:sp>
          <p:nvSpPr>
            <p:cNvPr id="130" name="Freeform 872">
              <a:extLst>
                <a:ext uri="{FF2B5EF4-FFF2-40B4-BE49-F238E27FC236}">
                  <a16:creationId xmlns:a16="http://schemas.microsoft.com/office/drawing/2014/main" id="{3A5E8132-90F6-4363-8253-88158E2CBC05}"/>
                </a:ext>
              </a:extLst>
            </p:cNvPr>
            <p:cNvSpPr>
              <a:spLocks noEditPoints="1"/>
            </p:cNvSpPr>
            <p:nvPr/>
          </p:nvSpPr>
          <p:spPr bwMode="auto">
            <a:xfrm>
              <a:off x="9343774" y="1467164"/>
              <a:ext cx="602782" cy="674853"/>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E7E6E6">
                <a:lumMod val="7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prstClr val="black"/>
                </a:solidFill>
                <a:effectLst/>
                <a:uLnTx/>
                <a:uFillTx/>
                <a:latin typeface="Calibri"/>
                <a:ea typeface="+mn-ea"/>
                <a:cs typeface="+mn-cs"/>
              </a:endParaRPr>
            </a:p>
          </p:txBody>
        </p:sp>
      </p:grpSp>
      <p:sp>
        <p:nvSpPr>
          <p:cNvPr id="48" name="Rectangle 47">
            <a:extLst>
              <a:ext uri="{FF2B5EF4-FFF2-40B4-BE49-F238E27FC236}">
                <a16:creationId xmlns:a16="http://schemas.microsoft.com/office/drawing/2014/main" id="{71418B84-23B4-4DC1-8760-AA5CC159C2D6}"/>
              </a:ext>
            </a:extLst>
          </p:cNvPr>
          <p:cNvSpPr/>
          <p:nvPr/>
        </p:nvSpPr>
        <p:spPr bwMode="gray">
          <a:xfrm>
            <a:off x="285782" y="6482211"/>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49" name="Rectangle 48">
            <a:extLst>
              <a:ext uri="{FF2B5EF4-FFF2-40B4-BE49-F238E27FC236}">
                <a16:creationId xmlns:a16="http://schemas.microsoft.com/office/drawing/2014/main" id="{CA5DE345-D9B0-4D00-B40D-89EB717332AB}"/>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07566884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ES_tradnl" dirty="0"/>
              <a:t>Manifestación de Valor</a:t>
            </a:r>
          </a:p>
        </p:txBody>
      </p:sp>
      <p:sp>
        <p:nvSpPr>
          <p:cNvPr id="37" name="Title 14"/>
          <p:cNvSpPr>
            <a:spLocks noGrp="1"/>
          </p:cNvSpPr>
          <p:nvPr>
            <p:ph type="title"/>
          </p:nvPr>
        </p:nvSpPr>
        <p:spPr>
          <a:xfrm>
            <a:off x="469900" y="323389"/>
            <a:ext cx="11188700" cy="698501"/>
          </a:xfrm>
        </p:spPr>
        <p:txBody>
          <a:bodyPr/>
          <a:lstStyle/>
          <a:p>
            <a:r>
              <a:rPr lang="en-US" noProof="0" dirty="0" err="1"/>
              <a:t>Principales</a:t>
            </a:r>
            <a:r>
              <a:rPr lang="en-US" noProof="0" dirty="0"/>
              <a:t> </a:t>
            </a:r>
            <a:r>
              <a:rPr lang="en-US" noProof="0" dirty="0" err="1"/>
              <a:t>Modificaciones</a:t>
            </a:r>
            <a:r>
              <a:rPr lang="en-US" noProof="0" dirty="0"/>
              <a:t> en </a:t>
            </a:r>
            <a:r>
              <a:rPr lang="en-US" noProof="0" dirty="0" err="1"/>
              <a:t>Materia</a:t>
            </a:r>
            <a:r>
              <a:rPr lang="en-US" noProof="0" dirty="0"/>
              <a:t> </a:t>
            </a:r>
            <a:r>
              <a:rPr lang="en-US" noProof="0" dirty="0" err="1"/>
              <a:t>Regulatoria</a:t>
            </a:r>
            <a:br>
              <a:rPr lang="en-US" dirty="0"/>
            </a:br>
            <a:endParaRPr lang="en-US" noProof="0" dirty="0"/>
          </a:p>
        </p:txBody>
      </p:sp>
      <p:sp>
        <p:nvSpPr>
          <p:cNvPr id="11" name="Content Placeholder 5"/>
          <p:cNvSpPr txBox="1">
            <a:spLocks/>
          </p:cNvSpPr>
          <p:nvPr/>
        </p:nvSpPr>
        <p:spPr>
          <a:xfrm>
            <a:off x="7453005" y="2096089"/>
            <a:ext cx="4515302" cy="25897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250" b="1"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s-MX" sz="1300" b="1"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300" b="1"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rPr>
              <a:t>— Articulo 3 del transitorio de la Quinta Resolución de Modificaciones a las Reglas Generales de Comercio Exterior para 2020. RGCE Diario Oficial de la Federación el 27 de mayo de 2021.</a:t>
            </a:r>
            <a:endParaRPr kumimoji="0" lang="es-MX" sz="1300" b="1" i="1"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300" b="1" i="1"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rPr>
              <a:t>“entrarán en vigor una vez que se dé a conocer el formato "Manifestación de Valor" del Anexo 1 , en el Portal del SAT a través de la Ventanilla Digital, el cual será exigible 90 días posteriores a su publicación”</a:t>
            </a:r>
          </a:p>
        </p:txBody>
      </p:sp>
      <p:pic>
        <p:nvPicPr>
          <p:cNvPr id="2" name="Picture 1"/>
          <p:cNvPicPr>
            <a:picLocks noChangeAspect="1"/>
          </p:cNvPicPr>
          <p:nvPr/>
        </p:nvPicPr>
        <p:blipFill>
          <a:blip r:embed="rId3">
            <a:duotone>
              <a:prstClr val="black"/>
              <a:schemeClr val="accent6">
                <a:tint val="45000"/>
                <a:satMod val="400000"/>
              </a:schemeClr>
            </a:duotone>
          </a:blip>
          <a:stretch>
            <a:fillRect/>
          </a:stretch>
        </p:blipFill>
        <p:spPr>
          <a:xfrm>
            <a:off x="1227217" y="1864066"/>
            <a:ext cx="5260734" cy="3945551"/>
          </a:xfrm>
          <a:prstGeom prst="rect">
            <a:avLst/>
          </a:prstGeom>
        </p:spPr>
      </p:pic>
      <p:sp>
        <p:nvSpPr>
          <p:cNvPr id="12" name="Oval 11"/>
          <p:cNvSpPr/>
          <p:nvPr/>
        </p:nvSpPr>
        <p:spPr bwMode="gray">
          <a:xfrm>
            <a:off x="345173" y="1576983"/>
            <a:ext cx="1530553" cy="1391412"/>
          </a:xfrm>
          <a:prstGeom prst="ellipse">
            <a:avLst/>
          </a:prstGeom>
          <a:solidFill>
            <a:srgbClr val="00ABAB"/>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0" i="0" u="none" strike="noStrike" kern="1200" cap="none" spc="0" normalizeH="0" baseline="0" noProof="0" dirty="0">
              <a:ln>
                <a:noFill/>
              </a:ln>
              <a:solidFill>
                <a:sysClr val="windowText" lastClr="000000"/>
              </a:solidFill>
              <a:effectLst/>
              <a:uLnTx/>
              <a:uFillTx/>
              <a:latin typeface="Calibri"/>
              <a:ea typeface="+mn-ea"/>
              <a:cs typeface="Calibri Light" panose="020F0302020204030204" pitchFamily="34" charset="0"/>
            </a:endParaRPr>
          </a:p>
        </p:txBody>
      </p:sp>
      <p:sp>
        <p:nvSpPr>
          <p:cNvPr id="19" name="Oval 18"/>
          <p:cNvSpPr/>
          <p:nvPr/>
        </p:nvSpPr>
        <p:spPr bwMode="gray">
          <a:xfrm>
            <a:off x="543140" y="4834352"/>
            <a:ext cx="1437208" cy="1366976"/>
          </a:xfrm>
          <a:prstGeom prst="ellipse">
            <a:avLst/>
          </a:prstGeom>
          <a:solidFill>
            <a:srgbClr val="62B5E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300" b="0" i="0" u="none" strike="noStrike" kern="1200" cap="none" spc="0" normalizeH="0" baseline="0" noProof="0" dirty="0">
              <a:ln>
                <a:noFill/>
              </a:ln>
              <a:solidFill>
                <a:sysClr val="windowText" lastClr="000000"/>
              </a:solidFill>
              <a:effectLst/>
              <a:uLnTx/>
              <a:uFillTx/>
              <a:latin typeface="Calibri Light" panose="020F0302020204030204" pitchFamily="34" charset="0"/>
              <a:ea typeface="+mn-ea"/>
              <a:cs typeface="Calibri Light" panose="020F0302020204030204" pitchFamily="34" charset="0"/>
            </a:endParaRPr>
          </a:p>
        </p:txBody>
      </p:sp>
      <p:sp>
        <p:nvSpPr>
          <p:cNvPr id="21" name="TextBox 20"/>
          <p:cNvSpPr txBox="1"/>
          <p:nvPr/>
        </p:nvSpPr>
        <p:spPr>
          <a:xfrm>
            <a:off x="648736" y="1816971"/>
            <a:ext cx="888000" cy="813171"/>
          </a:xfrm>
          <a:prstGeom prst="rect">
            <a:avLst/>
          </a:prstGeom>
          <a:noFill/>
        </p:spPr>
        <p:txBody>
          <a:bodyPr wrap="none" lIns="0" tIns="0" rIns="0" bIns="0" rtlCol="0">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ysClr val="windowText" lastClr="000000"/>
                </a:solidFill>
                <a:effectLst/>
                <a:uLnTx/>
                <a:uFillTx/>
                <a:latin typeface="Calibri Light"/>
                <a:ea typeface="+mn-ea"/>
                <a:cs typeface="Calibri" panose="020F0502020204030204" pitchFamily="34" charset="0"/>
              </a:rPr>
              <a:t>RGCE 2018 </a:t>
            </a:r>
            <a:endParaRPr kumimoji="0" lang="en-US" sz="1400" b="0"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MX" sz="1400" b="1" i="1" u="none" strike="noStrike" kern="1200" cap="none" spc="0" normalizeH="0" baseline="0" noProof="0" dirty="0">
                <a:ln>
                  <a:noFill/>
                </a:ln>
                <a:solidFill>
                  <a:sysClr val="windowText" lastClr="000000"/>
                </a:solidFill>
                <a:effectLst/>
                <a:uLnTx/>
                <a:uFillTx/>
                <a:latin typeface="Calibri Light"/>
                <a:ea typeface="Verdana" panose="020B0604030504040204" pitchFamily="34" charset="0"/>
                <a:cs typeface="Verdana" panose="020B0604030504040204" pitchFamily="34" charset="0"/>
              </a:rPr>
              <a:t>DOF</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400" b="1" i="1" u="none" strike="noStrike" kern="1200" cap="none" spc="0" normalizeH="0" baseline="0" noProof="0" dirty="0">
                <a:ln>
                  <a:noFill/>
                </a:ln>
                <a:solidFill>
                  <a:sysClr val="windowText" lastClr="000000"/>
                </a:solidFill>
                <a:effectLst/>
                <a:uLnTx/>
                <a:uFillTx/>
                <a:latin typeface="Calibri Light"/>
                <a:ea typeface="Verdana" panose="020B0604030504040204" pitchFamily="34" charset="0"/>
                <a:cs typeface="Verdana" panose="020B0604030504040204" pitchFamily="34" charset="0"/>
              </a:rPr>
              <a:t>18/12/2017</a:t>
            </a:r>
            <a:endParaRPr kumimoji="0" lang="en-US" sz="1400" b="1" i="1"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p:txBody>
      </p:sp>
      <p:sp>
        <p:nvSpPr>
          <p:cNvPr id="22" name="TextBox 21"/>
          <p:cNvSpPr txBox="1"/>
          <p:nvPr/>
        </p:nvSpPr>
        <p:spPr>
          <a:xfrm>
            <a:off x="835377" y="5077990"/>
            <a:ext cx="852734" cy="813171"/>
          </a:xfrm>
          <a:prstGeom prst="rect">
            <a:avLst/>
          </a:prstGeom>
          <a:noFill/>
        </p:spPr>
        <p:txBody>
          <a:bodyPr wrap="none" lIns="0" tIns="0" rIns="0" bIns="0" rtlCol="0">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ysClr val="windowText" lastClr="000000"/>
                </a:solidFill>
                <a:effectLst/>
                <a:uLnTx/>
                <a:uFillTx/>
                <a:latin typeface="Calibri Light"/>
                <a:ea typeface="+mn-ea"/>
                <a:cs typeface="Calibri" panose="020F0502020204030204" pitchFamily="34" charset="0"/>
              </a:rPr>
              <a:t>RGCE 2020</a:t>
            </a:r>
            <a:endParaRPr kumimoji="0" lang="en-US" sz="1400" b="0"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MX" sz="1400" b="1" i="1" u="none" strike="noStrike" kern="1200" cap="none" spc="0" normalizeH="0" baseline="0" noProof="0" dirty="0">
                <a:ln>
                  <a:noFill/>
                </a:ln>
                <a:solidFill>
                  <a:sysClr val="windowText" lastClr="000000"/>
                </a:solidFill>
                <a:effectLst/>
                <a:uLnTx/>
                <a:uFillTx/>
                <a:latin typeface="Calibri Light"/>
                <a:ea typeface="Verdana" panose="020B0604030504040204" pitchFamily="34" charset="0"/>
                <a:cs typeface="Verdana" panose="020B0604030504040204" pitchFamily="34" charset="0"/>
              </a:rPr>
              <a:t>DOF</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400" b="1" i="1" u="none" strike="noStrike" kern="1200" cap="none" spc="0" normalizeH="0" baseline="0" noProof="0" dirty="0">
                <a:ln>
                  <a:noFill/>
                </a:ln>
                <a:solidFill>
                  <a:sysClr val="windowText" lastClr="000000"/>
                </a:solidFill>
                <a:effectLst/>
                <a:uLnTx/>
                <a:uFillTx/>
                <a:latin typeface="Calibri Light"/>
                <a:ea typeface="Verdana" panose="020B0604030504040204" pitchFamily="34" charset="0"/>
                <a:cs typeface="Verdana" panose="020B0604030504040204" pitchFamily="34" charset="0"/>
              </a:rPr>
              <a:t>30/06/2020</a:t>
            </a:r>
            <a:endParaRPr kumimoji="0" lang="en-US" sz="1400" b="1" i="1"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p:txBody>
      </p:sp>
      <p:sp>
        <p:nvSpPr>
          <p:cNvPr id="14" name="Oval 13"/>
          <p:cNvSpPr/>
          <p:nvPr/>
        </p:nvSpPr>
        <p:spPr bwMode="gray">
          <a:xfrm>
            <a:off x="5922453" y="3601799"/>
            <a:ext cx="1530553" cy="1530553"/>
          </a:xfrm>
          <a:prstGeom prst="ellipse">
            <a:avLst/>
          </a:prstGeom>
          <a:solidFill>
            <a:srgbClr val="C4D6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ysClr val="windowText" lastClr="000000"/>
                </a:solidFill>
                <a:effectLst/>
                <a:uLnTx/>
                <a:uFillTx/>
                <a:latin typeface="Calibri"/>
                <a:ea typeface="+mn-ea"/>
                <a:cs typeface="Calibri" panose="020F0502020204030204" pitchFamily="34" charset="0"/>
              </a:rPr>
              <a:t>E2 y E3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MX" sz="1400" b="1" i="1" u="none" strike="noStrike" kern="1200" cap="none" spc="0" normalizeH="0" baseline="0" noProof="0" dirty="0">
                <a:ln>
                  <a:noFill/>
                </a:ln>
                <a:solidFill>
                  <a:sysClr val="windowText" lastClr="000000"/>
                </a:solidFill>
                <a:effectLst/>
                <a:uLnTx/>
                <a:uFillTx/>
                <a:latin typeface="Calibri"/>
                <a:ea typeface="Verdana" panose="020B0604030504040204" pitchFamily="34" charset="0"/>
                <a:cs typeface="Verdana" panose="020B0604030504040204" pitchFamily="34" charset="0"/>
              </a:rPr>
              <a:t>DOF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1" u="none" strike="noStrike" kern="1200" cap="none" spc="0" normalizeH="0" baseline="0" noProof="0" dirty="0">
              <a:ln>
                <a:noFill/>
              </a:ln>
              <a:solidFill>
                <a:sysClr val="windowText" lastClr="000000"/>
              </a:solidFill>
              <a:effectLst/>
              <a:uLnTx/>
              <a:uFillTx/>
              <a:latin typeface="Calibri"/>
              <a:ea typeface="Verdana" panose="020B0604030504040204" pitchFamily="34" charset="0"/>
              <a:cs typeface="Verdana" panose="020B0604030504040204" pitchFamily="34" charset="0"/>
            </a:endParaRPr>
          </a:p>
        </p:txBody>
      </p:sp>
      <p:sp>
        <p:nvSpPr>
          <p:cNvPr id="20" name="TextBox 19"/>
          <p:cNvSpPr txBox="1"/>
          <p:nvPr/>
        </p:nvSpPr>
        <p:spPr>
          <a:xfrm>
            <a:off x="6264536" y="4470400"/>
            <a:ext cx="8463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MX" sz="1400" b="1" i="1" u="none" strike="noStrike" kern="1200" cap="none" spc="0" normalizeH="0" baseline="0" noProof="0" dirty="0">
                <a:ln>
                  <a:noFill/>
                </a:ln>
                <a:solidFill>
                  <a:sysClr val="windowText" lastClr="000000"/>
                </a:solidFill>
                <a:effectLst/>
                <a:uLnTx/>
                <a:uFillTx/>
                <a:latin typeface="Calibri Light"/>
                <a:ea typeface="Verdana" panose="020B0604030504040204" pitchFamily="34" charset="0"/>
                <a:cs typeface="Verdana" panose="020B0604030504040204" pitchFamily="34" charset="0"/>
              </a:rPr>
              <a:t>21/12/2017</a:t>
            </a:r>
            <a:endParaRPr kumimoji="0" lang="en-US" sz="1400" b="1" i="0" u="none" strike="noStrike" kern="1200" cap="none" spc="0" normalizeH="0" baseline="0" noProof="0" dirty="0">
              <a:ln>
                <a:noFill/>
              </a:ln>
              <a:solidFill>
                <a:sysClr val="windowText" lastClr="000000"/>
              </a:solidFill>
              <a:effectLst/>
              <a:uLnTx/>
              <a:uFillTx/>
              <a:latin typeface="Calibri Light"/>
              <a:ea typeface="+mn-ea"/>
              <a:cs typeface="Calibri Light" panose="020F0302020204030204" pitchFamily="34" charset="0"/>
            </a:endParaRPr>
          </a:p>
        </p:txBody>
      </p:sp>
      <p:sp>
        <p:nvSpPr>
          <p:cNvPr id="13" name="Rectangle 12">
            <a:extLst>
              <a:ext uri="{FF2B5EF4-FFF2-40B4-BE49-F238E27FC236}">
                <a16:creationId xmlns:a16="http://schemas.microsoft.com/office/drawing/2014/main" id="{41B44A72-AA3B-4CF0-9773-433EE7FBD8E3}"/>
              </a:ext>
            </a:extLst>
          </p:cNvPr>
          <p:cNvSpPr/>
          <p:nvPr/>
        </p:nvSpPr>
        <p:spPr bwMode="gray">
          <a:xfrm>
            <a:off x="209333" y="6452996"/>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5763A349-E189-458B-93D2-80B3252B2DB5}"/>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00805579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9741685" y="3601799"/>
            <a:ext cx="11188700" cy="757255"/>
          </a:xfrm>
        </p:spPr>
        <p:txBody>
          <a:bodyPr/>
          <a:lstStyle/>
          <a:p>
            <a:r>
              <a:rPr lang="es-ES_tradnl" dirty="0">
                <a:latin typeface="+mj-lt"/>
              </a:rPr>
              <a:t>Manifestación de Valor</a:t>
            </a:r>
          </a:p>
        </p:txBody>
      </p:sp>
      <p:sp>
        <p:nvSpPr>
          <p:cNvPr id="37" name="Title 14"/>
          <p:cNvSpPr>
            <a:spLocks noGrp="1"/>
          </p:cNvSpPr>
          <p:nvPr>
            <p:ph type="title"/>
          </p:nvPr>
        </p:nvSpPr>
        <p:spPr>
          <a:xfrm>
            <a:off x="469900" y="323389"/>
            <a:ext cx="11188700" cy="698501"/>
          </a:xfrm>
        </p:spPr>
        <p:txBody>
          <a:bodyPr/>
          <a:lstStyle/>
          <a:p>
            <a:r>
              <a:rPr lang="en-US" noProof="0" dirty="0" err="1">
                <a:latin typeface="+mj-lt"/>
              </a:rPr>
              <a:t>Principales</a:t>
            </a:r>
            <a:r>
              <a:rPr lang="en-US" noProof="0" dirty="0">
                <a:latin typeface="+mj-lt"/>
              </a:rPr>
              <a:t> </a:t>
            </a:r>
            <a:r>
              <a:rPr lang="en-US" noProof="0" dirty="0" err="1">
                <a:latin typeface="+mj-lt"/>
              </a:rPr>
              <a:t>Modificaciones</a:t>
            </a:r>
            <a:r>
              <a:rPr lang="en-US" noProof="0" dirty="0">
                <a:latin typeface="+mj-lt"/>
              </a:rPr>
              <a:t> en </a:t>
            </a:r>
            <a:r>
              <a:rPr lang="en-US" noProof="0" dirty="0" err="1">
                <a:latin typeface="+mj-lt"/>
              </a:rPr>
              <a:t>Materia</a:t>
            </a:r>
            <a:r>
              <a:rPr lang="en-US" noProof="0" dirty="0">
                <a:latin typeface="+mj-lt"/>
              </a:rPr>
              <a:t> </a:t>
            </a:r>
            <a:r>
              <a:rPr lang="en-US" noProof="0" dirty="0" err="1">
                <a:latin typeface="+mj-lt"/>
              </a:rPr>
              <a:t>Regulatoria</a:t>
            </a:r>
            <a:br>
              <a:rPr lang="en-US" dirty="0">
                <a:latin typeface="+mj-lt"/>
              </a:rPr>
            </a:br>
            <a:endParaRPr lang="en-US" noProof="0" dirty="0">
              <a:latin typeface="+mj-lt"/>
            </a:endParaRPr>
          </a:p>
        </p:txBody>
      </p:sp>
      <p:sp>
        <p:nvSpPr>
          <p:cNvPr id="62" name="Text Placeholder 5"/>
          <p:cNvSpPr txBox="1">
            <a:spLocks/>
          </p:cNvSpPr>
          <p:nvPr/>
        </p:nvSpPr>
        <p:spPr>
          <a:xfrm>
            <a:off x="501650" y="7151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800" b="0" kern="1200">
                <a:solidFill>
                  <a:srgbClr val="575757"/>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ES_tradnl" sz="1800" b="0" i="0" u="none" strike="noStrike" kern="1200" cap="none" spc="0" normalizeH="0" baseline="0" noProof="0">
                <a:ln>
                  <a:noFill/>
                </a:ln>
                <a:solidFill>
                  <a:srgbClr val="575757"/>
                </a:solidFill>
                <a:effectLst/>
                <a:uLnTx/>
                <a:uFillTx/>
                <a:latin typeface="Calibri"/>
                <a:ea typeface="+mn-ea"/>
                <a:cs typeface="Calibri Light" panose="020F0302020204030204" pitchFamily="34" charset="0"/>
              </a:rPr>
              <a:t>Manifestación de Valor</a:t>
            </a:r>
            <a:endParaRPr kumimoji="0" lang="es-ES_tradnl" sz="1800" b="0" i="0" u="none" strike="noStrike" kern="1200" cap="none" spc="0" normalizeH="0" baseline="0" noProof="0" dirty="0">
              <a:ln>
                <a:noFill/>
              </a:ln>
              <a:solidFill>
                <a:srgbClr val="575757"/>
              </a:solidFill>
              <a:effectLst/>
              <a:uLnTx/>
              <a:uFillTx/>
              <a:latin typeface="Calibri"/>
              <a:ea typeface="+mn-ea"/>
              <a:cs typeface="Calibri Light" panose="020F0302020204030204" pitchFamily="34" charset="0"/>
            </a:endParaRPr>
          </a:p>
        </p:txBody>
      </p:sp>
      <p:sp>
        <p:nvSpPr>
          <p:cNvPr id="63" name="Pentagon 62">
            <a:extLst>
              <a:ext uri="{FF2B5EF4-FFF2-40B4-BE49-F238E27FC236}">
                <a16:creationId xmlns:a16="http://schemas.microsoft.com/office/drawing/2014/main" id="{FD1018F8-194F-4D42-91AB-2023A37C1C8C}"/>
              </a:ext>
            </a:extLst>
          </p:cNvPr>
          <p:cNvSpPr/>
          <p:nvPr/>
        </p:nvSpPr>
        <p:spPr>
          <a:xfrm flipH="1">
            <a:off x="9990693" y="686572"/>
            <a:ext cx="2209013" cy="520526"/>
          </a:xfrm>
          <a:prstGeom prst="homePlate">
            <a:avLst/>
          </a:prstGeom>
          <a:solidFill>
            <a:srgbClr val="86BC25"/>
          </a:solidFill>
          <a:ln w="6350" cap="flat" cmpd="sng" algn="ctr">
            <a:noFill/>
            <a:prstDash val="solid"/>
          </a:ln>
          <a:effectLst/>
        </p:spPr>
        <p:txBody>
          <a:bodyPr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300" b="1" i="0" u="none" strike="noStrike" kern="0" cap="none" spc="0" normalizeH="0" baseline="0" noProof="0" dirty="0">
                <a:ln>
                  <a:noFill/>
                </a:ln>
                <a:solidFill>
                  <a:prstClr val="white"/>
                </a:solidFill>
                <a:effectLst/>
                <a:uLnTx/>
                <a:uFillTx/>
                <a:latin typeface="Calibri"/>
                <a:ea typeface="+mn-ea"/>
                <a:cs typeface="+mn-cs"/>
              </a:rPr>
              <a:t>Regla 1.5.1 RGCE 2020</a:t>
            </a:r>
          </a:p>
        </p:txBody>
      </p:sp>
      <p:sp>
        <p:nvSpPr>
          <p:cNvPr id="81" name="Content Placeholder 6"/>
          <p:cNvSpPr txBox="1">
            <a:spLocks/>
          </p:cNvSpPr>
          <p:nvPr/>
        </p:nvSpPr>
        <p:spPr>
          <a:xfrm>
            <a:off x="501650" y="1385073"/>
            <a:ext cx="11178190" cy="4351338"/>
          </a:xfrm>
          <a:prstGeom prst="rect">
            <a:avLst/>
          </a:prstGeom>
        </p:spPr>
        <p:txBody>
          <a:bodyPr>
            <a:norm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s-MX" sz="13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De acuerdo al </a:t>
            </a:r>
            <a:r>
              <a:rPr kumimoji="0" lang="es-MX" sz="13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artículo 81 de la Reglamento de Ley aduanera</a:t>
            </a:r>
            <a:r>
              <a:rPr kumimoji="0" lang="es-MX" sz="13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a continuación se muestran los documentos que el importador deberá proporcionar </a:t>
            </a:r>
            <a:r>
              <a:rPr kumimoji="0" lang="es-MX" sz="1300" b="0" i="0" u="none" strike="noStrike" kern="1200" cap="none" spc="0" normalizeH="0" baseline="0" noProof="0">
                <a:ln>
                  <a:noFill/>
                </a:ln>
                <a:solidFill>
                  <a:srgbClr val="007CB0"/>
                </a:solidFill>
                <a:effectLst/>
                <a:uLnTx/>
                <a:uFillTx/>
                <a:latin typeface="Calibri"/>
                <a:ea typeface="+mn-ea"/>
                <a:cs typeface="Calibri Light" panose="020F0302020204030204" pitchFamily="34" charset="0"/>
              </a:rPr>
              <a:t>adjuntos a la manifestación de valor</a:t>
            </a:r>
            <a:r>
              <a:rPr kumimoji="0" lang="es-MX" sz="13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a:t>
            </a:r>
            <a:endParaRPr kumimoji="0" lang="es-MX" sz="13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endParaRPr>
          </a:p>
        </p:txBody>
      </p:sp>
      <p:grpSp>
        <p:nvGrpSpPr>
          <p:cNvPr id="82" name="Group 81"/>
          <p:cNvGrpSpPr/>
          <p:nvPr/>
        </p:nvGrpSpPr>
        <p:grpSpPr>
          <a:xfrm>
            <a:off x="501650" y="1854489"/>
            <a:ext cx="11384033" cy="4382631"/>
            <a:chOff x="337581" y="1660817"/>
            <a:chExt cx="11856405" cy="4564485"/>
          </a:xfrm>
        </p:grpSpPr>
        <p:sp>
          <p:nvSpPr>
            <p:cNvPr id="83" name="Oval 82"/>
            <p:cNvSpPr/>
            <p:nvPr/>
          </p:nvSpPr>
          <p:spPr>
            <a:xfrm>
              <a:off x="337581" y="4142456"/>
              <a:ext cx="2128044" cy="2082846"/>
            </a:xfrm>
            <a:prstGeom prst="ellipse">
              <a:avLst/>
            </a:prstGeom>
            <a:solidFill>
              <a:schemeClr val="bg1">
                <a:lumMod val="65000"/>
              </a:schemeClr>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Verdana" panose="020B0604030504040204" pitchFamily="34" charset="0"/>
                <a:cs typeface="+mn-cs"/>
              </a:endParaRPr>
            </a:p>
          </p:txBody>
        </p:sp>
        <p:sp>
          <p:nvSpPr>
            <p:cNvPr id="84" name="Oval 83"/>
            <p:cNvSpPr/>
            <p:nvPr/>
          </p:nvSpPr>
          <p:spPr>
            <a:xfrm>
              <a:off x="2894393" y="4137868"/>
              <a:ext cx="2072381" cy="2087197"/>
            </a:xfrm>
            <a:prstGeom prst="ellipse">
              <a:avLst/>
            </a:prstGeom>
            <a:solidFill>
              <a:srgbClr val="86BC25">
                <a:lumMod val="50000"/>
              </a:srgbClr>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85" name="Oval 84"/>
            <p:cNvSpPr/>
            <p:nvPr/>
          </p:nvSpPr>
          <p:spPr>
            <a:xfrm>
              <a:off x="337581" y="1689539"/>
              <a:ext cx="2124685" cy="2085319"/>
            </a:xfrm>
            <a:prstGeom prst="ellipse">
              <a:avLst/>
            </a:prstGeom>
            <a:solidFill>
              <a:srgbClr val="62B5E5"/>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86" name="Oval 85"/>
            <p:cNvSpPr/>
            <p:nvPr/>
          </p:nvSpPr>
          <p:spPr>
            <a:xfrm>
              <a:off x="2863160" y="1689539"/>
              <a:ext cx="2135439" cy="2059203"/>
            </a:xfrm>
            <a:prstGeom prst="ellipse">
              <a:avLst/>
            </a:prstGeom>
            <a:solidFill>
              <a:srgbClr val="43B02A"/>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87" name="Oval 86"/>
            <p:cNvSpPr/>
            <p:nvPr/>
          </p:nvSpPr>
          <p:spPr>
            <a:xfrm>
              <a:off x="5395543" y="4137868"/>
              <a:ext cx="2128044" cy="2082846"/>
            </a:xfrm>
            <a:prstGeom prst="ellipse">
              <a:avLst/>
            </a:prstGeom>
            <a:solidFill>
              <a:srgbClr val="0070C0"/>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a:ea typeface="Verdana" panose="020B0604030504040204" pitchFamily="34" charset="0"/>
                <a:cs typeface="+mn-cs"/>
              </a:endParaRPr>
            </a:p>
          </p:txBody>
        </p:sp>
        <p:sp>
          <p:nvSpPr>
            <p:cNvPr id="88" name="Oval 87"/>
            <p:cNvSpPr/>
            <p:nvPr/>
          </p:nvSpPr>
          <p:spPr>
            <a:xfrm>
              <a:off x="7952356" y="4137868"/>
              <a:ext cx="2072381" cy="2087197"/>
            </a:xfrm>
            <a:prstGeom prst="ellipse">
              <a:avLst/>
            </a:prstGeom>
            <a:solidFill>
              <a:srgbClr val="75787B"/>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89" name="Oval 88"/>
            <p:cNvSpPr/>
            <p:nvPr/>
          </p:nvSpPr>
          <p:spPr>
            <a:xfrm>
              <a:off x="5395543" y="1660817"/>
              <a:ext cx="2124685" cy="2085319"/>
            </a:xfrm>
            <a:prstGeom prst="ellipse">
              <a:avLst/>
            </a:prstGeom>
            <a:solidFill>
              <a:schemeClr val="bg1">
                <a:lumMod val="65000"/>
              </a:schemeClr>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90" name="Oval 89"/>
            <p:cNvSpPr/>
            <p:nvPr/>
          </p:nvSpPr>
          <p:spPr>
            <a:xfrm>
              <a:off x="7918408" y="1686933"/>
              <a:ext cx="2135439" cy="2059203"/>
            </a:xfrm>
            <a:prstGeom prst="ellipse">
              <a:avLst/>
            </a:prstGeom>
            <a:solidFill>
              <a:schemeClr val="accent1">
                <a:lumMod val="60000"/>
                <a:lumOff val="40000"/>
              </a:schemeClr>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91" name="Oval 90"/>
            <p:cNvSpPr/>
            <p:nvPr/>
          </p:nvSpPr>
          <p:spPr>
            <a:xfrm>
              <a:off x="10058547" y="2795442"/>
              <a:ext cx="2135439" cy="2059203"/>
            </a:xfrm>
            <a:prstGeom prst="ellipse">
              <a:avLst/>
            </a:prstGeom>
            <a:solidFill>
              <a:schemeClr val="accent3">
                <a:lumMod val="75000"/>
              </a:schemeClr>
            </a:solidFill>
            <a:ln w="19050" cap="flat" cmpd="sng" algn="ctr">
              <a:noFill/>
              <a:prstDash val="solid"/>
            </a:ln>
            <a:effectLst/>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44546A"/>
                </a:solidFill>
                <a:effectLst/>
                <a:uLnTx/>
                <a:uFillTx/>
                <a:latin typeface="Calibri"/>
                <a:ea typeface="Verdana" panose="020B0604030504040204" pitchFamily="34" charset="0"/>
                <a:cs typeface="+mn-cs"/>
              </a:endParaRPr>
            </a:p>
          </p:txBody>
        </p:sp>
        <p:sp>
          <p:nvSpPr>
            <p:cNvPr id="92" name="Rectangle 91"/>
            <p:cNvSpPr/>
            <p:nvPr/>
          </p:nvSpPr>
          <p:spPr>
            <a:xfrm>
              <a:off x="527141" y="2416779"/>
              <a:ext cx="1759066" cy="288493"/>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prstClr val="white"/>
                  </a:solidFill>
                  <a:effectLst/>
                  <a:uLnTx/>
                  <a:uFillTx/>
                  <a:latin typeface="Calibri"/>
                  <a:ea typeface="+mn-ea"/>
                  <a:cs typeface="+mn-cs"/>
                </a:rPr>
                <a:t>I. Factura comercial </a:t>
              </a:r>
              <a:endParaRPr kumimoji="0" lang="es-MX"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3" name="Rectangle 92"/>
            <p:cNvSpPr/>
            <p:nvPr/>
          </p:nvSpPr>
          <p:spPr>
            <a:xfrm>
              <a:off x="2906621" y="2182586"/>
              <a:ext cx="2047923" cy="10578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0" cap="none" spc="0" normalizeH="0" baseline="0" noProof="0" dirty="0">
                  <a:ln>
                    <a:noFill/>
                  </a:ln>
                  <a:solidFill>
                    <a:prstClr val="white"/>
                  </a:solidFill>
                  <a:effectLst/>
                  <a:uLnTx/>
                  <a:uFillTx/>
                  <a:latin typeface="Calibri"/>
                  <a:ea typeface="+mn-ea"/>
                  <a:cs typeface="+mn-cs"/>
                </a:rPr>
                <a:t>II. El conocimiento de embarque, lista de empaque, guía aérea o demás documentos de transporte</a:t>
              </a:r>
              <a:endParaRPr kumimoji="0" lang="en-US" sz="1200" b="1" i="0" u="none" strike="noStrike" kern="0" cap="none" spc="0" normalizeH="0" baseline="0" noProof="0" dirty="0">
                <a:ln>
                  <a:noFill/>
                </a:ln>
                <a:solidFill>
                  <a:prstClr val="white"/>
                </a:solidFill>
                <a:effectLst/>
                <a:uLnTx/>
                <a:uFillTx/>
                <a:latin typeface="Calibri"/>
                <a:ea typeface="+mn-ea"/>
                <a:cs typeface="+mn-cs"/>
              </a:endParaRPr>
            </a:p>
          </p:txBody>
        </p:sp>
        <p:sp>
          <p:nvSpPr>
            <p:cNvPr id="94" name="Rectangle 93"/>
            <p:cNvSpPr/>
            <p:nvPr/>
          </p:nvSpPr>
          <p:spPr>
            <a:xfrm>
              <a:off x="5472325" y="2097321"/>
              <a:ext cx="1971118" cy="10578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III. El que compruebe el </a:t>
              </a:r>
              <a:r>
                <a:rPr kumimoji="0" lang="es-MX" sz="1200" b="1" i="0" u="sng" strike="noStrike" kern="1200" cap="none" spc="0" normalizeH="0" baseline="0" noProof="0" dirty="0">
                  <a:ln>
                    <a:noFill/>
                  </a:ln>
                  <a:solidFill>
                    <a:prstClr val="white"/>
                  </a:solidFill>
                  <a:effectLst/>
                  <a:uLnTx/>
                  <a:uFillTx/>
                  <a:latin typeface="Calibri"/>
                  <a:ea typeface="+mn-ea"/>
                  <a:cs typeface="+mn-cs"/>
                </a:rPr>
                <a:t>origen</a:t>
              </a:r>
              <a:r>
                <a:rPr kumimoji="0" lang="es-MX" sz="1200" b="1" i="0" u="none" strike="noStrike" kern="1200" cap="none" spc="0" normalizeH="0" baseline="0" noProof="0" dirty="0">
                  <a:ln>
                    <a:noFill/>
                  </a:ln>
                  <a:solidFill>
                    <a:prstClr val="white"/>
                  </a:solidFill>
                  <a:effectLst/>
                  <a:uLnTx/>
                  <a:uFillTx/>
                  <a:latin typeface="Calibri"/>
                  <a:ea typeface="+mn-ea"/>
                  <a:cs typeface="+mn-cs"/>
                </a:rPr>
                <a:t> cuando corresponda, y de la procedencia de las Mercancías</a:t>
              </a:r>
              <a:endParaRPr kumimoji="0" lang="en-US"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5" name="Rectangle 94"/>
            <p:cNvSpPr/>
            <p:nvPr/>
          </p:nvSpPr>
          <p:spPr>
            <a:xfrm>
              <a:off x="7985918" y="2118974"/>
              <a:ext cx="2005255" cy="86547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IV. En el que conste la garantía a que se refiere el inciso e), fracción I del artículo 36-A de la Ley</a:t>
              </a:r>
              <a:endParaRPr kumimoji="0" lang="en-US"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6" name="Rectangle 95"/>
            <p:cNvSpPr/>
            <p:nvPr/>
          </p:nvSpPr>
          <p:spPr>
            <a:xfrm>
              <a:off x="555296" y="4394461"/>
              <a:ext cx="1702759" cy="125013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V. En el </a:t>
              </a:r>
              <a:r>
                <a:rPr kumimoji="0" lang="es-MX" sz="1200" b="1" i="0" u="none" strike="noStrike" kern="1200" cap="none" spc="0" normalizeH="0" baseline="0" noProof="0" dirty="0">
                  <a:ln>
                    <a:noFill/>
                  </a:ln>
                  <a:solidFill>
                    <a:prstClr val="black"/>
                  </a:solidFill>
                  <a:effectLst/>
                  <a:uLnTx/>
                  <a:uFillTx/>
                  <a:latin typeface="Calibri"/>
                  <a:ea typeface="+mn-ea"/>
                  <a:cs typeface="+mn-cs"/>
                </a:rPr>
                <a:t>que conste el pago </a:t>
              </a:r>
              <a:r>
                <a:rPr kumimoji="0" lang="es-MX" sz="1200" b="1" i="0" u="none" strike="noStrike" kern="1200" cap="none" spc="0" normalizeH="0" baseline="0" noProof="0" dirty="0">
                  <a:ln>
                    <a:noFill/>
                  </a:ln>
                  <a:solidFill>
                    <a:prstClr val="white"/>
                  </a:solidFill>
                  <a:effectLst/>
                  <a:uLnTx/>
                  <a:uFillTx/>
                  <a:latin typeface="Calibri"/>
                  <a:ea typeface="+mn-ea"/>
                  <a:cs typeface="+mn-cs"/>
                </a:rPr>
                <a:t>de las Mercancías, tales como la transferencia electrónica del pago o carta de crédito;</a:t>
              </a:r>
              <a:endParaRPr kumimoji="0" lang="en-US"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7" name="Rectangle 96"/>
            <p:cNvSpPr/>
            <p:nvPr/>
          </p:nvSpPr>
          <p:spPr>
            <a:xfrm>
              <a:off x="2942562" y="4493136"/>
              <a:ext cx="1976039" cy="10578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VI. El relativo a los gastos de </a:t>
              </a:r>
              <a:r>
                <a:rPr kumimoji="0" lang="es-MX" sz="1200" b="1" i="0" u="none" strike="noStrike" kern="1200" cap="none" spc="0" normalizeH="0" baseline="0" noProof="0" dirty="0">
                  <a:ln>
                    <a:noFill/>
                  </a:ln>
                  <a:solidFill>
                    <a:srgbClr val="86BC25">
                      <a:lumMod val="60000"/>
                      <a:lumOff val="40000"/>
                    </a:srgbClr>
                  </a:solidFill>
                  <a:effectLst/>
                  <a:uLnTx/>
                  <a:uFillTx/>
                  <a:latin typeface="Calibri"/>
                  <a:ea typeface="+mn-ea"/>
                  <a:cs typeface="+mn-cs"/>
                </a:rPr>
                <a:t>transporte, seguros y gastos conexos </a:t>
              </a:r>
              <a:r>
                <a:rPr kumimoji="0" lang="es-MX" sz="1200" b="1" i="0" u="none" strike="noStrike" kern="1200" cap="none" spc="0" normalizeH="0" baseline="0" noProof="0" dirty="0">
                  <a:ln>
                    <a:noFill/>
                  </a:ln>
                  <a:solidFill>
                    <a:prstClr val="white"/>
                  </a:solidFill>
                  <a:effectLst/>
                  <a:uLnTx/>
                  <a:uFillTx/>
                  <a:latin typeface="Calibri"/>
                  <a:ea typeface="+mn-ea"/>
                  <a:cs typeface="+mn-cs"/>
                </a:rPr>
                <a:t>que correspondan a la operación de que se trate</a:t>
              </a:r>
              <a:endParaRPr kumimoji="0" lang="es-MX"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8" name="Rectangle 97"/>
            <p:cNvSpPr/>
            <p:nvPr/>
          </p:nvSpPr>
          <p:spPr>
            <a:xfrm>
              <a:off x="5566433" y="4559688"/>
              <a:ext cx="1786263" cy="10578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VII. </a:t>
              </a:r>
              <a:r>
                <a:rPr kumimoji="0" lang="es-MX" sz="1200" b="1" i="0" u="none" strike="noStrike" kern="1200" cap="none" spc="0" normalizeH="0" baseline="0" noProof="0" dirty="0">
                  <a:ln>
                    <a:noFill/>
                  </a:ln>
                  <a:solidFill>
                    <a:srgbClr val="007CB0">
                      <a:lumMod val="20000"/>
                      <a:lumOff val="80000"/>
                    </a:srgbClr>
                  </a:solidFill>
                  <a:effectLst/>
                  <a:uLnTx/>
                  <a:uFillTx/>
                  <a:latin typeface="Calibri"/>
                  <a:ea typeface="+mn-ea"/>
                  <a:cs typeface="+mn-cs"/>
                </a:rPr>
                <a:t>Contratos</a:t>
              </a:r>
              <a:r>
                <a:rPr kumimoji="0" lang="es-MX" sz="1200" b="1" i="0" u="none" strike="noStrike" kern="1200" cap="none" spc="0" normalizeH="0" baseline="0" noProof="0" dirty="0">
                  <a:ln>
                    <a:noFill/>
                  </a:ln>
                  <a:solidFill>
                    <a:prstClr val="white"/>
                  </a:solidFill>
                  <a:effectLst/>
                  <a:uLnTx/>
                  <a:uFillTx/>
                  <a:latin typeface="Calibri"/>
                  <a:ea typeface="+mn-ea"/>
                  <a:cs typeface="+mn-cs"/>
                </a:rPr>
                <a:t> relacionados con la transacción de la Mercancía objeto de la operación</a:t>
              </a:r>
              <a:endParaRPr kumimoji="0" lang="es-MX" sz="1200" b="0" i="0" u="none" strike="noStrike" kern="0" cap="none" spc="0" normalizeH="0" baseline="0" noProof="0" dirty="0">
                <a:ln>
                  <a:noFill/>
                </a:ln>
                <a:solidFill>
                  <a:prstClr val="white"/>
                </a:solidFill>
                <a:effectLst/>
                <a:uLnTx/>
                <a:uFillTx/>
                <a:latin typeface="Calibri"/>
                <a:ea typeface="+mn-ea"/>
                <a:cs typeface="+mn-cs"/>
              </a:endParaRPr>
            </a:p>
          </p:txBody>
        </p:sp>
        <p:sp>
          <p:nvSpPr>
            <p:cNvPr id="99" name="Rectangle 98"/>
            <p:cNvSpPr/>
            <p:nvPr/>
          </p:nvSpPr>
          <p:spPr>
            <a:xfrm>
              <a:off x="7925956" y="4505020"/>
              <a:ext cx="2125178" cy="86547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VIII. Los que soporten los </a:t>
              </a:r>
              <a:r>
                <a:rPr kumimoji="0" lang="es-MX" sz="1200" b="1" i="0" u="none" strike="noStrike" kern="1200" cap="none" spc="0" normalizeH="0" baseline="0" noProof="0" dirty="0">
                  <a:ln>
                    <a:noFill/>
                  </a:ln>
                  <a:solidFill>
                    <a:prstClr val="black"/>
                  </a:solidFill>
                  <a:effectLst/>
                  <a:uLnTx/>
                  <a:uFillTx/>
                  <a:latin typeface="Calibri"/>
                  <a:ea typeface="+mn-ea"/>
                  <a:cs typeface="+mn-cs"/>
                </a:rPr>
                <a:t>conceptos incrementables a</a:t>
              </a:r>
              <a:r>
                <a:rPr kumimoji="0" lang="es-MX" sz="1200" b="1" i="0" u="none" strike="noStrike" kern="1200" cap="none" spc="0" normalizeH="0" baseline="0" noProof="0" dirty="0">
                  <a:ln>
                    <a:noFill/>
                  </a:ln>
                  <a:solidFill>
                    <a:prstClr val="white"/>
                  </a:solidFill>
                  <a:effectLst/>
                  <a:uLnTx/>
                  <a:uFillTx/>
                  <a:latin typeface="Calibri"/>
                  <a:ea typeface="+mn-ea"/>
                  <a:cs typeface="+mn-cs"/>
                </a:rPr>
                <a:t> que se refiere el artículo 65 de la Ley</a:t>
              </a:r>
            </a:p>
          </p:txBody>
        </p:sp>
        <p:sp>
          <p:nvSpPr>
            <p:cNvPr id="100" name="Rectangle 99"/>
            <p:cNvSpPr/>
            <p:nvPr/>
          </p:nvSpPr>
          <p:spPr>
            <a:xfrm>
              <a:off x="10212326" y="3040213"/>
              <a:ext cx="1827880" cy="1634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none" strike="noStrike" kern="1200" cap="none" spc="0" normalizeH="0" baseline="0" noProof="0" dirty="0">
                  <a:ln>
                    <a:noFill/>
                  </a:ln>
                  <a:solidFill>
                    <a:prstClr val="white"/>
                  </a:solidFill>
                  <a:effectLst/>
                  <a:uLnTx/>
                  <a:uFillTx/>
                  <a:latin typeface="Calibri"/>
                  <a:ea typeface="+mn-ea"/>
                  <a:cs typeface="+mn-cs"/>
                </a:rPr>
                <a:t>IX. Cualquier otra información y documentación necesaria para la determinación de valor en aduana de la Mercancía de que se trate</a:t>
              </a:r>
              <a:endParaRPr kumimoji="0" lang="en-US" sz="1200" b="0" i="0" u="none" strike="noStrike" kern="0" cap="none" spc="0" normalizeH="0" baseline="0" noProof="0" dirty="0">
                <a:ln>
                  <a:noFill/>
                </a:ln>
                <a:solidFill>
                  <a:prstClr val="white"/>
                </a:solidFill>
                <a:effectLst/>
                <a:uLnTx/>
                <a:uFillTx/>
                <a:latin typeface="Calibri"/>
                <a:ea typeface="+mn-ea"/>
                <a:cs typeface="+mn-cs"/>
              </a:endParaRPr>
            </a:p>
          </p:txBody>
        </p:sp>
      </p:grpSp>
      <p:sp>
        <p:nvSpPr>
          <p:cNvPr id="26" name="Rectangle 25">
            <a:extLst>
              <a:ext uri="{FF2B5EF4-FFF2-40B4-BE49-F238E27FC236}">
                <a16:creationId xmlns:a16="http://schemas.microsoft.com/office/drawing/2014/main" id="{8EA18228-9C8B-4B6A-A337-CDF79BBF35C2}"/>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27" name="Rectangle 26">
            <a:extLst>
              <a:ext uri="{FF2B5EF4-FFF2-40B4-BE49-F238E27FC236}">
                <a16:creationId xmlns:a16="http://schemas.microsoft.com/office/drawing/2014/main" id="{1660D0C7-9E00-47E8-A41E-494DC0FE1ACD}"/>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16328170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1"/>
          <p:cNvSpPr txBox="1">
            <a:spLocks/>
          </p:cNvSpPr>
          <p:nvPr/>
        </p:nvSpPr>
        <p:spPr bwMode="gray">
          <a:xfrm>
            <a:off x="4481512" y="1700213"/>
            <a:ext cx="7240587" cy="1592403"/>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600" b="1" kern="1200">
                <a:solidFill>
                  <a:schemeClr val="bg1"/>
                </a:solidFill>
                <a:latin typeface="+mj-lt"/>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alibri"/>
              <a:ea typeface="Open Sans" panose="020B0606030504020204" pitchFamily="34" charset="0"/>
              <a:cs typeface="Open Sans" panose="020B0606030504020204" pitchFamily="34" charset="0"/>
            </a:endParaRPr>
          </a:p>
        </p:txBody>
      </p:sp>
      <p:sp>
        <p:nvSpPr>
          <p:cNvPr id="2" name="Title 1"/>
          <p:cNvSpPr>
            <a:spLocks noGrp="1"/>
          </p:cNvSpPr>
          <p:nvPr>
            <p:ph type="title"/>
          </p:nvPr>
        </p:nvSpPr>
        <p:spPr>
          <a:xfrm>
            <a:off x="457200" y="3048430"/>
            <a:ext cx="5181599" cy="761140"/>
          </a:xfrm>
        </p:spPr>
        <p:txBody>
          <a:bodyPr/>
          <a:lstStyle/>
          <a:p>
            <a:r>
              <a:rPr lang="es-MX" dirty="0">
                <a:solidFill>
                  <a:schemeClr val="bg1"/>
                </a:solidFill>
              </a:rPr>
              <a:t>Empresa Cumplida de </a:t>
            </a:r>
            <a:br>
              <a:rPr lang="es-MX" dirty="0">
                <a:solidFill>
                  <a:schemeClr val="bg1"/>
                </a:solidFill>
              </a:rPr>
            </a:br>
            <a:r>
              <a:rPr lang="es-MX" dirty="0">
                <a:solidFill>
                  <a:schemeClr val="bg1"/>
                </a:solidFill>
              </a:rPr>
              <a:t>Comercio Exterior</a:t>
            </a:r>
            <a:endParaRPr lang="es-ES_tradnl" dirty="0">
              <a:solidFill>
                <a:schemeClr val="bg1"/>
              </a:solidFill>
            </a:endParaRPr>
          </a:p>
        </p:txBody>
      </p:sp>
      <p:pic>
        <p:nvPicPr>
          <p:cNvPr id="28674" name="Picture 2">
            <a:extLst>
              <a:ext uri="{FF2B5EF4-FFF2-40B4-BE49-F238E27FC236}">
                <a16:creationId xmlns:a16="http://schemas.microsoft.com/office/drawing/2014/main" id="{1A9FC0AD-2FA7-409C-BA11-7909F8B11F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7100" y="3984"/>
            <a:ext cx="61849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99505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2175596"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Antecedente</a:t>
            </a:r>
          </a:p>
        </p:txBody>
      </p:sp>
      <p:sp>
        <p:nvSpPr>
          <p:cNvPr id="158" name="Text Box 7">
            <a:extLst>
              <a:ext uri="{FF2B5EF4-FFF2-40B4-BE49-F238E27FC236}">
                <a16:creationId xmlns:a16="http://schemas.microsoft.com/office/drawing/2014/main" id="{24F5775C-0599-4CC6-93C5-AC29805B1375}"/>
              </a:ext>
            </a:extLst>
          </p:cNvPr>
          <p:cNvSpPr txBox="1">
            <a:spLocks noChangeArrowheads="1"/>
          </p:cNvSpPr>
          <p:nvPr/>
        </p:nvSpPr>
        <p:spPr bwMode="auto">
          <a:xfrm>
            <a:off x="279835" y="1278109"/>
            <a:ext cx="8337176" cy="384721"/>
          </a:xfrm>
          <a:prstGeom prst="rect">
            <a:avLst/>
          </a:prstGeom>
          <a:noFill/>
          <a:ln w="9525">
            <a:noFill/>
            <a:miter lim="800000"/>
            <a:headEnd/>
            <a:tailEnd/>
          </a:ln>
        </p:spPr>
        <p:txBody>
          <a:bodyPr wrap="square" lIns="45720" tIns="22860" rIns="45720" bIns="22860">
            <a:spAutoFit/>
          </a:bodyPr>
          <a:lstStyle/>
          <a:p>
            <a:pPr defTabSz="1088232"/>
            <a:r>
              <a:rPr lang="es-MX" altLang="zh-CN" sz="2200" b="1" dirty="0">
                <a:latin typeface="Verdana" panose="020B0604030504040204" pitchFamily="34" charset="0"/>
                <a:ea typeface="Verdana" panose="020B0604030504040204" pitchFamily="34" charset="0"/>
                <a:cs typeface="Open Sans" pitchFamily="34" charset="0"/>
              </a:rPr>
              <a:t>Empresa Cumplida en Comercio Exterior (ECCE)</a:t>
            </a:r>
            <a:endParaRPr lang="en-CA" sz="2200" b="1" dirty="0">
              <a:latin typeface="Verdana" panose="020B0604030504040204" pitchFamily="34" charset="0"/>
              <a:ea typeface="Verdana" panose="020B0604030504040204" pitchFamily="34" charset="0"/>
              <a:cs typeface="Open Sans" pitchFamily="34" charset="0"/>
            </a:endParaRPr>
          </a:p>
        </p:txBody>
      </p:sp>
      <p:sp>
        <p:nvSpPr>
          <p:cNvPr id="159" name="Freeform 6">
            <a:extLst>
              <a:ext uri="{FF2B5EF4-FFF2-40B4-BE49-F238E27FC236}">
                <a16:creationId xmlns:a16="http://schemas.microsoft.com/office/drawing/2014/main" id="{33CA54AD-DFB8-4487-A651-23E4AF9F5AD0}"/>
              </a:ext>
            </a:extLst>
          </p:cNvPr>
          <p:cNvSpPr>
            <a:spLocks noEditPoints="1"/>
          </p:cNvSpPr>
          <p:nvPr/>
        </p:nvSpPr>
        <p:spPr bwMode="auto">
          <a:xfrm>
            <a:off x="3116572" y="601878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0" name="Freeform 6">
            <a:extLst>
              <a:ext uri="{FF2B5EF4-FFF2-40B4-BE49-F238E27FC236}">
                <a16:creationId xmlns:a16="http://schemas.microsoft.com/office/drawing/2014/main" id="{457680EF-543B-4BDA-A91B-7A7D6042A3B7}"/>
              </a:ext>
            </a:extLst>
          </p:cNvPr>
          <p:cNvSpPr>
            <a:spLocks noEditPoints="1"/>
          </p:cNvSpPr>
          <p:nvPr/>
        </p:nvSpPr>
        <p:spPr bwMode="auto">
          <a:xfrm>
            <a:off x="5189919" y="604367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1" name="Freeform 6">
            <a:extLst>
              <a:ext uri="{FF2B5EF4-FFF2-40B4-BE49-F238E27FC236}">
                <a16:creationId xmlns:a16="http://schemas.microsoft.com/office/drawing/2014/main" id="{85C5537D-554A-48C8-9045-42BE9DCE8C7F}"/>
              </a:ext>
            </a:extLst>
          </p:cNvPr>
          <p:cNvSpPr>
            <a:spLocks noEditPoints="1"/>
          </p:cNvSpPr>
          <p:nvPr/>
        </p:nvSpPr>
        <p:spPr bwMode="auto">
          <a:xfrm>
            <a:off x="4882281" y="6153850"/>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2" name="Freeform 6">
            <a:extLst>
              <a:ext uri="{FF2B5EF4-FFF2-40B4-BE49-F238E27FC236}">
                <a16:creationId xmlns:a16="http://schemas.microsoft.com/office/drawing/2014/main" id="{BD76BB08-0379-46FF-92E0-F1A07FE10161}"/>
              </a:ext>
            </a:extLst>
          </p:cNvPr>
          <p:cNvSpPr>
            <a:spLocks noEditPoints="1"/>
          </p:cNvSpPr>
          <p:nvPr/>
        </p:nvSpPr>
        <p:spPr bwMode="auto">
          <a:xfrm>
            <a:off x="2642616" y="518031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A7A8A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3" name="Freeform 6">
            <a:extLst>
              <a:ext uri="{FF2B5EF4-FFF2-40B4-BE49-F238E27FC236}">
                <a16:creationId xmlns:a16="http://schemas.microsoft.com/office/drawing/2014/main" id="{1FA4285E-7080-4EEB-B87C-E7BD21C3BD79}"/>
              </a:ext>
            </a:extLst>
          </p:cNvPr>
          <p:cNvSpPr>
            <a:spLocks noEditPoints="1"/>
          </p:cNvSpPr>
          <p:nvPr/>
        </p:nvSpPr>
        <p:spPr bwMode="auto">
          <a:xfrm>
            <a:off x="1903392" y="452540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4" name="Freeform 6">
            <a:extLst>
              <a:ext uri="{FF2B5EF4-FFF2-40B4-BE49-F238E27FC236}">
                <a16:creationId xmlns:a16="http://schemas.microsoft.com/office/drawing/2014/main" id="{035166AF-C51C-497F-AEDF-6F4A4964BE1C}"/>
              </a:ext>
            </a:extLst>
          </p:cNvPr>
          <p:cNvSpPr>
            <a:spLocks noEditPoints="1"/>
          </p:cNvSpPr>
          <p:nvPr/>
        </p:nvSpPr>
        <p:spPr bwMode="auto">
          <a:xfrm>
            <a:off x="5511846" y="61663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5" name="Freeform 6">
            <a:extLst>
              <a:ext uri="{FF2B5EF4-FFF2-40B4-BE49-F238E27FC236}">
                <a16:creationId xmlns:a16="http://schemas.microsoft.com/office/drawing/2014/main" id="{0A02B149-7816-4F6D-9588-F0E24BF5F784}"/>
              </a:ext>
            </a:extLst>
          </p:cNvPr>
          <p:cNvSpPr>
            <a:spLocks noEditPoints="1"/>
          </p:cNvSpPr>
          <p:nvPr/>
        </p:nvSpPr>
        <p:spPr bwMode="auto">
          <a:xfrm>
            <a:off x="2542838" y="6098633"/>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6" name="Freeform 6">
            <a:extLst>
              <a:ext uri="{FF2B5EF4-FFF2-40B4-BE49-F238E27FC236}">
                <a16:creationId xmlns:a16="http://schemas.microsoft.com/office/drawing/2014/main" id="{351E1AAC-96F8-4B6D-A50A-2F219B742C24}"/>
              </a:ext>
            </a:extLst>
          </p:cNvPr>
          <p:cNvSpPr>
            <a:spLocks noEditPoints="1"/>
          </p:cNvSpPr>
          <p:nvPr/>
        </p:nvSpPr>
        <p:spPr bwMode="auto">
          <a:xfrm>
            <a:off x="621888" y="492419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7" name="Freeform 6">
            <a:extLst>
              <a:ext uri="{FF2B5EF4-FFF2-40B4-BE49-F238E27FC236}">
                <a16:creationId xmlns:a16="http://schemas.microsoft.com/office/drawing/2014/main" id="{8BC37251-58D7-45AA-AC70-08D7AA3908B6}"/>
              </a:ext>
            </a:extLst>
          </p:cNvPr>
          <p:cNvSpPr>
            <a:spLocks noEditPoints="1"/>
          </p:cNvSpPr>
          <p:nvPr/>
        </p:nvSpPr>
        <p:spPr bwMode="auto">
          <a:xfrm>
            <a:off x="4329594" y="5522847"/>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8" name="Freeform 6">
            <a:extLst>
              <a:ext uri="{FF2B5EF4-FFF2-40B4-BE49-F238E27FC236}">
                <a16:creationId xmlns:a16="http://schemas.microsoft.com/office/drawing/2014/main" id="{38F99329-508D-4DB6-AF60-39523AE5651E}"/>
              </a:ext>
            </a:extLst>
          </p:cNvPr>
          <p:cNvSpPr>
            <a:spLocks noEditPoints="1"/>
          </p:cNvSpPr>
          <p:nvPr/>
        </p:nvSpPr>
        <p:spPr bwMode="auto">
          <a:xfrm>
            <a:off x="10725000" y="2284824"/>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9" name="Freeform 6">
            <a:extLst>
              <a:ext uri="{FF2B5EF4-FFF2-40B4-BE49-F238E27FC236}">
                <a16:creationId xmlns:a16="http://schemas.microsoft.com/office/drawing/2014/main" id="{7D6E0E7D-ADFF-43ED-8737-9B5DA8012207}"/>
              </a:ext>
            </a:extLst>
          </p:cNvPr>
          <p:cNvSpPr>
            <a:spLocks noEditPoints="1"/>
          </p:cNvSpPr>
          <p:nvPr/>
        </p:nvSpPr>
        <p:spPr bwMode="auto">
          <a:xfrm>
            <a:off x="1456188" y="5951621"/>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0" name="Freeform 6">
            <a:extLst>
              <a:ext uri="{FF2B5EF4-FFF2-40B4-BE49-F238E27FC236}">
                <a16:creationId xmlns:a16="http://schemas.microsoft.com/office/drawing/2014/main" id="{2CC3001A-6913-4D4C-949F-04DAE498AD10}"/>
              </a:ext>
            </a:extLst>
          </p:cNvPr>
          <p:cNvSpPr>
            <a:spLocks noEditPoints="1"/>
          </p:cNvSpPr>
          <p:nvPr/>
        </p:nvSpPr>
        <p:spPr bwMode="auto">
          <a:xfrm>
            <a:off x="1171286" y="5133022"/>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1" name="Freeform 6">
            <a:extLst>
              <a:ext uri="{FF2B5EF4-FFF2-40B4-BE49-F238E27FC236}">
                <a16:creationId xmlns:a16="http://schemas.microsoft.com/office/drawing/2014/main" id="{CA354135-5EB3-4D50-B9CD-00893BB39073}"/>
              </a:ext>
            </a:extLst>
          </p:cNvPr>
          <p:cNvSpPr>
            <a:spLocks noEditPoints="1"/>
          </p:cNvSpPr>
          <p:nvPr/>
        </p:nvSpPr>
        <p:spPr bwMode="auto">
          <a:xfrm>
            <a:off x="11347544" y="2457748"/>
            <a:ext cx="173555" cy="172924"/>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Rounded Rectangle 106">
            <a:extLst>
              <a:ext uri="{FF2B5EF4-FFF2-40B4-BE49-F238E27FC236}">
                <a16:creationId xmlns:a16="http://schemas.microsoft.com/office/drawing/2014/main" id="{6E84118B-6288-4F5A-AFB1-917BF629462E}"/>
              </a:ext>
            </a:extLst>
          </p:cNvPr>
          <p:cNvSpPr/>
          <p:nvPr/>
        </p:nvSpPr>
        <p:spPr>
          <a:xfrm>
            <a:off x="488181" y="2215838"/>
            <a:ext cx="9150762" cy="1057457"/>
          </a:xfrm>
          <a:prstGeom prst="snip2DiagRect">
            <a:avLst/>
          </a:prstGeom>
          <a:no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3" name="Text Box 10">
            <a:extLst>
              <a:ext uri="{FF2B5EF4-FFF2-40B4-BE49-F238E27FC236}">
                <a16:creationId xmlns:a16="http://schemas.microsoft.com/office/drawing/2014/main" id="{BC14082E-EA67-45D9-8B98-6F718CBE167C}"/>
              </a:ext>
            </a:extLst>
          </p:cNvPr>
          <p:cNvSpPr txBox="1">
            <a:spLocks noChangeArrowheads="1"/>
          </p:cNvSpPr>
          <p:nvPr/>
        </p:nvSpPr>
        <p:spPr bwMode="auto">
          <a:xfrm>
            <a:off x="296756" y="2007391"/>
            <a:ext cx="8631299" cy="623248"/>
          </a:xfrm>
          <a:prstGeom prst="rect">
            <a:avLst/>
          </a:prstGeom>
          <a:noFill/>
          <a:ln w="9525">
            <a:noFill/>
            <a:miter lim="800000"/>
            <a:headEnd/>
            <a:tailEnd/>
          </a:ln>
        </p:spPr>
        <p:txBody>
          <a:bodyPr wrap="square" lIns="45720" tIns="22860" rIns="45720" bIns="22860">
            <a:spAutoFit/>
          </a:bodyPr>
          <a:lstStyle/>
          <a:p>
            <a:pPr defTabSz="1088232"/>
            <a:r>
              <a:rPr lang="es-MX" sz="1250" b="1" dirty="0">
                <a:latin typeface="Verdana" panose="020B0604030504040204" pitchFamily="34" charset="0"/>
                <a:ea typeface="Verdana" panose="020B0604030504040204" pitchFamily="34" charset="0"/>
              </a:rPr>
              <a:t>El pasado 15 de agosto de 2022</a:t>
            </a:r>
            <a:r>
              <a:rPr lang="es-MX" sz="1250" dirty="0">
                <a:latin typeface="Verdana" panose="020B0604030504040204" pitchFamily="34" charset="0"/>
                <a:ea typeface="Verdana" panose="020B0604030504040204" pitchFamily="34" charset="0"/>
              </a:rPr>
              <a:t>, la Secretaría de Economía (SE), a través de la Dirección General de Facilitación Comercial y de Comercio Exterior, lanzó una convocatoria para participar en el “Piloto de la Empresa Cumplida en Comercio Exterior”</a:t>
            </a:r>
            <a:endParaRPr lang="en-US" altLang="zh-CN" sz="1250" dirty="0">
              <a:latin typeface="Verdana" panose="020B0604030504040204" pitchFamily="34" charset="0"/>
              <a:ea typeface="Verdana" panose="020B0604030504040204" pitchFamily="34" charset="0"/>
              <a:cs typeface="Open Sans" pitchFamily="34" charset="0"/>
            </a:endParaRPr>
          </a:p>
        </p:txBody>
      </p:sp>
      <p:grpSp>
        <p:nvGrpSpPr>
          <p:cNvPr id="175" name="组合 105">
            <a:extLst>
              <a:ext uri="{FF2B5EF4-FFF2-40B4-BE49-F238E27FC236}">
                <a16:creationId xmlns:a16="http://schemas.microsoft.com/office/drawing/2014/main" id="{65F711DD-600B-4E60-A213-C25B1A6A8BA7}"/>
              </a:ext>
            </a:extLst>
          </p:cNvPr>
          <p:cNvGrpSpPr/>
          <p:nvPr/>
        </p:nvGrpSpPr>
        <p:grpSpPr>
          <a:xfrm>
            <a:off x="2542838" y="2991058"/>
            <a:ext cx="4654082" cy="1617978"/>
            <a:chOff x="3201313" y="4298205"/>
            <a:chExt cx="4046097" cy="1617978"/>
          </a:xfrm>
        </p:grpSpPr>
        <p:sp>
          <p:nvSpPr>
            <p:cNvPr id="176" name="Text Box 10">
              <a:extLst>
                <a:ext uri="{FF2B5EF4-FFF2-40B4-BE49-F238E27FC236}">
                  <a16:creationId xmlns:a16="http://schemas.microsoft.com/office/drawing/2014/main" id="{B836C5BD-DD62-4F22-B08A-945B3F18FF94}"/>
                </a:ext>
              </a:extLst>
            </p:cNvPr>
            <p:cNvSpPr txBox="1">
              <a:spLocks noChangeArrowheads="1"/>
            </p:cNvSpPr>
            <p:nvPr/>
          </p:nvSpPr>
          <p:spPr bwMode="auto">
            <a:xfrm>
              <a:off x="3378736" y="4426665"/>
              <a:ext cx="3697631" cy="1400383"/>
            </a:xfrm>
            <a:prstGeom prst="rect">
              <a:avLst/>
            </a:prstGeom>
            <a:noFill/>
            <a:ln w="9525">
              <a:noFill/>
              <a:miter lim="800000"/>
              <a:headEnd/>
              <a:tailEnd/>
            </a:ln>
          </p:spPr>
          <p:txBody>
            <a:bodyPr wrap="square" lIns="45720" tIns="22860" rIns="45720" bIns="22860">
              <a:spAutoFit/>
            </a:bodyPr>
            <a:lstStyle/>
            <a:p>
              <a:pPr defTabSz="1088232"/>
              <a:r>
                <a:rPr lang="es-MX" altLang="zh-CN" sz="1100" b="1" i="1" dirty="0">
                  <a:solidFill>
                    <a:srgbClr val="86BC25"/>
                  </a:solidFill>
                  <a:latin typeface="Verdana" panose="020B0604030504040204" pitchFamily="34" charset="0"/>
                  <a:ea typeface="Verdana" panose="020B0604030504040204" pitchFamily="34" charset="0"/>
                  <a:cs typeface="Open Sans" pitchFamily="34" charset="0"/>
                </a:rPr>
                <a:t>La Secretaría de Economía había puesto a disposición de las empresas establecidas en México que </a:t>
              </a:r>
              <a:r>
                <a:rPr lang="es-MX" sz="1100" b="1" i="1" dirty="0">
                  <a:solidFill>
                    <a:srgbClr val="86BC25"/>
                  </a:solidFill>
                  <a:latin typeface="Verdana" panose="020B0604030504040204" pitchFamily="34" charset="0"/>
                  <a:ea typeface="Verdana" panose="020B0604030504040204" pitchFamily="34" charset="0"/>
                  <a:cs typeface="Open Sans" pitchFamily="34" charset="0"/>
                </a:rPr>
                <a:t>realizan operaciones de comercio exterior, interesadas en ser consideradas en la primera etapa de este programa piloto, el correo electrónico dgce.tramites@economia.gob.mx a través del cual podían manifestar su interés antes del </a:t>
              </a:r>
              <a:r>
                <a:rPr lang="es-MX" sz="1100" b="1" i="1" u="sng" dirty="0">
                  <a:solidFill>
                    <a:srgbClr val="86BC25"/>
                  </a:solidFill>
                  <a:latin typeface="Verdana" panose="020B0604030504040204" pitchFamily="34" charset="0"/>
                  <a:ea typeface="Verdana" panose="020B0604030504040204" pitchFamily="34" charset="0"/>
                  <a:cs typeface="Open Sans" pitchFamily="34" charset="0"/>
                </a:rPr>
                <a:t>30 de septiembre de 2022.</a:t>
              </a:r>
              <a:endParaRPr lang="en-US" sz="1100" b="1" i="1" u="sng" dirty="0">
                <a:solidFill>
                  <a:srgbClr val="86BC25"/>
                </a:solidFill>
                <a:latin typeface="Verdana" panose="020B0604030504040204" pitchFamily="34" charset="0"/>
                <a:ea typeface="Verdana" panose="020B0604030504040204" pitchFamily="34" charset="0"/>
                <a:cs typeface="Open Sans" pitchFamily="34" charset="0"/>
              </a:endParaRPr>
            </a:p>
          </p:txBody>
        </p:sp>
        <p:sp>
          <p:nvSpPr>
            <p:cNvPr id="177" name="Rounded Rectangle 106">
              <a:extLst>
                <a:ext uri="{FF2B5EF4-FFF2-40B4-BE49-F238E27FC236}">
                  <a16:creationId xmlns:a16="http://schemas.microsoft.com/office/drawing/2014/main" id="{78D5DB95-CFCA-415B-86B4-704752D2BDB5}"/>
                </a:ext>
              </a:extLst>
            </p:cNvPr>
            <p:cNvSpPr/>
            <p:nvPr/>
          </p:nvSpPr>
          <p:spPr>
            <a:xfrm>
              <a:off x="3201313" y="4298205"/>
              <a:ext cx="4046097" cy="1617978"/>
            </a:xfrm>
            <a:prstGeom prst="snipRoundRect">
              <a:avLst>
                <a:gd name="adj1" fmla="val 0"/>
                <a:gd name="adj2" fmla="val 16667"/>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178" name="组合 106">
            <a:extLst>
              <a:ext uri="{FF2B5EF4-FFF2-40B4-BE49-F238E27FC236}">
                <a16:creationId xmlns:a16="http://schemas.microsoft.com/office/drawing/2014/main" id="{F8217257-ADB0-46F4-830E-9E613FBAF4A0}"/>
              </a:ext>
            </a:extLst>
          </p:cNvPr>
          <p:cNvGrpSpPr/>
          <p:nvPr/>
        </p:nvGrpSpPr>
        <p:grpSpPr>
          <a:xfrm>
            <a:off x="7567419" y="4609037"/>
            <a:ext cx="4046097" cy="1635228"/>
            <a:chOff x="3201313" y="4298205"/>
            <a:chExt cx="4046097" cy="2746809"/>
          </a:xfrm>
        </p:grpSpPr>
        <p:sp>
          <p:nvSpPr>
            <p:cNvPr id="179" name="Text Box 10">
              <a:extLst>
                <a:ext uri="{FF2B5EF4-FFF2-40B4-BE49-F238E27FC236}">
                  <a16:creationId xmlns:a16="http://schemas.microsoft.com/office/drawing/2014/main" id="{E5EF0D1A-4A39-4BB9-83F4-195C8FED498A}"/>
                </a:ext>
              </a:extLst>
            </p:cNvPr>
            <p:cNvSpPr txBox="1">
              <a:spLocks noChangeArrowheads="1"/>
            </p:cNvSpPr>
            <p:nvPr/>
          </p:nvSpPr>
          <p:spPr bwMode="auto">
            <a:xfrm>
              <a:off x="3378736" y="4640991"/>
              <a:ext cx="3697631" cy="2404023"/>
            </a:xfrm>
            <a:prstGeom prst="rect">
              <a:avLst/>
            </a:prstGeom>
            <a:noFill/>
            <a:ln w="9525">
              <a:noFill/>
              <a:miter lim="800000"/>
              <a:headEnd/>
              <a:tailEnd/>
            </a:ln>
          </p:spPr>
          <p:txBody>
            <a:bodyPr wrap="square" lIns="45720" tIns="22860" rIns="45720" bIns="22860">
              <a:spAutoFit/>
            </a:bodyPr>
            <a:lstStyle/>
            <a:p>
              <a:pPr defTabSz="1088232"/>
              <a:r>
                <a:rPr lang="es-MX" sz="1500" b="1" dirty="0">
                  <a:solidFill>
                    <a:srgbClr val="00B050"/>
                  </a:solidFill>
                  <a:latin typeface="Verdana" panose="020B0604030504040204" pitchFamily="34" charset="0"/>
                  <a:ea typeface="Verdana" panose="020B0604030504040204" pitchFamily="34" charset="0"/>
                </a:rPr>
                <a:t>El 29 de septiembre</a:t>
              </a:r>
              <a:r>
                <a:rPr lang="es-MX" sz="1500" b="1" dirty="0">
                  <a:latin typeface="Verdana" panose="020B0604030504040204" pitchFamily="34" charset="0"/>
                  <a:ea typeface="Verdana" panose="020B0604030504040204" pitchFamily="34" charset="0"/>
                </a:rPr>
                <a:t>, a través de la página oficial de SNICE, se publicó una prórroga para manifestar dicho interés hasta antes del </a:t>
              </a:r>
              <a:r>
                <a:rPr lang="es-MX" sz="1500" b="1" dirty="0">
                  <a:solidFill>
                    <a:srgbClr val="00B050"/>
                  </a:solidFill>
                  <a:latin typeface="Verdana" panose="020B0604030504040204" pitchFamily="34" charset="0"/>
                  <a:ea typeface="Verdana" panose="020B0604030504040204" pitchFamily="34" charset="0"/>
                </a:rPr>
                <a:t>31 de octubre de 2022.</a:t>
              </a:r>
            </a:p>
            <a:p>
              <a:pPr defTabSz="1088232"/>
              <a:endParaRPr lang="en-US" altLang="zh-CN" sz="1500" b="1" dirty="0">
                <a:ea typeface="Open Sans" pitchFamily="34" charset="0"/>
                <a:cs typeface="Open Sans" pitchFamily="34" charset="0"/>
              </a:endParaRPr>
            </a:p>
          </p:txBody>
        </p:sp>
        <p:sp>
          <p:nvSpPr>
            <p:cNvPr id="180" name="Rounded Rectangle 106">
              <a:extLst>
                <a:ext uri="{FF2B5EF4-FFF2-40B4-BE49-F238E27FC236}">
                  <a16:creationId xmlns:a16="http://schemas.microsoft.com/office/drawing/2014/main" id="{18CD2BAC-7930-43C6-8AF8-3E11DD0AF57D}"/>
                </a:ext>
              </a:extLst>
            </p:cNvPr>
            <p:cNvSpPr/>
            <p:nvPr/>
          </p:nvSpPr>
          <p:spPr>
            <a:xfrm>
              <a:off x="3201313" y="4298205"/>
              <a:ext cx="4046097" cy="2700336"/>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grpSp>
        <p:nvGrpSpPr>
          <p:cNvPr id="181" name="Group 180">
            <a:extLst>
              <a:ext uri="{FF2B5EF4-FFF2-40B4-BE49-F238E27FC236}">
                <a16:creationId xmlns:a16="http://schemas.microsoft.com/office/drawing/2014/main" id="{A7C88058-967E-4A48-BA58-1759A653A871}"/>
              </a:ext>
            </a:extLst>
          </p:cNvPr>
          <p:cNvGrpSpPr/>
          <p:nvPr/>
        </p:nvGrpSpPr>
        <p:grpSpPr>
          <a:xfrm>
            <a:off x="4185613" y="5825413"/>
            <a:ext cx="461518" cy="463375"/>
            <a:chOff x="1375131" y="1918988"/>
            <a:chExt cx="651085" cy="653705"/>
          </a:xfrm>
        </p:grpSpPr>
        <p:sp>
          <p:nvSpPr>
            <p:cNvPr id="182" name="Freeform 17">
              <a:extLst>
                <a:ext uri="{FF2B5EF4-FFF2-40B4-BE49-F238E27FC236}">
                  <a16:creationId xmlns:a16="http://schemas.microsoft.com/office/drawing/2014/main" id="{DF183715-C06A-4364-8419-4AD583951DE4}"/>
                </a:ext>
              </a:extLst>
            </p:cNvPr>
            <p:cNvSpPr>
              <a:spLocks noEditPoints="1"/>
            </p:cNvSpPr>
            <p:nvPr/>
          </p:nvSpPr>
          <p:spPr bwMode="auto">
            <a:xfrm>
              <a:off x="1375131" y="1918988"/>
              <a:ext cx="651085" cy="653705"/>
            </a:xfrm>
            <a:custGeom>
              <a:avLst/>
              <a:gdLst>
                <a:gd name="T0" fmla="*/ 214 w 223"/>
                <a:gd name="T1" fmla="*/ 105 h 224"/>
                <a:gd name="T2" fmla="*/ 213 w 223"/>
                <a:gd name="T3" fmla="*/ 94 h 224"/>
                <a:gd name="T4" fmla="*/ 210 w 223"/>
                <a:gd name="T5" fmla="*/ 83 h 224"/>
                <a:gd name="T6" fmla="*/ 207 w 223"/>
                <a:gd name="T7" fmla="*/ 73 h 224"/>
                <a:gd name="T8" fmla="*/ 202 w 223"/>
                <a:gd name="T9" fmla="*/ 64 h 224"/>
                <a:gd name="T10" fmla="*/ 197 w 223"/>
                <a:gd name="T11" fmla="*/ 54 h 224"/>
                <a:gd name="T12" fmla="*/ 190 w 223"/>
                <a:gd name="T13" fmla="*/ 46 h 224"/>
                <a:gd name="T14" fmla="*/ 183 w 223"/>
                <a:gd name="T15" fmla="*/ 38 h 224"/>
                <a:gd name="T16" fmla="*/ 175 w 223"/>
                <a:gd name="T17" fmla="*/ 31 h 224"/>
                <a:gd name="T18" fmla="*/ 166 w 223"/>
                <a:gd name="T19" fmla="*/ 25 h 224"/>
                <a:gd name="T20" fmla="*/ 156 w 223"/>
                <a:gd name="T21" fmla="*/ 20 h 224"/>
                <a:gd name="T22" fmla="*/ 146 w 223"/>
                <a:gd name="T23" fmla="*/ 15 h 224"/>
                <a:gd name="T24" fmla="*/ 136 w 223"/>
                <a:gd name="T25" fmla="*/ 12 h 224"/>
                <a:gd name="T26" fmla="*/ 125 w 223"/>
                <a:gd name="T27" fmla="*/ 10 h 224"/>
                <a:gd name="T28" fmla="*/ 115 w 223"/>
                <a:gd name="T29" fmla="*/ 9 h 224"/>
                <a:gd name="T30" fmla="*/ 104 w 223"/>
                <a:gd name="T31" fmla="*/ 10 h 224"/>
                <a:gd name="T32" fmla="*/ 93 w 223"/>
                <a:gd name="T33" fmla="*/ 11 h 224"/>
                <a:gd name="T34" fmla="*/ 83 w 223"/>
                <a:gd name="T35" fmla="*/ 14 h 224"/>
                <a:gd name="T36" fmla="*/ 73 w 223"/>
                <a:gd name="T37" fmla="*/ 17 h 224"/>
                <a:gd name="T38" fmla="*/ 63 w 223"/>
                <a:gd name="T39" fmla="*/ 22 h 224"/>
                <a:gd name="T40" fmla="*/ 54 w 223"/>
                <a:gd name="T41" fmla="*/ 27 h 224"/>
                <a:gd name="T42" fmla="*/ 45 w 223"/>
                <a:gd name="T43" fmla="*/ 34 h 224"/>
                <a:gd name="T44" fmla="*/ 38 w 223"/>
                <a:gd name="T45" fmla="*/ 41 h 224"/>
                <a:gd name="T46" fmla="*/ 30 w 223"/>
                <a:gd name="T47" fmla="*/ 49 h 224"/>
                <a:gd name="T48" fmla="*/ 24 w 223"/>
                <a:gd name="T49" fmla="*/ 58 h 224"/>
                <a:gd name="T50" fmla="*/ 19 w 223"/>
                <a:gd name="T51" fmla="*/ 68 h 224"/>
                <a:gd name="T52" fmla="*/ 15 w 223"/>
                <a:gd name="T53" fmla="*/ 78 h 224"/>
                <a:gd name="T54" fmla="*/ 12 w 223"/>
                <a:gd name="T55" fmla="*/ 88 h 224"/>
                <a:gd name="T56" fmla="*/ 10 w 223"/>
                <a:gd name="T57" fmla="*/ 98 h 224"/>
                <a:gd name="T58" fmla="*/ 9 w 223"/>
                <a:gd name="T59" fmla="*/ 109 h 224"/>
                <a:gd name="T60" fmla="*/ 9 w 223"/>
                <a:gd name="T61" fmla="*/ 120 h 224"/>
                <a:gd name="T62" fmla="*/ 11 w 223"/>
                <a:gd name="T63" fmla="*/ 131 h 224"/>
                <a:gd name="T64" fmla="*/ 13 w 223"/>
                <a:gd name="T65" fmla="*/ 141 h 224"/>
                <a:gd name="T66" fmla="*/ 17 w 223"/>
                <a:gd name="T67" fmla="*/ 151 h 224"/>
                <a:gd name="T68" fmla="*/ 21 w 223"/>
                <a:gd name="T69" fmla="*/ 161 h 224"/>
                <a:gd name="T70" fmla="*/ 27 w 223"/>
                <a:gd name="T71" fmla="*/ 170 h 224"/>
                <a:gd name="T72" fmla="*/ 33 w 223"/>
                <a:gd name="T73" fmla="*/ 179 h 224"/>
                <a:gd name="T74" fmla="*/ 41 w 223"/>
                <a:gd name="T75" fmla="*/ 187 h 224"/>
                <a:gd name="T76" fmla="*/ 49 w 223"/>
                <a:gd name="T77" fmla="*/ 194 h 224"/>
                <a:gd name="T78" fmla="*/ 58 w 223"/>
                <a:gd name="T79" fmla="*/ 200 h 224"/>
                <a:gd name="T80" fmla="*/ 67 w 223"/>
                <a:gd name="T81" fmla="*/ 205 h 224"/>
                <a:gd name="T82" fmla="*/ 77 w 223"/>
                <a:gd name="T83" fmla="*/ 209 h 224"/>
                <a:gd name="T84" fmla="*/ 87 w 223"/>
                <a:gd name="T85" fmla="*/ 212 h 224"/>
                <a:gd name="T86" fmla="*/ 98 w 223"/>
                <a:gd name="T87" fmla="*/ 214 h 224"/>
                <a:gd name="T88" fmla="*/ 109 w 223"/>
                <a:gd name="T89" fmla="*/ 215 h 224"/>
                <a:gd name="T90" fmla="*/ 119 w 223"/>
                <a:gd name="T91" fmla="*/ 215 h 224"/>
                <a:gd name="T92" fmla="*/ 130 w 223"/>
                <a:gd name="T93" fmla="*/ 213 h 224"/>
                <a:gd name="T94" fmla="*/ 141 w 223"/>
                <a:gd name="T95" fmla="*/ 211 h 224"/>
                <a:gd name="T96" fmla="*/ 151 w 223"/>
                <a:gd name="T97" fmla="*/ 207 h 224"/>
                <a:gd name="T98" fmla="*/ 160 w 223"/>
                <a:gd name="T99" fmla="*/ 203 h 224"/>
                <a:gd name="T100" fmla="*/ 170 w 223"/>
                <a:gd name="T101" fmla="*/ 197 h 224"/>
                <a:gd name="T102" fmla="*/ 178 w 223"/>
                <a:gd name="T103" fmla="*/ 191 h 224"/>
                <a:gd name="T104" fmla="*/ 186 w 223"/>
                <a:gd name="T105" fmla="*/ 183 h 224"/>
                <a:gd name="T106" fmla="*/ 193 w 223"/>
                <a:gd name="T107" fmla="*/ 175 h 224"/>
                <a:gd name="T108" fmla="*/ 199 w 223"/>
                <a:gd name="T109" fmla="*/ 166 h 224"/>
                <a:gd name="T110" fmla="*/ 204 w 223"/>
                <a:gd name="T111" fmla="*/ 157 h 224"/>
                <a:gd name="T112" fmla="*/ 208 w 223"/>
                <a:gd name="T113" fmla="*/ 147 h 224"/>
                <a:gd name="T114" fmla="*/ 211 w 223"/>
                <a:gd name="T115" fmla="*/ 137 h 224"/>
                <a:gd name="T116" fmla="*/ 214 w 223"/>
                <a:gd name="T117" fmla="*/ 126 h 224"/>
                <a:gd name="T118" fmla="*/ 214 w 223"/>
                <a:gd name="T119" fmla="*/ 11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24">
                  <a:moveTo>
                    <a:pt x="221" y="115"/>
                  </a:moveTo>
                  <a:cubicBezTo>
                    <a:pt x="222" y="115"/>
                    <a:pt x="222" y="114"/>
                    <a:pt x="223" y="114"/>
                  </a:cubicBezTo>
                  <a:cubicBezTo>
                    <a:pt x="223" y="113"/>
                    <a:pt x="223" y="113"/>
                    <a:pt x="223" y="112"/>
                  </a:cubicBezTo>
                  <a:cubicBezTo>
                    <a:pt x="223" y="112"/>
                    <a:pt x="223" y="111"/>
                    <a:pt x="223" y="111"/>
                  </a:cubicBezTo>
                  <a:cubicBezTo>
                    <a:pt x="222" y="110"/>
                    <a:pt x="222" y="110"/>
                    <a:pt x="221" y="110"/>
                  </a:cubicBezTo>
                  <a:cubicBezTo>
                    <a:pt x="221" y="110"/>
                    <a:pt x="217" y="109"/>
                    <a:pt x="214" y="109"/>
                  </a:cubicBezTo>
                  <a:cubicBezTo>
                    <a:pt x="214" y="108"/>
                    <a:pt x="214" y="106"/>
                    <a:pt x="214" y="105"/>
                  </a:cubicBezTo>
                  <a:cubicBezTo>
                    <a:pt x="217" y="104"/>
                    <a:pt x="220" y="103"/>
                    <a:pt x="221" y="103"/>
                  </a:cubicBezTo>
                  <a:cubicBezTo>
                    <a:pt x="222" y="103"/>
                    <a:pt x="222" y="103"/>
                    <a:pt x="222" y="102"/>
                  </a:cubicBezTo>
                  <a:cubicBezTo>
                    <a:pt x="223" y="102"/>
                    <a:pt x="223" y="101"/>
                    <a:pt x="223" y="101"/>
                  </a:cubicBezTo>
                  <a:cubicBezTo>
                    <a:pt x="223" y="100"/>
                    <a:pt x="222" y="99"/>
                    <a:pt x="222" y="99"/>
                  </a:cubicBezTo>
                  <a:cubicBezTo>
                    <a:pt x="222" y="99"/>
                    <a:pt x="221" y="98"/>
                    <a:pt x="220" y="98"/>
                  </a:cubicBezTo>
                  <a:cubicBezTo>
                    <a:pt x="220" y="98"/>
                    <a:pt x="216" y="98"/>
                    <a:pt x="214" y="98"/>
                  </a:cubicBezTo>
                  <a:cubicBezTo>
                    <a:pt x="213" y="97"/>
                    <a:pt x="213" y="95"/>
                    <a:pt x="213" y="94"/>
                  </a:cubicBezTo>
                  <a:cubicBezTo>
                    <a:pt x="216" y="93"/>
                    <a:pt x="219" y="92"/>
                    <a:pt x="219" y="92"/>
                  </a:cubicBezTo>
                  <a:cubicBezTo>
                    <a:pt x="220" y="92"/>
                    <a:pt x="220" y="91"/>
                    <a:pt x="221" y="91"/>
                  </a:cubicBezTo>
                  <a:cubicBezTo>
                    <a:pt x="221" y="90"/>
                    <a:pt x="221" y="90"/>
                    <a:pt x="221" y="89"/>
                  </a:cubicBezTo>
                  <a:cubicBezTo>
                    <a:pt x="221" y="88"/>
                    <a:pt x="220" y="88"/>
                    <a:pt x="220" y="88"/>
                  </a:cubicBezTo>
                  <a:cubicBezTo>
                    <a:pt x="220" y="87"/>
                    <a:pt x="219" y="87"/>
                    <a:pt x="218" y="87"/>
                  </a:cubicBezTo>
                  <a:cubicBezTo>
                    <a:pt x="218" y="87"/>
                    <a:pt x="214" y="88"/>
                    <a:pt x="211" y="88"/>
                  </a:cubicBezTo>
                  <a:cubicBezTo>
                    <a:pt x="211" y="86"/>
                    <a:pt x="211" y="85"/>
                    <a:pt x="210" y="83"/>
                  </a:cubicBezTo>
                  <a:cubicBezTo>
                    <a:pt x="213" y="82"/>
                    <a:pt x="216" y="81"/>
                    <a:pt x="217" y="81"/>
                  </a:cubicBezTo>
                  <a:cubicBezTo>
                    <a:pt x="217" y="80"/>
                    <a:pt x="218" y="80"/>
                    <a:pt x="218" y="79"/>
                  </a:cubicBezTo>
                  <a:cubicBezTo>
                    <a:pt x="218" y="79"/>
                    <a:pt x="218" y="78"/>
                    <a:pt x="218" y="78"/>
                  </a:cubicBezTo>
                  <a:cubicBezTo>
                    <a:pt x="218" y="77"/>
                    <a:pt x="217" y="77"/>
                    <a:pt x="217" y="76"/>
                  </a:cubicBezTo>
                  <a:cubicBezTo>
                    <a:pt x="216" y="76"/>
                    <a:pt x="216" y="76"/>
                    <a:pt x="215" y="76"/>
                  </a:cubicBezTo>
                  <a:cubicBezTo>
                    <a:pt x="214" y="76"/>
                    <a:pt x="211" y="77"/>
                    <a:pt x="208" y="78"/>
                  </a:cubicBezTo>
                  <a:cubicBezTo>
                    <a:pt x="208" y="76"/>
                    <a:pt x="207" y="75"/>
                    <a:pt x="207" y="73"/>
                  </a:cubicBezTo>
                  <a:cubicBezTo>
                    <a:pt x="209" y="72"/>
                    <a:pt x="212" y="70"/>
                    <a:pt x="213" y="70"/>
                  </a:cubicBezTo>
                  <a:cubicBezTo>
                    <a:pt x="213" y="69"/>
                    <a:pt x="214" y="69"/>
                    <a:pt x="214" y="68"/>
                  </a:cubicBezTo>
                  <a:cubicBezTo>
                    <a:pt x="214" y="68"/>
                    <a:pt x="214" y="67"/>
                    <a:pt x="214" y="67"/>
                  </a:cubicBezTo>
                  <a:cubicBezTo>
                    <a:pt x="213" y="66"/>
                    <a:pt x="213" y="66"/>
                    <a:pt x="212" y="66"/>
                  </a:cubicBezTo>
                  <a:cubicBezTo>
                    <a:pt x="212" y="65"/>
                    <a:pt x="211" y="65"/>
                    <a:pt x="211" y="65"/>
                  </a:cubicBezTo>
                  <a:cubicBezTo>
                    <a:pt x="210" y="66"/>
                    <a:pt x="207" y="67"/>
                    <a:pt x="204" y="68"/>
                  </a:cubicBezTo>
                  <a:cubicBezTo>
                    <a:pt x="204" y="66"/>
                    <a:pt x="203" y="65"/>
                    <a:pt x="202" y="64"/>
                  </a:cubicBezTo>
                  <a:cubicBezTo>
                    <a:pt x="205" y="62"/>
                    <a:pt x="207" y="60"/>
                    <a:pt x="208" y="60"/>
                  </a:cubicBezTo>
                  <a:cubicBezTo>
                    <a:pt x="208" y="59"/>
                    <a:pt x="209" y="59"/>
                    <a:pt x="209" y="58"/>
                  </a:cubicBezTo>
                  <a:cubicBezTo>
                    <a:pt x="209" y="57"/>
                    <a:pt x="209" y="57"/>
                    <a:pt x="208" y="56"/>
                  </a:cubicBezTo>
                  <a:cubicBezTo>
                    <a:pt x="208" y="56"/>
                    <a:pt x="208" y="55"/>
                    <a:pt x="207" y="55"/>
                  </a:cubicBezTo>
                  <a:cubicBezTo>
                    <a:pt x="207" y="55"/>
                    <a:pt x="206" y="55"/>
                    <a:pt x="205" y="55"/>
                  </a:cubicBezTo>
                  <a:cubicBezTo>
                    <a:pt x="205" y="56"/>
                    <a:pt x="202" y="57"/>
                    <a:pt x="199" y="58"/>
                  </a:cubicBezTo>
                  <a:cubicBezTo>
                    <a:pt x="198" y="57"/>
                    <a:pt x="197" y="56"/>
                    <a:pt x="197" y="54"/>
                  </a:cubicBezTo>
                  <a:cubicBezTo>
                    <a:pt x="199" y="52"/>
                    <a:pt x="201" y="50"/>
                    <a:pt x="202" y="50"/>
                  </a:cubicBezTo>
                  <a:cubicBezTo>
                    <a:pt x="202" y="49"/>
                    <a:pt x="202" y="49"/>
                    <a:pt x="202" y="48"/>
                  </a:cubicBezTo>
                  <a:cubicBezTo>
                    <a:pt x="203" y="48"/>
                    <a:pt x="202" y="47"/>
                    <a:pt x="202" y="46"/>
                  </a:cubicBezTo>
                  <a:cubicBezTo>
                    <a:pt x="202" y="46"/>
                    <a:pt x="201" y="46"/>
                    <a:pt x="201" y="46"/>
                  </a:cubicBezTo>
                  <a:cubicBezTo>
                    <a:pt x="200" y="45"/>
                    <a:pt x="199" y="45"/>
                    <a:pt x="199" y="46"/>
                  </a:cubicBezTo>
                  <a:cubicBezTo>
                    <a:pt x="198" y="46"/>
                    <a:pt x="196" y="48"/>
                    <a:pt x="193" y="49"/>
                  </a:cubicBezTo>
                  <a:cubicBezTo>
                    <a:pt x="192" y="48"/>
                    <a:pt x="191" y="47"/>
                    <a:pt x="190" y="46"/>
                  </a:cubicBezTo>
                  <a:cubicBezTo>
                    <a:pt x="192" y="44"/>
                    <a:pt x="194" y="41"/>
                    <a:pt x="195" y="41"/>
                  </a:cubicBezTo>
                  <a:cubicBezTo>
                    <a:pt x="195" y="40"/>
                    <a:pt x="195" y="40"/>
                    <a:pt x="195" y="39"/>
                  </a:cubicBezTo>
                  <a:cubicBezTo>
                    <a:pt x="195" y="38"/>
                    <a:pt x="195" y="38"/>
                    <a:pt x="195" y="37"/>
                  </a:cubicBezTo>
                  <a:cubicBezTo>
                    <a:pt x="194" y="37"/>
                    <a:pt x="194" y="37"/>
                    <a:pt x="193" y="37"/>
                  </a:cubicBezTo>
                  <a:cubicBezTo>
                    <a:pt x="193" y="37"/>
                    <a:pt x="192" y="37"/>
                    <a:pt x="191" y="37"/>
                  </a:cubicBezTo>
                  <a:cubicBezTo>
                    <a:pt x="191" y="37"/>
                    <a:pt x="188" y="39"/>
                    <a:pt x="186" y="41"/>
                  </a:cubicBezTo>
                  <a:cubicBezTo>
                    <a:pt x="185" y="40"/>
                    <a:pt x="184" y="39"/>
                    <a:pt x="183" y="38"/>
                  </a:cubicBezTo>
                  <a:cubicBezTo>
                    <a:pt x="184" y="36"/>
                    <a:pt x="186" y="33"/>
                    <a:pt x="187" y="32"/>
                  </a:cubicBezTo>
                  <a:cubicBezTo>
                    <a:pt x="187" y="32"/>
                    <a:pt x="187" y="31"/>
                    <a:pt x="187" y="31"/>
                  </a:cubicBezTo>
                  <a:cubicBezTo>
                    <a:pt x="187" y="30"/>
                    <a:pt x="187" y="30"/>
                    <a:pt x="186" y="29"/>
                  </a:cubicBezTo>
                  <a:cubicBezTo>
                    <a:pt x="186" y="29"/>
                    <a:pt x="185" y="29"/>
                    <a:pt x="185" y="29"/>
                  </a:cubicBezTo>
                  <a:cubicBezTo>
                    <a:pt x="184" y="29"/>
                    <a:pt x="184" y="29"/>
                    <a:pt x="183" y="29"/>
                  </a:cubicBezTo>
                  <a:cubicBezTo>
                    <a:pt x="183" y="30"/>
                    <a:pt x="180" y="32"/>
                    <a:pt x="178" y="34"/>
                  </a:cubicBezTo>
                  <a:cubicBezTo>
                    <a:pt x="177" y="33"/>
                    <a:pt x="176" y="32"/>
                    <a:pt x="175" y="31"/>
                  </a:cubicBezTo>
                  <a:cubicBezTo>
                    <a:pt x="176" y="28"/>
                    <a:pt x="178" y="25"/>
                    <a:pt x="178" y="25"/>
                  </a:cubicBezTo>
                  <a:cubicBezTo>
                    <a:pt x="178" y="24"/>
                    <a:pt x="178" y="24"/>
                    <a:pt x="178" y="23"/>
                  </a:cubicBezTo>
                  <a:cubicBezTo>
                    <a:pt x="178" y="23"/>
                    <a:pt x="178" y="22"/>
                    <a:pt x="177" y="22"/>
                  </a:cubicBezTo>
                  <a:cubicBezTo>
                    <a:pt x="177" y="21"/>
                    <a:pt x="176" y="21"/>
                    <a:pt x="176" y="21"/>
                  </a:cubicBezTo>
                  <a:cubicBezTo>
                    <a:pt x="175" y="21"/>
                    <a:pt x="175" y="22"/>
                    <a:pt x="174" y="22"/>
                  </a:cubicBezTo>
                  <a:cubicBezTo>
                    <a:pt x="174" y="23"/>
                    <a:pt x="172" y="25"/>
                    <a:pt x="170" y="27"/>
                  </a:cubicBezTo>
                  <a:cubicBezTo>
                    <a:pt x="168" y="26"/>
                    <a:pt x="167" y="26"/>
                    <a:pt x="166" y="25"/>
                  </a:cubicBezTo>
                  <a:cubicBezTo>
                    <a:pt x="167" y="22"/>
                    <a:pt x="168" y="19"/>
                    <a:pt x="169" y="18"/>
                  </a:cubicBezTo>
                  <a:cubicBezTo>
                    <a:pt x="169" y="18"/>
                    <a:pt x="169" y="17"/>
                    <a:pt x="169" y="17"/>
                  </a:cubicBezTo>
                  <a:cubicBezTo>
                    <a:pt x="168" y="16"/>
                    <a:pt x="168" y="16"/>
                    <a:pt x="168" y="15"/>
                  </a:cubicBezTo>
                  <a:cubicBezTo>
                    <a:pt x="167" y="15"/>
                    <a:pt x="166" y="15"/>
                    <a:pt x="166" y="15"/>
                  </a:cubicBezTo>
                  <a:cubicBezTo>
                    <a:pt x="165" y="15"/>
                    <a:pt x="165" y="16"/>
                    <a:pt x="164" y="16"/>
                  </a:cubicBezTo>
                  <a:cubicBezTo>
                    <a:pt x="164" y="17"/>
                    <a:pt x="162" y="19"/>
                    <a:pt x="160" y="22"/>
                  </a:cubicBezTo>
                  <a:cubicBezTo>
                    <a:pt x="159" y="21"/>
                    <a:pt x="158" y="20"/>
                    <a:pt x="156" y="20"/>
                  </a:cubicBezTo>
                  <a:cubicBezTo>
                    <a:pt x="157" y="17"/>
                    <a:pt x="158" y="14"/>
                    <a:pt x="159" y="13"/>
                  </a:cubicBezTo>
                  <a:cubicBezTo>
                    <a:pt x="159" y="12"/>
                    <a:pt x="159" y="12"/>
                    <a:pt x="158" y="11"/>
                  </a:cubicBezTo>
                  <a:cubicBezTo>
                    <a:pt x="158" y="11"/>
                    <a:pt x="158" y="10"/>
                    <a:pt x="157" y="10"/>
                  </a:cubicBezTo>
                  <a:cubicBezTo>
                    <a:pt x="157" y="10"/>
                    <a:pt x="156" y="10"/>
                    <a:pt x="155" y="10"/>
                  </a:cubicBezTo>
                  <a:cubicBezTo>
                    <a:pt x="155" y="10"/>
                    <a:pt x="154" y="10"/>
                    <a:pt x="154" y="11"/>
                  </a:cubicBezTo>
                  <a:cubicBezTo>
                    <a:pt x="154" y="12"/>
                    <a:pt x="152" y="14"/>
                    <a:pt x="151" y="17"/>
                  </a:cubicBezTo>
                  <a:cubicBezTo>
                    <a:pt x="149" y="17"/>
                    <a:pt x="148" y="16"/>
                    <a:pt x="146" y="15"/>
                  </a:cubicBezTo>
                  <a:cubicBezTo>
                    <a:pt x="147" y="13"/>
                    <a:pt x="148" y="9"/>
                    <a:pt x="148" y="9"/>
                  </a:cubicBezTo>
                  <a:cubicBezTo>
                    <a:pt x="148" y="8"/>
                    <a:pt x="148" y="8"/>
                    <a:pt x="148" y="7"/>
                  </a:cubicBezTo>
                  <a:cubicBezTo>
                    <a:pt x="147" y="6"/>
                    <a:pt x="147" y="6"/>
                    <a:pt x="146" y="6"/>
                  </a:cubicBezTo>
                  <a:cubicBezTo>
                    <a:pt x="146" y="6"/>
                    <a:pt x="145" y="6"/>
                    <a:pt x="144" y="6"/>
                  </a:cubicBezTo>
                  <a:cubicBezTo>
                    <a:pt x="144" y="6"/>
                    <a:pt x="144" y="7"/>
                    <a:pt x="143" y="7"/>
                  </a:cubicBezTo>
                  <a:cubicBezTo>
                    <a:pt x="143" y="8"/>
                    <a:pt x="142" y="11"/>
                    <a:pt x="141" y="14"/>
                  </a:cubicBezTo>
                  <a:cubicBezTo>
                    <a:pt x="139" y="13"/>
                    <a:pt x="138" y="13"/>
                    <a:pt x="136" y="12"/>
                  </a:cubicBezTo>
                  <a:cubicBezTo>
                    <a:pt x="136" y="9"/>
                    <a:pt x="137" y="6"/>
                    <a:pt x="137" y="5"/>
                  </a:cubicBezTo>
                  <a:cubicBezTo>
                    <a:pt x="137" y="5"/>
                    <a:pt x="137" y="4"/>
                    <a:pt x="136" y="4"/>
                  </a:cubicBezTo>
                  <a:cubicBezTo>
                    <a:pt x="136" y="3"/>
                    <a:pt x="136" y="3"/>
                    <a:pt x="135" y="3"/>
                  </a:cubicBezTo>
                  <a:cubicBezTo>
                    <a:pt x="134" y="3"/>
                    <a:pt x="134" y="3"/>
                    <a:pt x="133" y="3"/>
                  </a:cubicBezTo>
                  <a:cubicBezTo>
                    <a:pt x="133" y="3"/>
                    <a:pt x="132" y="4"/>
                    <a:pt x="132" y="4"/>
                  </a:cubicBezTo>
                  <a:cubicBezTo>
                    <a:pt x="132" y="5"/>
                    <a:pt x="131" y="8"/>
                    <a:pt x="130" y="11"/>
                  </a:cubicBezTo>
                  <a:cubicBezTo>
                    <a:pt x="129" y="11"/>
                    <a:pt x="127" y="10"/>
                    <a:pt x="125" y="10"/>
                  </a:cubicBezTo>
                  <a:cubicBezTo>
                    <a:pt x="125" y="7"/>
                    <a:pt x="126" y="4"/>
                    <a:pt x="126" y="3"/>
                  </a:cubicBezTo>
                  <a:cubicBezTo>
                    <a:pt x="126" y="3"/>
                    <a:pt x="125" y="2"/>
                    <a:pt x="125" y="2"/>
                  </a:cubicBezTo>
                  <a:cubicBezTo>
                    <a:pt x="125" y="1"/>
                    <a:pt x="124" y="1"/>
                    <a:pt x="123" y="1"/>
                  </a:cubicBezTo>
                  <a:cubicBezTo>
                    <a:pt x="123" y="1"/>
                    <a:pt x="122" y="1"/>
                    <a:pt x="122" y="1"/>
                  </a:cubicBezTo>
                  <a:cubicBezTo>
                    <a:pt x="121" y="2"/>
                    <a:pt x="121" y="2"/>
                    <a:pt x="121" y="3"/>
                  </a:cubicBezTo>
                  <a:cubicBezTo>
                    <a:pt x="121" y="4"/>
                    <a:pt x="120" y="7"/>
                    <a:pt x="119" y="10"/>
                  </a:cubicBezTo>
                  <a:cubicBezTo>
                    <a:pt x="118" y="10"/>
                    <a:pt x="116" y="9"/>
                    <a:pt x="115" y="9"/>
                  </a:cubicBezTo>
                  <a:cubicBezTo>
                    <a:pt x="115" y="6"/>
                    <a:pt x="114" y="3"/>
                    <a:pt x="114" y="3"/>
                  </a:cubicBezTo>
                  <a:cubicBezTo>
                    <a:pt x="114" y="2"/>
                    <a:pt x="114" y="1"/>
                    <a:pt x="113" y="1"/>
                  </a:cubicBezTo>
                  <a:cubicBezTo>
                    <a:pt x="113" y="1"/>
                    <a:pt x="112" y="0"/>
                    <a:pt x="112" y="0"/>
                  </a:cubicBezTo>
                  <a:cubicBezTo>
                    <a:pt x="111" y="0"/>
                    <a:pt x="111" y="1"/>
                    <a:pt x="110" y="1"/>
                  </a:cubicBezTo>
                  <a:cubicBezTo>
                    <a:pt x="110" y="1"/>
                    <a:pt x="109" y="2"/>
                    <a:pt x="109" y="3"/>
                  </a:cubicBezTo>
                  <a:cubicBezTo>
                    <a:pt x="109" y="3"/>
                    <a:pt x="109" y="6"/>
                    <a:pt x="109" y="9"/>
                  </a:cubicBezTo>
                  <a:cubicBezTo>
                    <a:pt x="107" y="9"/>
                    <a:pt x="106" y="10"/>
                    <a:pt x="104" y="10"/>
                  </a:cubicBezTo>
                  <a:cubicBezTo>
                    <a:pt x="103" y="7"/>
                    <a:pt x="103" y="4"/>
                    <a:pt x="103" y="3"/>
                  </a:cubicBezTo>
                  <a:cubicBezTo>
                    <a:pt x="103" y="2"/>
                    <a:pt x="102" y="2"/>
                    <a:pt x="102" y="1"/>
                  </a:cubicBezTo>
                  <a:cubicBezTo>
                    <a:pt x="101" y="1"/>
                    <a:pt x="101" y="1"/>
                    <a:pt x="100" y="1"/>
                  </a:cubicBezTo>
                  <a:cubicBezTo>
                    <a:pt x="99" y="1"/>
                    <a:pt x="99" y="1"/>
                    <a:pt x="99" y="2"/>
                  </a:cubicBezTo>
                  <a:cubicBezTo>
                    <a:pt x="98" y="2"/>
                    <a:pt x="98" y="3"/>
                    <a:pt x="98" y="3"/>
                  </a:cubicBezTo>
                  <a:cubicBezTo>
                    <a:pt x="98" y="4"/>
                    <a:pt x="98" y="7"/>
                    <a:pt x="98" y="10"/>
                  </a:cubicBezTo>
                  <a:cubicBezTo>
                    <a:pt x="96" y="10"/>
                    <a:pt x="95" y="11"/>
                    <a:pt x="93" y="11"/>
                  </a:cubicBezTo>
                  <a:cubicBezTo>
                    <a:pt x="92" y="8"/>
                    <a:pt x="92" y="5"/>
                    <a:pt x="91" y="4"/>
                  </a:cubicBezTo>
                  <a:cubicBezTo>
                    <a:pt x="91" y="4"/>
                    <a:pt x="91" y="3"/>
                    <a:pt x="90" y="3"/>
                  </a:cubicBezTo>
                  <a:cubicBezTo>
                    <a:pt x="90" y="3"/>
                    <a:pt x="89" y="3"/>
                    <a:pt x="89" y="3"/>
                  </a:cubicBezTo>
                  <a:cubicBezTo>
                    <a:pt x="88" y="3"/>
                    <a:pt x="87" y="3"/>
                    <a:pt x="87" y="4"/>
                  </a:cubicBezTo>
                  <a:cubicBezTo>
                    <a:pt x="87" y="4"/>
                    <a:pt x="87" y="5"/>
                    <a:pt x="87" y="5"/>
                  </a:cubicBezTo>
                  <a:cubicBezTo>
                    <a:pt x="87" y="6"/>
                    <a:pt x="87" y="9"/>
                    <a:pt x="87" y="12"/>
                  </a:cubicBezTo>
                  <a:cubicBezTo>
                    <a:pt x="86" y="13"/>
                    <a:pt x="84" y="13"/>
                    <a:pt x="83" y="14"/>
                  </a:cubicBezTo>
                  <a:cubicBezTo>
                    <a:pt x="82" y="11"/>
                    <a:pt x="80" y="8"/>
                    <a:pt x="80" y="7"/>
                  </a:cubicBezTo>
                  <a:cubicBezTo>
                    <a:pt x="80" y="7"/>
                    <a:pt x="80" y="6"/>
                    <a:pt x="79" y="6"/>
                  </a:cubicBezTo>
                  <a:cubicBezTo>
                    <a:pt x="78" y="6"/>
                    <a:pt x="78" y="6"/>
                    <a:pt x="77" y="6"/>
                  </a:cubicBezTo>
                  <a:cubicBezTo>
                    <a:pt x="77" y="6"/>
                    <a:pt x="76" y="6"/>
                    <a:pt x="76" y="7"/>
                  </a:cubicBezTo>
                  <a:cubicBezTo>
                    <a:pt x="76" y="8"/>
                    <a:pt x="76" y="8"/>
                    <a:pt x="76" y="9"/>
                  </a:cubicBezTo>
                  <a:cubicBezTo>
                    <a:pt x="76" y="9"/>
                    <a:pt x="76" y="13"/>
                    <a:pt x="77" y="15"/>
                  </a:cubicBezTo>
                  <a:cubicBezTo>
                    <a:pt x="76" y="16"/>
                    <a:pt x="74" y="17"/>
                    <a:pt x="73" y="17"/>
                  </a:cubicBezTo>
                  <a:cubicBezTo>
                    <a:pt x="71" y="14"/>
                    <a:pt x="70" y="12"/>
                    <a:pt x="69" y="11"/>
                  </a:cubicBezTo>
                  <a:cubicBezTo>
                    <a:pt x="69" y="10"/>
                    <a:pt x="69" y="10"/>
                    <a:pt x="68" y="10"/>
                  </a:cubicBezTo>
                  <a:cubicBezTo>
                    <a:pt x="68" y="10"/>
                    <a:pt x="67" y="10"/>
                    <a:pt x="66" y="10"/>
                  </a:cubicBezTo>
                  <a:cubicBezTo>
                    <a:pt x="66" y="10"/>
                    <a:pt x="65" y="11"/>
                    <a:pt x="65" y="11"/>
                  </a:cubicBezTo>
                  <a:cubicBezTo>
                    <a:pt x="65" y="12"/>
                    <a:pt x="65" y="12"/>
                    <a:pt x="65" y="13"/>
                  </a:cubicBezTo>
                  <a:cubicBezTo>
                    <a:pt x="65" y="14"/>
                    <a:pt x="66" y="17"/>
                    <a:pt x="67" y="20"/>
                  </a:cubicBezTo>
                  <a:cubicBezTo>
                    <a:pt x="66" y="20"/>
                    <a:pt x="64" y="21"/>
                    <a:pt x="63" y="22"/>
                  </a:cubicBezTo>
                  <a:cubicBezTo>
                    <a:pt x="61" y="19"/>
                    <a:pt x="59" y="17"/>
                    <a:pt x="59" y="16"/>
                  </a:cubicBezTo>
                  <a:cubicBezTo>
                    <a:pt x="59" y="16"/>
                    <a:pt x="58" y="15"/>
                    <a:pt x="58" y="15"/>
                  </a:cubicBezTo>
                  <a:cubicBezTo>
                    <a:pt x="57" y="15"/>
                    <a:pt x="56" y="15"/>
                    <a:pt x="56" y="15"/>
                  </a:cubicBezTo>
                  <a:cubicBezTo>
                    <a:pt x="55" y="16"/>
                    <a:pt x="55" y="16"/>
                    <a:pt x="55" y="17"/>
                  </a:cubicBezTo>
                  <a:cubicBezTo>
                    <a:pt x="55" y="17"/>
                    <a:pt x="55" y="18"/>
                    <a:pt x="55" y="18"/>
                  </a:cubicBezTo>
                  <a:cubicBezTo>
                    <a:pt x="55" y="19"/>
                    <a:pt x="57" y="22"/>
                    <a:pt x="58" y="25"/>
                  </a:cubicBezTo>
                  <a:cubicBezTo>
                    <a:pt x="56" y="26"/>
                    <a:pt x="55" y="26"/>
                    <a:pt x="54" y="27"/>
                  </a:cubicBezTo>
                  <a:cubicBezTo>
                    <a:pt x="52" y="25"/>
                    <a:pt x="50" y="23"/>
                    <a:pt x="49" y="22"/>
                  </a:cubicBezTo>
                  <a:cubicBezTo>
                    <a:pt x="49" y="22"/>
                    <a:pt x="48" y="21"/>
                    <a:pt x="48" y="21"/>
                  </a:cubicBezTo>
                  <a:cubicBezTo>
                    <a:pt x="47" y="21"/>
                    <a:pt x="47" y="21"/>
                    <a:pt x="46" y="22"/>
                  </a:cubicBezTo>
                  <a:cubicBezTo>
                    <a:pt x="46" y="22"/>
                    <a:pt x="45" y="23"/>
                    <a:pt x="45" y="23"/>
                  </a:cubicBezTo>
                  <a:cubicBezTo>
                    <a:pt x="45" y="24"/>
                    <a:pt x="45" y="24"/>
                    <a:pt x="45" y="25"/>
                  </a:cubicBezTo>
                  <a:cubicBezTo>
                    <a:pt x="46" y="25"/>
                    <a:pt x="47" y="28"/>
                    <a:pt x="49" y="31"/>
                  </a:cubicBezTo>
                  <a:cubicBezTo>
                    <a:pt x="48" y="32"/>
                    <a:pt x="46" y="33"/>
                    <a:pt x="45" y="34"/>
                  </a:cubicBezTo>
                  <a:cubicBezTo>
                    <a:pt x="43" y="32"/>
                    <a:pt x="41" y="30"/>
                    <a:pt x="40" y="29"/>
                  </a:cubicBezTo>
                  <a:cubicBezTo>
                    <a:pt x="40" y="29"/>
                    <a:pt x="39" y="29"/>
                    <a:pt x="39" y="29"/>
                  </a:cubicBezTo>
                  <a:cubicBezTo>
                    <a:pt x="38" y="29"/>
                    <a:pt x="38" y="29"/>
                    <a:pt x="37" y="29"/>
                  </a:cubicBezTo>
                  <a:cubicBezTo>
                    <a:pt x="37" y="30"/>
                    <a:pt x="36" y="30"/>
                    <a:pt x="36" y="31"/>
                  </a:cubicBezTo>
                  <a:cubicBezTo>
                    <a:pt x="36" y="31"/>
                    <a:pt x="36" y="32"/>
                    <a:pt x="37" y="32"/>
                  </a:cubicBezTo>
                  <a:cubicBezTo>
                    <a:pt x="37" y="33"/>
                    <a:pt x="39" y="36"/>
                    <a:pt x="41" y="38"/>
                  </a:cubicBezTo>
                  <a:cubicBezTo>
                    <a:pt x="40" y="39"/>
                    <a:pt x="39" y="40"/>
                    <a:pt x="38" y="41"/>
                  </a:cubicBezTo>
                  <a:cubicBezTo>
                    <a:pt x="35" y="39"/>
                    <a:pt x="33" y="37"/>
                    <a:pt x="32" y="37"/>
                  </a:cubicBezTo>
                  <a:cubicBezTo>
                    <a:pt x="32" y="37"/>
                    <a:pt x="31" y="37"/>
                    <a:pt x="30" y="37"/>
                  </a:cubicBezTo>
                  <a:cubicBezTo>
                    <a:pt x="30" y="37"/>
                    <a:pt x="29" y="37"/>
                    <a:pt x="29" y="37"/>
                  </a:cubicBezTo>
                  <a:cubicBezTo>
                    <a:pt x="28" y="38"/>
                    <a:pt x="28" y="38"/>
                    <a:pt x="28" y="39"/>
                  </a:cubicBezTo>
                  <a:cubicBezTo>
                    <a:pt x="28" y="40"/>
                    <a:pt x="28" y="40"/>
                    <a:pt x="29" y="41"/>
                  </a:cubicBezTo>
                  <a:cubicBezTo>
                    <a:pt x="29" y="41"/>
                    <a:pt x="31" y="44"/>
                    <a:pt x="33" y="46"/>
                  </a:cubicBezTo>
                  <a:cubicBezTo>
                    <a:pt x="32" y="47"/>
                    <a:pt x="32" y="48"/>
                    <a:pt x="30" y="49"/>
                  </a:cubicBezTo>
                  <a:cubicBezTo>
                    <a:pt x="28" y="48"/>
                    <a:pt x="25" y="46"/>
                    <a:pt x="25" y="46"/>
                  </a:cubicBezTo>
                  <a:cubicBezTo>
                    <a:pt x="24" y="45"/>
                    <a:pt x="23" y="45"/>
                    <a:pt x="23" y="46"/>
                  </a:cubicBezTo>
                  <a:cubicBezTo>
                    <a:pt x="22" y="46"/>
                    <a:pt x="22" y="46"/>
                    <a:pt x="21" y="46"/>
                  </a:cubicBezTo>
                  <a:cubicBezTo>
                    <a:pt x="21" y="47"/>
                    <a:pt x="21" y="48"/>
                    <a:pt x="21" y="48"/>
                  </a:cubicBezTo>
                  <a:cubicBezTo>
                    <a:pt x="21" y="49"/>
                    <a:pt x="21" y="49"/>
                    <a:pt x="22" y="50"/>
                  </a:cubicBezTo>
                  <a:cubicBezTo>
                    <a:pt x="22" y="50"/>
                    <a:pt x="25" y="52"/>
                    <a:pt x="27" y="54"/>
                  </a:cubicBezTo>
                  <a:cubicBezTo>
                    <a:pt x="26" y="56"/>
                    <a:pt x="25" y="57"/>
                    <a:pt x="24" y="58"/>
                  </a:cubicBezTo>
                  <a:cubicBezTo>
                    <a:pt x="22" y="57"/>
                    <a:pt x="19" y="56"/>
                    <a:pt x="18" y="55"/>
                  </a:cubicBezTo>
                  <a:cubicBezTo>
                    <a:pt x="18" y="55"/>
                    <a:pt x="17" y="55"/>
                    <a:pt x="16" y="55"/>
                  </a:cubicBezTo>
                  <a:cubicBezTo>
                    <a:pt x="16" y="55"/>
                    <a:pt x="15" y="56"/>
                    <a:pt x="15" y="56"/>
                  </a:cubicBezTo>
                  <a:cubicBezTo>
                    <a:pt x="15" y="57"/>
                    <a:pt x="15" y="57"/>
                    <a:pt x="15" y="58"/>
                  </a:cubicBezTo>
                  <a:cubicBezTo>
                    <a:pt x="15" y="59"/>
                    <a:pt x="15" y="59"/>
                    <a:pt x="16" y="60"/>
                  </a:cubicBezTo>
                  <a:cubicBezTo>
                    <a:pt x="16" y="60"/>
                    <a:pt x="19" y="62"/>
                    <a:pt x="21" y="64"/>
                  </a:cubicBezTo>
                  <a:cubicBezTo>
                    <a:pt x="21" y="65"/>
                    <a:pt x="20" y="66"/>
                    <a:pt x="19" y="68"/>
                  </a:cubicBezTo>
                  <a:cubicBezTo>
                    <a:pt x="16" y="67"/>
                    <a:pt x="13" y="66"/>
                    <a:pt x="13" y="65"/>
                  </a:cubicBezTo>
                  <a:cubicBezTo>
                    <a:pt x="12" y="65"/>
                    <a:pt x="12" y="65"/>
                    <a:pt x="11" y="66"/>
                  </a:cubicBezTo>
                  <a:cubicBezTo>
                    <a:pt x="10" y="66"/>
                    <a:pt x="10" y="66"/>
                    <a:pt x="10" y="67"/>
                  </a:cubicBezTo>
                  <a:cubicBezTo>
                    <a:pt x="10" y="67"/>
                    <a:pt x="10" y="68"/>
                    <a:pt x="10" y="68"/>
                  </a:cubicBezTo>
                  <a:cubicBezTo>
                    <a:pt x="10" y="69"/>
                    <a:pt x="10" y="69"/>
                    <a:pt x="11" y="70"/>
                  </a:cubicBezTo>
                  <a:cubicBezTo>
                    <a:pt x="11" y="70"/>
                    <a:pt x="14" y="72"/>
                    <a:pt x="17" y="73"/>
                  </a:cubicBezTo>
                  <a:cubicBezTo>
                    <a:pt x="16" y="75"/>
                    <a:pt x="16" y="76"/>
                    <a:pt x="15" y="78"/>
                  </a:cubicBezTo>
                  <a:cubicBezTo>
                    <a:pt x="12" y="77"/>
                    <a:pt x="9" y="76"/>
                    <a:pt x="8" y="76"/>
                  </a:cubicBezTo>
                  <a:cubicBezTo>
                    <a:pt x="8" y="76"/>
                    <a:pt x="7" y="76"/>
                    <a:pt x="7" y="76"/>
                  </a:cubicBezTo>
                  <a:cubicBezTo>
                    <a:pt x="6" y="77"/>
                    <a:pt x="6" y="77"/>
                    <a:pt x="6" y="78"/>
                  </a:cubicBezTo>
                  <a:cubicBezTo>
                    <a:pt x="5" y="78"/>
                    <a:pt x="5" y="79"/>
                    <a:pt x="6" y="79"/>
                  </a:cubicBezTo>
                  <a:cubicBezTo>
                    <a:pt x="6" y="80"/>
                    <a:pt x="6" y="80"/>
                    <a:pt x="7" y="81"/>
                  </a:cubicBezTo>
                  <a:cubicBezTo>
                    <a:pt x="8" y="81"/>
                    <a:pt x="10" y="82"/>
                    <a:pt x="13" y="83"/>
                  </a:cubicBezTo>
                  <a:cubicBezTo>
                    <a:pt x="13" y="85"/>
                    <a:pt x="12" y="86"/>
                    <a:pt x="12" y="88"/>
                  </a:cubicBezTo>
                  <a:cubicBezTo>
                    <a:pt x="9" y="88"/>
                    <a:pt x="6" y="87"/>
                    <a:pt x="5" y="87"/>
                  </a:cubicBezTo>
                  <a:cubicBezTo>
                    <a:pt x="5" y="87"/>
                    <a:pt x="4" y="87"/>
                    <a:pt x="4" y="88"/>
                  </a:cubicBezTo>
                  <a:cubicBezTo>
                    <a:pt x="3" y="88"/>
                    <a:pt x="3" y="88"/>
                    <a:pt x="3" y="89"/>
                  </a:cubicBezTo>
                  <a:cubicBezTo>
                    <a:pt x="2" y="90"/>
                    <a:pt x="3" y="90"/>
                    <a:pt x="3" y="91"/>
                  </a:cubicBezTo>
                  <a:cubicBezTo>
                    <a:pt x="3" y="91"/>
                    <a:pt x="4" y="92"/>
                    <a:pt x="4" y="92"/>
                  </a:cubicBezTo>
                  <a:cubicBezTo>
                    <a:pt x="5" y="92"/>
                    <a:pt x="8" y="93"/>
                    <a:pt x="11" y="94"/>
                  </a:cubicBezTo>
                  <a:cubicBezTo>
                    <a:pt x="10" y="95"/>
                    <a:pt x="10" y="97"/>
                    <a:pt x="10" y="98"/>
                  </a:cubicBezTo>
                  <a:cubicBezTo>
                    <a:pt x="7" y="98"/>
                    <a:pt x="4" y="98"/>
                    <a:pt x="3" y="98"/>
                  </a:cubicBezTo>
                  <a:cubicBezTo>
                    <a:pt x="2" y="98"/>
                    <a:pt x="2" y="99"/>
                    <a:pt x="2" y="99"/>
                  </a:cubicBezTo>
                  <a:cubicBezTo>
                    <a:pt x="1" y="99"/>
                    <a:pt x="1" y="100"/>
                    <a:pt x="1" y="101"/>
                  </a:cubicBezTo>
                  <a:cubicBezTo>
                    <a:pt x="1" y="101"/>
                    <a:pt x="1" y="102"/>
                    <a:pt x="1" y="102"/>
                  </a:cubicBezTo>
                  <a:cubicBezTo>
                    <a:pt x="1" y="103"/>
                    <a:pt x="2" y="103"/>
                    <a:pt x="3" y="103"/>
                  </a:cubicBezTo>
                  <a:cubicBezTo>
                    <a:pt x="3" y="103"/>
                    <a:pt x="6" y="104"/>
                    <a:pt x="9" y="105"/>
                  </a:cubicBezTo>
                  <a:cubicBezTo>
                    <a:pt x="9" y="106"/>
                    <a:pt x="9" y="108"/>
                    <a:pt x="9" y="109"/>
                  </a:cubicBezTo>
                  <a:cubicBezTo>
                    <a:pt x="6" y="109"/>
                    <a:pt x="3" y="110"/>
                    <a:pt x="2" y="110"/>
                  </a:cubicBezTo>
                  <a:cubicBezTo>
                    <a:pt x="2" y="110"/>
                    <a:pt x="1" y="110"/>
                    <a:pt x="1" y="111"/>
                  </a:cubicBezTo>
                  <a:cubicBezTo>
                    <a:pt x="0" y="111"/>
                    <a:pt x="0" y="112"/>
                    <a:pt x="0" y="112"/>
                  </a:cubicBezTo>
                  <a:cubicBezTo>
                    <a:pt x="0" y="113"/>
                    <a:pt x="0" y="113"/>
                    <a:pt x="1" y="114"/>
                  </a:cubicBezTo>
                  <a:cubicBezTo>
                    <a:pt x="1" y="114"/>
                    <a:pt x="2" y="115"/>
                    <a:pt x="2" y="115"/>
                  </a:cubicBezTo>
                  <a:cubicBezTo>
                    <a:pt x="3" y="115"/>
                    <a:pt x="6" y="115"/>
                    <a:pt x="9" y="115"/>
                  </a:cubicBezTo>
                  <a:cubicBezTo>
                    <a:pt x="9" y="117"/>
                    <a:pt x="9" y="118"/>
                    <a:pt x="9" y="120"/>
                  </a:cubicBezTo>
                  <a:cubicBezTo>
                    <a:pt x="6" y="121"/>
                    <a:pt x="3" y="121"/>
                    <a:pt x="3" y="121"/>
                  </a:cubicBezTo>
                  <a:cubicBezTo>
                    <a:pt x="2" y="121"/>
                    <a:pt x="1" y="122"/>
                    <a:pt x="1" y="122"/>
                  </a:cubicBezTo>
                  <a:cubicBezTo>
                    <a:pt x="1" y="123"/>
                    <a:pt x="1" y="123"/>
                    <a:pt x="1" y="124"/>
                  </a:cubicBezTo>
                  <a:cubicBezTo>
                    <a:pt x="1" y="125"/>
                    <a:pt x="1" y="125"/>
                    <a:pt x="2" y="125"/>
                  </a:cubicBezTo>
                  <a:cubicBezTo>
                    <a:pt x="2" y="126"/>
                    <a:pt x="2" y="126"/>
                    <a:pt x="3" y="126"/>
                  </a:cubicBezTo>
                  <a:cubicBezTo>
                    <a:pt x="4" y="126"/>
                    <a:pt x="7" y="126"/>
                    <a:pt x="10" y="126"/>
                  </a:cubicBezTo>
                  <a:cubicBezTo>
                    <a:pt x="10" y="128"/>
                    <a:pt x="10" y="129"/>
                    <a:pt x="11" y="131"/>
                  </a:cubicBezTo>
                  <a:cubicBezTo>
                    <a:pt x="8" y="132"/>
                    <a:pt x="5" y="132"/>
                    <a:pt x="4" y="133"/>
                  </a:cubicBezTo>
                  <a:cubicBezTo>
                    <a:pt x="4" y="133"/>
                    <a:pt x="3" y="133"/>
                    <a:pt x="3" y="134"/>
                  </a:cubicBezTo>
                  <a:cubicBezTo>
                    <a:pt x="3" y="134"/>
                    <a:pt x="2" y="135"/>
                    <a:pt x="3" y="135"/>
                  </a:cubicBezTo>
                  <a:cubicBezTo>
                    <a:pt x="3" y="136"/>
                    <a:pt x="3" y="137"/>
                    <a:pt x="4" y="137"/>
                  </a:cubicBezTo>
                  <a:cubicBezTo>
                    <a:pt x="4" y="137"/>
                    <a:pt x="5" y="137"/>
                    <a:pt x="5" y="137"/>
                  </a:cubicBezTo>
                  <a:cubicBezTo>
                    <a:pt x="6" y="137"/>
                    <a:pt x="9" y="137"/>
                    <a:pt x="12" y="137"/>
                  </a:cubicBezTo>
                  <a:cubicBezTo>
                    <a:pt x="12" y="138"/>
                    <a:pt x="13" y="140"/>
                    <a:pt x="13" y="141"/>
                  </a:cubicBezTo>
                  <a:cubicBezTo>
                    <a:pt x="10" y="142"/>
                    <a:pt x="8" y="144"/>
                    <a:pt x="7" y="144"/>
                  </a:cubicBezTo>
                  <a:cubicBezTo>
                    <a:pt x="6" y="144"/>
                    <a:pt x="6" y="145"/>
                    <a:pt x="6" y="145"/>
                  </a:cubicBezTo>
                  <a:cubicBezTo>
                    <a:pt x="5" y="146"/>
                    <a:pt x="5" y="146"/>
                    <a:pt x="6" y="147"/>
                  </a:cubicBezTo>
                  <a:cubicBezTo>
                    <a:pt x="6" y="147"/>
                    <a:pt x="6" y="148"/>
                    <a:pt x="7" y="148"/>
                  </a:cubicBezTo>
                  <a:cubicBezTo>
                    <a:pt x="7" y="148"/>
                    <a:pt x="8" y="149"/>
                    <a:pt x="8" y="148"/>
                  </a:cubicBezTo>
                  <a:cubicBezTo>
                    <a:pt x="9" y="148"/>
                    <a:pt x="12" y="148"/>
                    <a:pt x="15" y="147"/>
                  </a:cubicBezTo>
                  <a:cubicBezTo>
                    <a:pt x="16" y="148"/>
                    <a:pt x="16" y="150"/>
                    <a:pt x="17" y="151"/>
                  </a:cubicBezTo>
                  <a:cubicBezTo>
                    <a:pt x="14" y="153"/>
                    <a:pt x="11" y="154"/>
                    <a:pt x="11" y="155"/>
                  </a:cubicBezTo>
                  <a:cubicBezTo>
                    <a:pt x="10" y="155"/>
                    <a:pt x="10" y="155"/>
                    <a:pt x="10" y="156"/>
                  </a:cubicBezTo>
                  <a:cubicBezTo>
                    <a:pt x="10" y="157"/>
                    <a:pt x="10" y="157"/>
                    <a:pt x="10" y="158"/>
                  </a:cubicBezTo>
                  <a:cubicBezTo>
                    <a:pt x="10" y="158"/>
                    <a:pt x="10" y="159"/>
                    <a:pt x="11" y="159"/>
                  </a:cubicBezTo>
                  <a:cubicBezTo>
                    <a:pt x="12" y="159"/>
                    <a:pt x="12" y="159"/>
                    <a:pt x="13" y="159"/>
                  </a:cubicBezTo>
                  <a:cubicBezTo>
                    <a:pt x="13" y="159"/>
                    <a:pt x="16" y="158"/>
                    <a:pt x="19" y="157"/>
                  </a:cubicBezTo>
                  <a:cubicBezTo>
                    <a:pt x="20" y="158"/>
                    <a:pt x="21" y="160"/>
                    <a:pt x="21" y="161"/>
                  </a:cubicBezTo>
                  <a:cubicBezTo>
                    <a:pt x="19" y="163"/>
                    <a:pt x="16" y="165"/>
                    <a:pt x="16" y="165"/>
                  </a:cubicBezTo>
                  <a:cubicBezTo>
                    <a:pt x="15" y="165"/>
                    <a:pt x="15" y="166"/>
                    <a:pt x="15" y="166"/>
                  </a:cubicBezTo>
                  <a:cubicBezTo>
                    <a:pt x="15" y="167"/>
                    <a:pt x="15" y="168"/>
                    <a:pt x="15" y="168"/>
                  </a:cubicBezTo>
                  <a:cubicBezTo>
                    <a:pt x="15" y="169"/>
                    <a:pt x="16" y="169"/>
                    <a:pt x="16" y="169"/>
                  </a:cubicBezTo>
                  <a:cubicBezTo>
                    <a:pt x="17" y="169"/>
                    <a:pt x="18" y="169"/>
                    <a:pt x="18" y="169"/>
                  </a:cubicBezTo>
                  <a:cubicBezTo>
                    <a:pt x="19" y="169"/>
                    <a:pt x="22" y="168"/>
                    <a:pt x="24" y="166"/>
                  </a:cubicBezTo>
                  <a:cubicBezTo>
                    <a:pt x="25" y="168"/>
                    <a:pt x="26" y="169"/>
                    <a:pt x="27" y="170"/>
                  </a:cubicBezTo>
                  <a:cubicBezTo>
                    <a:pt x="25" y="172"/>
                    <a:pt x="22" y="174"/>
                    <a:pt x="22" y="175"/>
                  </a:cubicBezTo>
                  <a:cubicBezTo>
                    <a:pt x="21" y="175"/>
                    <a:pt x="21" y="176"/>
                    <a:pt x="21" y="176"/>
                  </a:cubicBezTo>
                  <a:cubicBezTo>
                    <a:pt x="21" y="177"/>
                    <a:pt x="21" y="177"/>
                    <a:pt x="21" y="178"/>
                  </a:cubicBezTo>
                  <a:cubicBezTo>
                    <a:pt x="22" y="178"/>
                    <a:pt x="22" y="179"/>
                    <a:pt x="23" y="179"/>
                  </a:cubicBezTo>
                  <a:cubicBezTo>
                    <a:pt x="23" y="179"/>
                    <a:pt x="24" y="179"/>
                    <a:pt x="25" y="179"/>
                  </a:cubicBezTo>
                  <a:cubicBezTo>
                    <a:pt x="25" y="178"/>
                    <a:pt x="28" y="177"/>
                    <a:pt x="30" y="175"/>
                  </a:cubicBezTo>
                  <a:cubicBezTo>
                    <a:pt x="32" y="176"/>
                    <a:pt x="32" y="177"/>
                    <a:pt x="33" y="179"/>
                  </a:cubicBezTo>
                  <a:cubicBezTo>
                    <a:pt x="31" y="181"/>
                    <a:pt x="29" y="183"/>
                    <a:pt x="29" y="184"/>
                  </a:cubicBezTo>
                  <a:cubicBezTo>
                    <a:pt x="28" y="184"/>
                    <a:pt x="28" y="185"/>
                    <a:pt x="28" y="185"/>
                  </a:cubicBezTo>
                  <a:cubicBezTo>
                    <a:pt x="28" y="186"/>
                    <a:pt x="28" y="187"/>
                    <a:pt x="29" y="187"/>
                  </a:cubicBezTo>
                  <a:cubicBezTo>
                    <a:pt x="29" y="187"/>
                    <a:pt x="30" y="188"/>
                    <a:pt x="30" y="188"/>
                  </a:cubicBezTo>
                  <a:cubicBezTo>
                    <a:pt x="31" y="188"/>
                    <a:pt x="32" y="188"/>
                    <a:pt x="32" y="187"/>
                  </a:cubicBezTo>
                  <a:cubicBezTo>
                    <a:pt x="33" y="187"/>
                    <a:pt x="35" y="185"/>
                    <a:pt x="38" y="183"/>
                  </a:cubicBezTo>
                  <a:cubicBezTo>
                    <a:pt x="39" y="184"/>
                    <a:pt x="40" y="186"/>
                    <a:pt x="41" y="187"/>
                  </a:cubicBezTo>
                  <a:cubicBezTo>
                    <a:pt x="39" y="189"/>
                    <a:pt x="37" y="192"/>
                    <a:pt x="37" y="192"/>
                  </a:cubicBezTo>
                  <a:cubicBezTo>
                    <a:pt x="36" y="193"/>
                    <a:pt x="36" y="193"/>
                    <a:pt x="36" y="194"/>
                  </a:cubicBezTo>
                  <a:cubicBezTo>
                    <a:pt x="36" y="194"/>
                    <a:pt x="37" y="195"/>
                    <a:pt x="37" y="195"/>
                  </a:cubicBezTo>
                  <a:cubicBezTo>
                    <a:pt x="38" y="196"/>
                    <a:pt x="38" y="196"/>
                    <a:pt x="39" y="196"/>
                  </a:cubicBezTo>
                  <a:cubicBezTo>
                    <a:pt x="39" y="196"/>
                    <a:pt x="40" y="196"/>
                    <a:pt x="40" y="195"/>
                  </a:cubicBezTo>
                  <a:cubicBezTo>
                    <a:pt x="41" y="195"/>
                    <a:pt x="43" y="193"/>
                    <a:pt x="45" y="191"/>
                  </a:cubicBezTo>
                  <a:cubicBezTo>
                    <a:pt x="46" y="192"/>
                    <a:pt x="48" y="193"/>
                    <a:pt x="49" y="194"/>
                  </a:cubicBezTo>
                  <a:cubicBezTo>
                    <a:pt x="47" y="196"/>
                    <a:pt x="46" y="199"/>
                    <a:pt x="45" y="200"/>
                  </a:cubicBezTo>
                  <a:cubicBezTo>
                    <a:pt x="45" y="200"/>
                    <a:pt x="45" y="201"/>
                    <a:pt x="45" y="201"/>
                  </a:cubicBezTo>
                  <a:cubicBezTo>
                    <a:pt x="45" y="202"/>
                    <a:pt x="46" y="202"/>
                    <a:pt x="46" y="203"/>
                  </a:cubicBezTo>
                  <a:cubicBezTo>
                    <a:pt x="47" y="203"/>
                    <a:pt x="47" y="203"/>
                    <a:pt x="48" y="203"/>
                  </a:cubicBezTo>
                  <a:cubicBezTo>
                    <a:pt x="48" y="203"/>
                    <a:pt x="49" y="203"/>
                    <a:pt x="49" y="202"/>
                  </a:cubicBezTo>
                  <a:cubicBezTo>
                    <a:pt x="50" y="202"/>
                    <a:pt x="52" y="199"/>
                    <a:pt x="54" y="197"/>
                  </a:cubicBezTo>
                  <a:cubicBezTo>
                    <a:pt x="55" y="198"/>
                    <a:pt x="56" y="199"/>
                    <a:pt x="58" y="200"/>
                  </a:cubicBezTo>
                  <a:cubicBezTo>
                    <a:pt x="57" y="202"/>
                    <a:pt x="55" y="205"/>
                    <a:pt x="55" y="206"/>
                  </a:cubicBezTo>
                  <a:cubicBezTo>
                    <a:pt x="55" y="207"/>
                    <a:pt x="55" y="207"/>
                    <a:pt x="55" y="208"/>
                  </a:cubicBezTo>
                  <a:cubicBezTo>
                    <a:pt x="55" y="208"/>
                    <a:pt x="55" y="209"/>
                    <a:pt x="56" y="209"/>
                  </a:cubicBezTo>
                  <a:cubicBezTo>
                    <a:pt x="56" y="209"/>
                    <a:pt x="57" y="209"/>
                    <a:pt x="58" y="209"/>
                  </a:cubicBezTo>
                  <a:cubicBezTo>
                    <a:pt x="58" y="209"/>
                    <a:pt x="59" y="209"/>
                    <a:pt x="59" y="208"/>
                  </a:cubicBezTo>
                  <a:cubicBezTo>
                    <a:pt x="59" y="208"/>
                    <a:pt x="61" y="205"/>
                    <a:pt x="63" y="203"/>
                  </a:cubicBezTo>
                  <a:cubicBezTo>
                    <a:pt x="64" y="204"/>
                    <a:pt x="66" y="204"/>
                    <a:pt x="67" y="205"/>
                  </a:cubicBezTo>
                  <a:cubicBezTo>
                    <a:pt x="66" y="208"/>
                    <a:pt x="65" y="211"/>
                    <a:pt x="65" y="211"/>
                  </a:cubicBezTo>
                  <a:cubicBezTo>
                    <a:pt x="65" y="212"/>
                    <a:pt x="65" y="213"/>
                    <a:pt x="65" y="213"/>
                  </a:cubicBezTo>
                  <a:cubicBezTo>
                    <a:pt x="65" y="214"/>
                    <a:pt x="66" y="214"/>
                    <a:pt x="66" y="214"/>
                  </a:cubicBezTo>
                  <a:cubicBezTo>
                    <a:pt x="67" y="215"/>
                    <a:pt x="68" y="215"/>
                    <a:pt x="68" y="214"/>
                  </a:cubicBezTo>
                  <a:cubicBezTo>
                    <a:pt x="69" y="214"/>
                    <a:pt x="69" y="214"/>
                    <a:pt x="69" y="213"/>
                  </a:cubicBezTo>
                  <a:cubicBezTo>
                    <a:pt x="70" y="213"/>
                    <a:pt x="71" y="210"/>
                    <a:pt x="73" y="207"/>
                  </a:cubicBezTo>
                  <a:cubicBezTo>
                    <a:pt x="74" y="208"/>
                    <a:pt x="76" y="208"/>
                    <a:pt x="77" y="209"/>
                  </a:cubicBezTo>
                  <a:cubicBezTo>
                    <a:pt x="76" y="212"/>
                    <a:pt x="76" y="215"/>
                    <a:pt x="76" y="216"/>
                  </a:cubicBezTo>
                  <a:cubicBezTo>
                    <a:pt x="76" y="216"/>
                    <a:pt x="76" y="217"/>
                    <a:pt x="76" y="218"/>
                  </a:cubicBezTo>
                  <a:cubicBezTo>
                    <a:pt x="76" y="218"/>
                    <a:pt x="77" y="218"/>
                    <a:pt x="77" y="219"/>
                  </a:cubicBezTo>
                  <a:cubicBezTo>
                    <a:pt x="78" y="219"/>
                    <a:pt x="78" y="219"/>
                    <a:pt x="79" y="218"/>
                  </a:cubicBezTo>
                  <a:cubicBezTo>
                    <a:pt x="80" y="218"/>
                    <a:pt x="80" y="218"/>
                    <a:pt x="80" y="217"/>
                  </a:cubicBezTo>
                  <a:cubicBezTo>
                    <a:pt x="80" y="217"/>
                    <a:pt x="82" y="214"/>
                    <a:pt x="83" y="211"/>
                  </a:cubicBezTo>
                  <a:cubicBezTo>
                    <a:pt x="84" y="211"/>
                    <a:pt x="86" y="212"/>
                    <a:pt x="87" y="212"/>
                  </a:cubicBezTo>
                  <a:cubicBezTo>
                    <a:pt x="87" y="215"/>
                    <a:pt x="87" y="218"/>
                    <a:pt x="87" y="219"/>
                  </a:cubicBezTo>
                  <a:cubicBezTo>
                    <a:pt x="87" y="220"/>
                    <a:pt x="87" y="220"/>
                    <a:pt x="87" y="221"/>
                  </a:cubicBezTo>
                  <a:cubicBezTo>
                    <a:pt x="87" y="221"/>
                    <a:pt x="88" y="221"/>
                    <a:pt x="89" y="222"/>
                  </a:cubicBezTo>
                  <a:cubicBezTo>
                    <a:pt x="89" y="222"/>
                    <a:pt x="90" y="222"/>
                    <a:pt x="90" y="221"/>
                  </a:cubicBezTo>
                  <a:cubicBezTo>
                    <a:pt x="91" y="221"/>
                    <a:pt x="91" y="221"/>
                    <a:pt x="91" y="220"/>
                  </a:cubicBezTo>
                  <a:cubicBezTo>
                    <a:pt x="92" y="219"/>
                    <a:pt x="92" y="216"/>
                    <a:pt x="93" y="213"/>
                  </a:cubicBezTo>
                  <a:cubicBezTo>
                    <a:pt x="95" y="214"/>
                    <a:pt x="96" y="214"/>
                    <a:pt x="98" y="214"/>
                  </a:cubicBezTo>
                  <a:cubicBezTo>
                    <a:pt x="98" y="217"/>
                    <a:pt x="98" y="220"/>
                    <a:pt x="98" y="221"/>
                  </a:cubicBezTo>
                  <a:cubicBezTo>
                    <a:pt x="98" y="222"/>
                    <a:pt x="98" y="222"/>
                    <a:pt x="99" y="223"/>
                  </a:cubicBezTo>
                  <a:cubicBezTo>
                    <a:pt x="99" y="223"/>
                    <a:pt x="99" y="223"/>
                    <a:pt x="100" y="223"/>
                  </a:cubicBezTo>
                  <a:cubicBezTo>
                    <a:pt x="101" y="223"/>
                    <a:pt x="101" y="223"/>
                    <a:pt x="102" y="223"/>
                  </a:cubicBezTo>
                  <a:cubicBezTo>
                    <a:pt x="102" y="223"/>
                    <a:pt x="103" y="222"/>
                    <a:pt x="103" y="222"/>
                  </a:cubicBezTo>
                  <a:cubicBezTo>
                    <a:pt x="103" y="221"/>
                    <a:pt x="103" y="218"/>
                    <a:pt x="104" y="215"/>
                  </a:cubicBezTo>
                  <a:cubicBezTo>
                    <a:pt x="106" y="215"/>
                    <a:pt x="107" y="215"/>
                    <a:pt x="109" y="215"/>
                  </a:cubicBezTo>
                  <a:cubicBezTo>
                    <a:pt x="109" y="218"/>
                    <a:pt x="109" y="221"/>
                    <a:pt x="109" y="222"/>
                  </a:cubicBezTo>
                  <a:cubicBezTo>
                    <a:pt x="109" y="223"/>
                    <a:pt x="110" y="223"/>
                    <a:pt x="110" y="223"/>
                  </a:cubicBezTo>
                  <a:cubicBezTo>
                    <a:pt x="111" y="224"/>
                    <a:pt x="111" y="224"/>
                    <a:pt x="112" y="224"/>
                  </a:cubicBezTo>
                  <a:cubicBezTo>
                    <a:pt x="112" y="224"/>
                    <a:pt x="113" y="224"/>
                    <a:pt x="113" y="223"/>
                  </a:cubicBezTo>
                  <a:cubicBezTo>
                    <a:pt x="114" y="223"/>
                    <a:pt x="114" y="223"/>
                    <a:pt x="114" y="222"/>
                  </a:cubicBezTo>
                  <a:cubicBezTo>
                    <a:pt x="114" y="221"/>
                    <a:pt x="115" y="218"/>
                    <a:pt x="115" y="215"/>
                  </a:cubicBezTo>
                  <a:cubicBezTo>
                    <a:pt x="116" y="215"/>
                    <a:pt x="118" y="215"/>
                    <a:pt x="119" y="215"/>
                  </a:cubicBezTo>
                  <a:cubicBezTo>
                    <a:pt x="120" y="218"/>
                    <a:pt x="121" y="221"/>
                    <a:pt x="121" y="222"/>
                  </a:cubicBezTo>
                  <a:cubicBezTo>
                    <a:pt x="121" y="222"/>
                    <a:pt x="121" y="223"/>
                    <a:pt x="122" y="223"/>
                  </a:cubicBezTo>
                  <a:cubicBezTo>
                    <a:pt x="122" y="223"/>
                    <a:pt x="123" y="223"/>
                    <a:pt x="123" y="223"/>
                  </a:cubicBezTo>
                  <a:cubicBezTo>
                    <a:pt x="124" y="223"/>
                    <a:pt x="125" y="223"/>
                    <a:pt x="125" y="223"/>
                  </a:cubicBezTo>
                  <a:cubicBezTo>
                    <a:pt x="125" y="222"/>
                    <a:pt x="126" y="222"/>
                    <a:pt x="126" y="221"/>
                  </a:cubicBezTo>
                  <a:cubicBezTo>
                    <a:pt x="126" y="220"/>
                    <a:pt x="125" y="217"/>
                    <a:pt x="125" y="214"/>
                  </a:cubicBezTo>
                  <a:cubicBezTo>
                    <a:pt x="127" y="214"/>
                    <a:pt x="129" y="214"/>
                    <a:pt x="130" y="213"/>
                  </a:cubicBezTo>
                  <a:cubicBezTo>
                    <a:pt x="131" y="216"/>
                    <a:pt x="132" y="219"/>
                    <a:pt x="132" y="220"/>
                  </a:cubicBezTo>
                  <a:cubicBezTo>
                    <a:pt x="132" y="221"/>
                    <a:pt x="133" y="221"/>
                    <a:pt x="133" y="221"/>
                  </a:cubicBezTo>
                  <a:cubicBezTo>
                    <a:pt x="134" y="222"/>
                    <a:pt x="134" y="222"/>
                    <a:pt x="135" y="222"/>
                  </a:cubicBezTo>
                  <a:cubicBezTo>
                    <a:pt x="136" y="221"/>
                    <a:pt x="136" y="221"/>
                    <a:pt x="136" y="221"/>
                  </a:cubicBezTo>
                  <a:cubicBezTo>
                    <a:pt x="137" y="220"/>
                    <a:pt x="137" y="220"/>
                    <a:pt x="137" y="219"/>
                  </a:cubicBezTo>
                  <a:cubicBezTo>
                    <a:pt x="137" y="218"/>
                    <a:pt x="136" y="215"/>
                    <a:pt x="136" y="212"/>
                  </a:cubicBezTo>
                  <a:cubicBezTo>
                    <a:pt x="138" y="212"/>
                    <a:pt x="139" y="211"/>
                    <a:pt x="141" y="211"/>
                  </a:cubicBezTo>
                  <a:cubicBezTo>
                    <a:pt x="142" y="214"/>
                    <a:pt x="143" y="217"/>
                    <a:pt x="143" y="217"/>
                  </a:cubicBezTo>
                  <a:cubicBezTo>
                    <a:pt x="144" y="218"/>
                    <a:pt x="144" y="218"/>
                    <a:pt x="144" y="218"/>
                  </a:cubicBezTo>
                  <a:cubicBezTo>
                    <a:pt x="145" y="219"/>
                    <a:pt x="146" y="219"/>
                    <a:pt x="146" y="219"/>
                  </a:cubicBezTo>
                  <a:cubicBezTo>
                    <a:pt x="147" y="218"/>
                    <a:pt x="147" y="218"/>
                    <a:pt x="148" y="218"/>
                  </a:cubicBezTo>
                  <a:cubicBezTo>
                    <a:pt x="148" y="217"/>
                    <a:pt x="148" y="216"/>
                    <a:pt x="148" y="216"/>
                  </a:cubicBezTo>
                  <a:cubicBezTo>
                    <a:pt x="148" y="215"/>
                    <a:pt x="147" y="212"/>
                    <a:pt x="146" y="209"/>
                  </a:cubicBezTo>
                  <a:cubicBezTo>
                    <a:pt x="148" y="208"/>
                    <a:pt x="149" y="208"/>
                    <a:pt x="151" y="207"/>
                  </a:cubicBezTo>
                  <a:cubicBezTo>
                    <a:pt x="152" y="210"/>
                    <a:pt x="154" y="213"/>
                    <a:pt x="154" y="213"/>
                  </a:cubicBezTo>
                  <a:cubicBezTo>
                    <a:pt x="154" y="214"/>
                    <a:pt x="155" y="214"/>
                    <a:pt x="155" y="214"/>
                  </a:cubicBezTo>
                  <a:cubicBezTo>
                    <a:pt x="156" y="215"/>
                    <a:pt x="157" y="215"/>
                    <a:pt x="157" y="214"/>
                  </a:cubicBezTo>
                  <a:cubicBezTo>
                    <a:pt x="158" y="214"/>
                    <a:pt x="158" y="214"/>
                    <a:pt x="158" y="213"/>
                  </a:cubicBezTo>
                  <a:cubicBezTo>
                    <a:pt x="159" y="213"/>
                    <a:pt x="159" y="212"/>
                    <a:pt x="159" y="211"/>
                  </a:cubicBezTo>
                  <a:cubicBezTo>
                    <a:pt x="158" y="211"/>
                    <a:pt x="157" y="208"/>
                    <a:pt x="156" y="205"/>
                  </a:cubicBezTo>
                  <a:cubicBezTo>
                    <a:pt x="158" y="204"/>
                    <a:pt x="159" y="204"/>
                    <a:pt x="160" y="203"/>
                  </a:cubicBezTo>
                  <a:cubicBezTo>
                    <a:pt x="162" y="205"/>
                    <a:pt x="164" y="208"/>
                    <a:pt x="164" y="208"/>
                  </a:cubicBezTo>
                  <a:cubicBezTo>
                    <a:pt x="165" y="209"/>
                    <a:pt x="165" y="209"/>
                    <a:pt x="166" y="209"/>
                  </a:cubicBezTo>
                  <a:cubicBezTo>
                    <a:pt x="166" y="209"/>
                    <a:pt x="167" y="209"/>
                    <a:pt x="168" y="209"/>
                  </a:cubicBezTo>
                  <a:cubicBezTo>
                    <a:pt x="168" y="209"/>
                    <a:pt x="168" y="208"/>
                    <a:pt x="169" y="208"/>
                  </a:cubicBezTo>
                  <a:cubicBezTo>
                    <a:pt x="169" y="207"/>
                    <a:pt x="169" y="207"/>
                    <a:pt x="169" y="206"/>
                  </a:cubicBezTo>
                  <a:cubicBezTo>
                    <a:pt x="168" y="205"/>
                    <a:pt x="167" y="202"/>
                    <a:pt x="166" y="200"/>
                  </a:cubicBezTo>
                  <a:cubicBezTo>
                    <a:pt x="167" y="199"/>
                    <a:pt x="168" y="198"/>
                    <a:pt x="170" y="197"/>
                  </a:cubicBezTo>
                  <a:cubicBezTo>
                    <a:pt x="172" y="199"/>
                    <a:pt x="174" y="202"/>
                    <a:pt x="174" y="202"/>
                  </a:cubicBezTo>
                  <a:cubicBezTo>
                    <a:pt x="175" y="203"/>
                    <a:pt x="175" y="203"/>
                    <a:pt x="176" y="203"/>
                  </a:cubicBezTo>
                  <a:cubicBezTo>
                    <a:pt x="176" y="203"/>
                    <a:pt x="177" y="203"/>
                    <a:pt x="177" y="203"/>
                  </a:cubicBezTo>
                  <a:cubicBezTo>
                    <a:pt x="178" y="202"/>
                    <a:pt x="178" y="202"/>
                    <a:pt x="178" y="201"/>
                  </a:cubicBezTo>
                  <a:cubicBezTo>
                    <a:pt x="178" y="201"/>
                    <a:pt x="178" y="200"/>
                    <a:pt x="178" y="200"/>
                  </a:cubicBezTo>
                  <a:cubicBezTo>
                    <a:pt x="178" y="199"/>
                    <a:pt x="176" y="196"/>
                    <a:pt x="175" y="194"/>
                  </a:cubicBezTo>
                  <a:cubicBezTo>
                    <a:pt x="176" y="193"/>
                    <a:pt x="177" y="192"/>
                    <a:pt x="178" y="191"/>
                  </a:cubicBezTo>
                  <a:cubicBezTo>
                    <a:pt x="180" y="193"/>
                    <a:pt x="183" y="195"/>
                    <a:pt x="183" y="195"/>
                  </a:cubicBezTo>
                  <a:cubicBezTo>
                    <a:pt x="184" y="196"/>
                    <a:pt x="184" y="196"/>
                    <a:pt x="185" y="196"/>
                  </a:cubicBezTo>
                  <a:cubicBezTo>
                    <a:pt x="185" y="196"/>
                    <a:pt x="186" y="196"/>
                    <a:pt x="186" y="195"/>
                  </a:cubicBezTo>
                  <a:cubicBezTo>
                    <a:pt x="187" y="195"/>
                    <a:pt x="187" y="194"/>
                    <a:pt x="187" y="194"/>
                  </a:cubicBezTo>
                  <a:cubicBezTo>
                    <a:pt x="187" y="193"/>
                    <a:pt x="187" y="193"/>
                    <a:pt x="187" y="192"/>
                  </a:cubicBezTo>
                  <a:cubicBezTo>
                    <a:pt x="186" y="192"/>
                    <a:pt x="184" y="189"/>
                    <a:pt x="183" y="187"/>
                  </a:cubicBezTo>
                  <a:cubicBezTo>
                    <a:pt x="184" y="186"/>
                    <a:pt x="185" y="184"/>
                    <a:pt x="186" y="183"/>
                  </a:cubicBezTo>
                  <a:cubicBezTo>
                    <a:pt x="188" y="185"/>
                    <a:pt x="191" y="187"/>
                    <a:pt x="191" y="187"/>
                  </a:cubicBezTo>
                  <a:cubicBezTo>
                    <a:pt x="192" y="188"/>
                    <a:pt x="193" y="188"/>
                    <a:pt x="193" y="188"/>
                  </a:cubicBezTo>
                  <a:cubicBezTo>
                    <a:pt x="194" y="188"/>
                    <a:pt x="194" y="187"/>
                    <a:pt x="195" y="187"/>
                  </a:cubicBezTo>
                  <a:cubicBezTo>
                    <a:pt x="195" y="187"/>
                    <a:pt x="195" y="186"/>
                    <a:pt x="195" y="185"/>
                  </a:cubicBezTo>
                  <a:cubicBezTo>
                    <a:pt x="195" y="185"/>
                    <a:pt x="195" y="184"/>
                    <a:pt x="195" y="184"/>
                  </a:cubicBezTo>
                  <a:cubicBezTo>
                    <a:pt x="194" y="183"/>
                    <a:pt x="192" y="181"/>
                    <a:pt x="190" y="179"/>
                  </a:cubicBezTo>
                  <a:cubicBezTo>
                    <a:pt x="191" y="177"/>
                    <a:pt x="192" y="176"/>
                    <a:pt x="193" y="175"/>
                  </a:cubicBezTo>
                  <a:cubicBezTo>
                    <a:pt x="196" y="177"/>
                    <a:pt x="198" y="178"/>
                    <a:pt x="199" y="179"/>
                  </a:cubicBezTo>
                  <a:cubicBezTo>
                    <a:pt x="199" y="179"/>
                    <a:pt x="200" y="179"/>
                    <a:pt x="201" y="179"/>
                  </a:cubicBezTo>
                  <a:cubicBezTo>
                    <a:pt x="201" y="179"/>
                    <a:pt x="202" y="178"/>
                    <a:pt x="202" y="178"/>
                  </a:cubicBezTo>
                  <a:cubicBezTo>
                    <a:pt x="202" y="177"/>
                    <a:pt x="203" y="177"/>
                    <a:pt x="202" y="176"/>
                  </a:cubicBezTo>
                  <a:cubicBezTo>
                    <a:pt x="202" y="176"/>
                    <a:pt x="202" y="175"/>
                    <a:pt x="202" y="175"/>
                  </a:cubicBezTo>
                  <a:cubicBezTo>
                    <a:pt x="201" y="174"/>
                    <a:pt x="199" y="172"/>
                    <a:pt x="197" y="170"/>
                  </a:cubicBezTo>
                  <a:cubicBezTo>
                    <a:pt x="197" y="169"/>
                    <a:pt x="198" y="168"/>
                    <a:pt x="199" y="166"/>
                  </a:cubicBezTo>
                  <a:cubicBezTo>
                    <a:pt x="202" y="168"/>
                    <a:pt x="205" y="169"/>
                    <a:pt x="205" y="169"/>
                  </a:cubicBezTo>
                  <a:cubicBezTo>
                    <a:pt x="206" y="169"/>
                    <a:pt x="207" y="169"/>
                    <a:pt x="207" y="169"/>
                  </a:cubicBezTo>
                  <a:cubicBezTo>
                    <a:pt x="208" y="169"/>
                    <a:pt x="208" y="169"/>
                    <a:pt x="208" y="168"/>
                  </a:cubicBezTo>
                  <a:cubicBezTo>
                    <a:pt x="209" y="168"/>
                    <a:pt x="209" y="167"/>
                    <a:pt x="209" y="166"/>
                  </a:cubicBezTo>
                  <a:cubicBezTo>
                    <a:pt x="209" y="166"/>
                    <a:pt x="208" y="165"/>
                    <a:pt x="208" y="165"/>
                  </a:cubicBezTo>
                  <a:cubicBezTo>
                    <a:pt x="207" y="165"/>
                    <a:pt x="205" y="163"/>
                    <a:pt x="202" y="161"/>
                  </a:cubicBezTo>
                  <a:cubicBezTo>
                    <a:pt x="203" y="160"/>
                    <a:pt x="204" y="158"/>
                    <a:pt x="204" y="157"/>
                  </a:cubicBezTo>
                  <a:cubicBezTo>
                    <a:pt x="207" y="158"/>
                    <a:pt x="210" y="159"/>
                    <a:pt x="211" y="159"/>
                  </a:cubicBezTo>
                  <a:cubicBezTo>
                    <a:pt x="211" y="159"/>
                    <a:pt x="212" y="159"/>
                    <a:pt x="212" y="159"/>
                  </a:cubicBezTo>
                  <a:cubicBezTo>
                    <a:pt x="213" y="159"/>
                    <a:pt x="213" y="158"/>
                    <a:pt x="214" y="158"/>
                  </a:cubicBezTo>
                  <a:cubicBezTo>
                    <a:pt x="214" y="157"/>
                    <a:pt x="214" y="157"/>
                    <a:pt x="214" y="156"/>
                  </a:cubicBezTo>
                  <a:cubicBezTo>
                    <a:pt x="214" y="155"/>
                    <a:pt x="213" y="155"/>
                    <a:pt x="213" y="155"/>
                  </a:cubicBezTo>
                  <a:cubicBezTo>
                    <a:pt x="212" y="154"/>
                    <a:pt x="209" y="153"/>
                    <a:pt x="207" y="151"/>
                  </a:cubicBezTo>
                  <a:cubicBezTo>
                    <a:pt x="207" y="150"/>
                    <a:pt x="208" y="148"/>
                    <a:pt x="208" y="147"/>
                  </a:cubicBezTo>
                  <a:cubicBezTo>
                    <a:pt x="211" y="148"/>
                    <a:pt x="215" y="148"/>
                    <a:pt x="215" y="148"/>
                  </a:cubicBezTo>
                  <a:cubicBezTo>
                    <a:pt x="216" y="149"/>
                    <a:pt x="216" y="148"/>
                    <a:pt x="217" y="148"/>
                  </a:cubicBezTo>
                  <a:cubicBezTo>
                    <a:pt x="217" y="148"/>
                    <a:pt x="218" y="147"/>
                    <a:pt x="218" y="147"/>
                  </a:cubicBezTo>
                  <a:cubicBezTo>
                    <a:pt x="218" y="146"/>
                    <a:pt x="218" y="146"/>
                    <a:pt x="218" y="145"/>
                  </a:cubicBezTo>
                  <a:cubicBezTo>
                    <a:pt x="218" y="145"/>
                    <a:pt x="217" y="144"/>
                    <a:pt x="217" y="144"/>
                  </a:cubicBezTo>
                  <a:cubicBezTo>
                    <a:pt x="216" y="144"/>
                    <a:pt x="213" y="142"/>
                    <a:pt x="210" y="141"/>
                  </a:cubicBezTo>
                  <a:cubicBezTo>
                    <a:pt x="211" y="140"/>
                    <a:pt x="211" y="138"/>
                    <a:pt x="211" y="137"/>
                  </a:cubicBezTo>
                  <a:cubicBezTo>
                    <a:pt x="214" y="137"/>
                    <a:pt x="218" y="137"/>
                    <a:pt x="218" y="137"/>
                  </a:cubicBezTo>
                  <a:cubicBezTo>
                    <a:pt x="219" y="137"/>
                    <a:pt x="220" y="137"/>
                    <a:pt x="220" y="137"/>
                  </a:cubicBezTo>
                  <a:cubicBezTo>
                    <a:pt x="220" y="137"/>
                    <a:pt x="221" y="136"/>
                    <a:pt x="221" y="135"/>
                  </a:cubicBezTo>
                  <a:cubicBezTo>
                    <a:pt x="221" y="135"/>
                    <a:pt x="221" y="134"/>
                    <a:pt x="221" y="134"/>
                  </a:cubicBezTo>
                  <a:cubicBezTo>
                    <a:pt x="220" y="133"/>
                    <a:pt x="220" y="133"/>
                    <a:pt x="219" y="133"/>
                  </a:cubicBezTo>
                  <a:cubicBezTo>
                    <a:pt x="219" y="132"/>
                    <a:pt x="216" y="132"/>
                    <a:pt x="213" y="131"/>
                  </a:cubicBezTo>
                  <a:cubicBezTo>
                    <a:pt x="213" y="129"/>
                    <a:pt x="213" y="128"/>
                    <a:pt x="214" y="126"/>
                  </a:cubicBezTo>
                  <a:cubicBezTo>
                    <a:pt x="216" y="126"/>
                    <a:pt x="220" y="126"/>
                    <a:pt x="220" y="126"/>
                  </a:cubicBezTo>
                  <a:cubicBezTo>
                    <a:pt x="221" y="126"/>
                    <a:pt x="222" y="126"/>
                    <a:pt x="222" y="125"/>
                  </a:cubicBezTo>
                  <a:cubicBezTo>
                    <a:pt x="222" y="125"/>
                    <a:pt x="223" y="125"/>
                    <a:pt x="223" y="124"/>
                  </a:cubicBezTo>
                  <a:cubicBezTo>
                    <a:pt x="223" y="123"/>
                    <a:pt x="223" y="123"/>
                    <a:pt x="222" y="122"/>
                  </a:cubicBezTo>
                  <a:cubicBezTo>
                    <a:pt x="222" y="122"/>
                    <a:pt x="222" y="121"/>
                    <a:pt x="221" y="121"/>
                  </a:cubicBezTo>
                  <a:cubicBezTo>
                    <a:pt x="220" y="121"/>
                    <a:pt x="217" y="121"/>
                    <a:pt x="214" y="120"/>
                  </a:cubicBezTo>
                  <a:cubicBezTo>
                    <a:pt x="214" y="118"/>
                    <a:pt x="214" y="117"/>
                    <a:pt x="214" y="115"/>
                  </a:cubicBezTo>
                  <a:cubicBezTo>
                    <a:pt x="217" y="115"/>
                    <a:pt x="221" y="115"/>
                    <a:pt x="221" y="115"/>
                  </a:cubicBezTo>
                  <a:close/>
                  <a:moveTo>
                    <a:pt x="112" y="201"/>
                  </a:moveTo>
                  <a:cubicBezTo>
                    <a:pt x="63" y="201"/>
                    <a:pt x="23" y="161"/>
                    <a:pt x="23" y="112"/>
                  </a:cubicBezTo>
                  <a:cubicBezTo>
                    <a:pt x="23" y="63"/>
                    <a:pt x="63" y="23"/>
                    <a:pt x="112" y="23"/>
                  </a:cubicBezTo>
                  <a:cubicBezTo>
                    <a:pt x="161" y="23"/>
                    <a:pt x="201" y="63"/>
                    <a:pt x="201" y="112"/>
                  </a:cubicBezTo>
                  <a:cubicBezTo>
                    <a:pt x="201" y="161"/>
                    <a:pt x="161" y="201"/>
                    <a:pt x="112" y="201"/>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83" name="Group 818">
              <a:extLst>
                <a:ext uri="{FF2B5EF4-FFF2-40B4-BE49-F238E27FC236}">
                  <a16:creationId xmlns:a16="http://schemas.microsoft.com/office/drawing/2014/main" id="{311055F8-6D6C-48A4-8919-D2D3F4E24AA5}"/>
                </a:ext>
              </a:extLst>
            </p:cNvPr>
            <p:cNvGrpSpPr>
              <a:grpSpLocks noChangeAspect="1"/>
            </p:cNvGrpSpPr>
            <p:nvPr/>
          </p:nvGrpSpPr>
          <p:grpSpPr bwMode="auto">
            <a:xfrm>
              <a:off x="1632009" y="2040820"/>
              <a:ext cx="137328" cy="410040"/>
              <a:chOff x="5975" y="3068"/>
              <a:chExt cx="71" cy="212"/>
            </a:xfrm>
            <a:solidFill>
              <a:srgbClr val="C4D600"/>
            </a:solidFill>
          </p:grpSpPr>
          <p:sp>
            <p:nvSpPr>
              <p:cNvPr id="184" name="Freeform 819">
                <a:extLst>
                  <a:ext uri="{FF2B5EF4-FFF2-40B4-BE49-F238E27FC236}">
                    <a16:creationId xmlns:a16="http://schemas.microsoft.com/office/drawing/2014/main" id="{44713A8C-9596-4FEB-8561-6CBE127606A9}"/>
                  </a:ext>
                </a:extLst>
              </p:cNvPr>
              <p:cNvSpPr>
                <a:spLocks noEditPoints="1"/>
              </p:cNvSpPr>
              <p:nvPr/>
            </p:nvSpPr>
            <p:spPr bwMode="auto">
              <a:xfrm>
                <a:off x="5975" y="3124"/>
                <a:ext cx="71" cy="156"/>
              </a:xfrm>
              <a:custGeom>
                <a:avLst/>
                <a:gdLst>
                  <a:gd name="T0" fmla="*/ 75 w 107"/>
                  <a:gd name="T1" fmla="*/ 8 h 235"/>
                  <a:gd name="T2" fmla="*/ 64 w 107"/>
                  <a:gd name="T3" fmla="*/ 0 h 235"/>
                  <a:gd name="T4" fmla="*/ 43 w 107"/>
                  <a:gd name="T5" fmla="*/ 0 h 235"/>
                  <a:gd name="T6" fmla="*/ 33 w 107"/>
                  <a:gd name="T7" fmla="*/ 8 h 235"/>
                  <a:gd name="T8" fmla="*/ 1 w 107"/>
                  <a:gd name="T9" fmla="*/ 136 h 235"/>
                  <a:gd name="T10" fmla="*/ 3 w 107"/>
                  <a:gd name="T11" fmla="*/ 145 h 235"/>
                  <a:gd name="T12" fmla="*/ 11 w 107"/>
                  <a:gd name="T13" fmla="*/ 149 h 235"/>
                  <a:gd name="T14" fmla="*/ 22 w 107"/>
                  <a:gd name="T15" fmla="*/ 149 h 235"/>
                  <a:gd name="T16" fmla="*/ 22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6 w 107"/>
                  <a:gd name="T31" fmla="*/ 224 h 235"/>
                  <a:gd name="T32" fmla="*/ 86 w 107"/>
                  <a:gd name="T33" fmla="*/ 149 h 235"/>
                  <a:gd name="T34" fmla="*/ 96 w 107"/>
                  <a:gd name="T35" fmla="*/ 149 h 235"/>
                  <a:gd name="T36" fmla="*/ 105 w 107"/>
                  <a:gd name="T37" fmla="*/ 145 h 235"/>
                  <a:gd name="T38" fmla="*/ 107 w 107"/>
                  <a:gd name="T39" fmla="*/ 136 h 235"/>
                  <a:gd name="T40" fmla="*/ 75 w 107"/>
                  <a:gd name="T41" fmla="*/ 8 h 235"/>
                  <a:gd name="T42" fmla="*/ 51 w 107"/>
                  <a:gd name="T43" fmla="*/ 21 h 235"/>
                  <a:gd name="T44" fmla="*/ 56 w 107"/>
                  <a:gd name="T45" fmla="*/ 21 h 235"/>
                  <a:gd name="T46" fmla="*/ 83 w 107"/>
                  <a:gd name="T47" fmla="*/ 128 h 235"/>
                  <a:gd name="T48" fmla="*/ 25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5" y="8"/>
                    </a:moveTo>
                    <a:cubicBezTo>
                      <a:pt x="73" y="3"/>
                      <a:pt x="69" y="0"/>
                      <a:pt x="64" y="0"/>
                    </a:cubicBezTo>
                    <a:cubicBezTo>
                      <a:pt x="43" y="0"/>
                      <a:pt x="43" y="0"/>
                      <a:pt x="43" y="0"/>
                    </a:cubicBezTo>
                    <a:cubicBezTo>
                      <a:pt x="38" y="0"/>
                      <a:pt x="34" y="3"/>
                      <a:pt x="33" y="8"/>
                    </a:cubicBezTo>
                    <a:cubicBezTo>
                      <a:pt x="1" y="136"/>
                      <a:pt x="1" y="136"/>
                      <a:pt x="1" y="136"/>
                    </a:cubicBezTo>
                    <a:cubicBezTo>
                      <a:pt x="0" y="139"/>
                      <a:pt x="1" y="143"/>
                      <a:pt x="3" y="145"/>
                    </a:cubicBezTo>
                    <a:cubicBezTo>
                      <a:pt x="5" y="148"/>
                      <a:pt x="8" y="149"/>
                      <a:pt x="11" y="149"/>
                    </a:cubicBezTo>
                    <a:cubicBezTo>
                      <a:pt x="22" y="149"/>
                      <a:pt x="22" y="149"/>
                      <a:pt x="22" y="149"/>
                    </a:cubicBezTo>
                    <a:cubicBezTo>
                      <a:pt x="22" y="224"/>
                      <a:pt x="22" y="224"/>
                      <a:pt x="22" y="224"/>
                    </a:cubicBezTo>
                    <a:cubicBezTo>
                      <a:pt x="22"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6" y="230"/>
                      <a:pt x="86" y="224"/>
                    </a:cubicBezTo>
                    <a:cubicBezTo>
                      <a:pt x="86" y="149"/>
                      <a:pt x="86" y="149"/>
                      <a:pt x="86" y="149"/>
                    </a:cubicBezTo>
                    <a:cubicBezTo>
                      <a:pt x="96" y="149"/>
                      <a:pt x="96" y="149"/>
                      <a:pt x="96" y="149"/>
                    </a:cubicBezTo>
                    <a:cubicBezTo>
                      <a:pt x="100" y="149"/>
                      <a:pt x="103" y="148"/>
                      <a:pt x="105" y="145"/>
                    </a:cubicBezTo>
                    <a:cubicBezTo>
                      <a:pt x="107" y="143"/>
                      <a:pt x="107" y="139"/>
                      <a:pt x="107" y="136"/>
                    </a:cubicBezTo>
                    <a:lnTo>
                      <a:pt x="75" y="8"/>
                    </a:lnTo>
                    <a:close/>
                    <a:moveTo>
                      <a:pt x="51" y="21"/>
                    </a:moveTo>
                    <a:cubicBezTo>
                      <a:pt x="56" y="21"/>
                      <a:pt x="56" y="21"/>
                      <a:pt x="56" y="21"/>
                    </a:cubicBezTo>
                    <a:cubicBezTo>
                      <a:pt x="83" y="128"/>
                      <a:pt x="83" y="128"/>
                      <a:pt x="83" y="128"/>
                    </a:cubicBezTo>
                    <a:cubicBezTo>
                      <a:pt x="25" y="128"/>
                      <a:pt x="25" y="128"/>
                      <a:pt x="25" y="128"/>
                    </a:cubicBezTo>
                    <a:lnTo>
                      <a:pt x="5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85" name="Freeform 820">
                <a:extLst>
                  <a:ext uri="{FF2B5EF4-FFF2-40B4-BE49-F238E27FC236}">
                    <a16:creationId xmlns:a16="http://schemas.microsoft.com/office/drawing/2014/main" id="{53247792-0680-4090-8BAB-708DDFD57E20}"/>
                  </a:ext>
                </a:extLst>
              </p:cNvPr>
              <p:cNvSpPr>
                <a:spLocks noEditPoints="1"/>
              </p:cNvSpPr>
              <p:nvPr/>
            </p:nvSpPr>
            <p:spPr bwMode="auto">
              <a:xfrm>
                <a:off x="5990" y="3068"/>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186" name="Group 185">
            <a:extLst>
              <a:ext uri="{FF2B5EF4-FFF2-40B4-BE49-F238E27FC236}">
                <a16:creationId xmlns:a16="http://schemas.microsoft.com/office/drawing/2014/main" id="{21A6995D-C052-4900-9018-E9B1B8D99299}"/>
              </a:ext>
            </a:extLst>
          </p:cNvPr>
          <p:cNvGrpSpPr/>
          <p:nvPr/>
        </p:nvGrpSpPr>
        <p:grpSpPr>
          <a:xfrm>
            <a:off x="4685236" y="5513241"/>
            <a:ext cx="532428" cy="531457"/>
            <a:chOff x="1456353" y="2618544"/>
            <a:chExt cx="719207" cy="717896"/>
          </a:xfrm>
          <a:solidFill>
            <a:srgbClr val="009A44"/>
          </a:solidFill>
        </p:grpSpPr>
        <p:sp>
          <p:nvSpPr>
            <p:cNvPr id="187" name="Freeform 12">
              <a:extLst>
                <a:ext uri="{FF2B5EF4-FFF2-40B4-BE49-F238E27FC236}">
                  <a16:creationId xmlns:a16="http://schemas.microsoft.com/office/drawing/2014/main" id="{87212094-5449-456C-9994-6E648C520720}"/>
                </a:ext>
              </a:extLst>
            </p:cNvPr>
            <p:cNvSpPr>
              <a:spLocks noEditPoints="1"/>
            </p:cNvSpPr>
            <p:nvPr/>
          </p:nvSpPr>
          <p:spPr bwMode="auto">
            <a:xfrm>
              <a:off x="1456353" y="2618544"/>
              <a:ext cx="719207" cy="717896"/>
            </a:xfrm>
            <a:custGeom>
              <a:avLst/>
              <a:gdLst>
                <a:gd name="T0" fmla="*/ 242 w 246"/>
                <a:gd name="T1" fmla="*/ 119 h 246"/>
                <a:gd name="T2" fmla="*/ 244 w 246"/>
                <a:gd name="T3" fmla="*/ 101 h 246"/>
                <a:gd name="T4" fmla="*/ 236 w 246"/>
                <a:gd name="T5" fmla="*/ 86 h 246"/>
                <a:gd name="T6" fmla="*/ 221 w 246"/>
                <a:gd name="T7" fmla="*/ 81 h 246"/>
                <a:gd name="T8" fmla="*/ 227 w 246"/>
                <a:gd name="T9" fmla="*/ 59 h 246"/>
                <a:gd name="T10" fmla="*/ 218 w 246"/>
                <a:gd name="T11" fmla="*/ 47 h 246"/>
                <a:gd name="T12" fmla="*/ 196 w 246"/>
                <a:gd name="T13" fmla="*/ 44 h 246"/>
                <a:gd name="T14" fmla="*/ 196 w 246"/>
                <a:gd name="T15" fmla="*/ 29 h 246"/>
                <a:gd name="T16" fmla="*/ 184 w 246"/>
                <a:gd name="T17" fmla="*/ 16 h 246"/>
                <a:gd name="T18" fmla="*/ 168 w 246"/>
                <a:gd name="T19" fmla="*/ 12 h 246"/>
                <a:gd name="T20" fmla="*/ 154 w 246"/>
                <a:gd name="T21" fmla="*/ 20 h 246"/>
                <a:gd name="T22" fmla="*/ 141 w 246"/>
                <a:gd name="T23" fmla="*/ 2 h 246"/>
                <a:gd name="T24" fmla="*/ 126 w 246"/>
                <a:gd name="T25" fmla="*/ 1 h 246"/>
                <a:gd name="T26" fmla="*/ 110 w 246"/>
                <a:gd name="T27" fmla="*/ 17 h 246"/>
                <a:gd name="T28" fmla="*/ 98 w 246"/>
                <a:gd name="T29" fmla="*/ 6 h 246"/>
                <a:gd name="T30" fmla="*/ 81 w 246"/>
                <a:gd name="T31" fmla="*/ 7 h 246"/>
                <a:gd name="T32" fmla="*/ 67 w 246"/>
                <a:gd name="T33" fmla="*/ 17 h 246"/>
                <a:gd name="T34" fmla="*/ 65 w 246"/>
                <a:gd name="T35" fmla="*/ 33 h 246"/>
                <a:gd name="T36" fmla="*/ 42 w 246"/>
                <a:gd name="T37" fmla="*/ 31 h 246"/>
                <a:gd name="T38" fmla="*/ 31 w 246"/>
                <a:gd name="T39" fmla="*/ 42 h 246"/>
                <a:gd name="T40" fmla="*/ 33 w 246"/>
                <a:gd name="T41" fmla="*/ 65 h 246"/>
                <a:gd name="T42" fmla="*/ 17 w 246"/>
                <a:gd name="T43" fmla="*/ 67 h 246"/>
                <a:gd name="T44" fmla="*/ 7 w 246"/>
                <a:gd name="T45" fmla="*/ 81 h 246"/>
                <a:gd name="T46" fmla="*/ 6 w 246"/>
                <a:gd name="T47" fmla="*/ 98 h 246"/>
                <a:gd name="T48" fmla="*/ 17 w 246"/>
                <a:gd name="T49" fmla="*/ 110 h 246"/>
                <a:gd name="T50" fmla="*/ 1 w 246"/>
                <a:gd name="T51" fmla="*/ 126 h 246"/>
                <a:gd name="T52" fmla="*/ 2 w 246"/>
                <a:gd name="T53" fmla="*/ 141 h 246"/>
                <a:gd name="T54" fmla="*/ 21 w 246"/>
                <a:gd name="T55" fmla="*/ 154 h 246"/>
                <a:gd name="T56" fmla="*/ 12 w 246"/>
                <a:gd name="T57" fmla="*/ 168 h 246"/>
                <a:gd name="T58" fmla="*/ 16 w 246"/>
                <a:gd name="T59" fmla="*/ 184 h 246"/>
                <a:gd name="T60" fmla="*/ 29 w 246"/>
                <a:gd name="T61" fmla="*/ 196 h 246"/>
                <a:gd name="T62" fmla="*/ 45 w 246"/>
                <a:gd name="T63" fmla="*/ 196 h 246"/>
                <a:gd name="T64" fmla="*/ 47 w 246"/>
                <a:gd name="T65" fmla="*/ 218 h 246"/>
                <a:gd name="T66" fmla="*/ 59 w 246"/>
                <a:gd name="T67" fmla="*/ 227 h 246"/>
                <a:gd name="T68" fmla="*/ 81 w 246"/>
                <a:gd name="T69" fmla="*/ 222 h 246"/>
                <a:gd name="T70" fmla="*/ 86 w 246"/>
                <a:gd name="T71" fmla="*/ 237 h 246"/>
                <a:gd name="T72" fmla="*/ 101 w 246"/>
                <a:gd name="T73" fmla="*/ 244 h 246"/>
                <a:gd name="T74" fmla="*/ 119 w 246"/>
                <a:gd name="T75" fmla="*/ 242 h 246"/>
                <a:gd name="T76" fmla="*/ 128 w 246"/>
                <a:gd name="T77" fmla="*/ 230 h 246"/>
                <a:gd name="T78" fmla="*/ 147 w 246"/>
                <a:gd name="T79" fmla="*/ 243 h 246"/>
                <a:gd name="T80" fmla="*/ 162 w 246"/>
                <a:gd name="T81" fmla="*/ 239 h 246"/>
                <a:gd name="T82" fmla="*/ 171 w 246"/>
                <a:gd name="T83" fmla="*/ 218 h 246"/>
                <a:gd name="T84" fmla="*/ 186 w 246"/>
                <a:gd name="T85" fmla="*/ 224 h 246"/>
                <a:gd name="T86" fmla="*/ 202 w 246"/>
                <a:gd name="T87" fmla="*/ 217 h 246"/>
                <a:gd name="T88" fmla="*/ 211 w 246"/>
                <a:gd name="T89" fmla="*/ 203 h 246"/>
                <a:gd name="T90" fmla="*/ 208 w 246"/>
                <a:gd name="T91" fmla="*/ 187 h 246"/>
                <a:gd name="T92" fmla="*/ 230 w 246"/>
                <a:gd name="T93" fmla="*/ 181 h 246"/>
                <a:gd name="T94" fmla="*/ 236 w 246"/>
                <a:gd name="T95" fmla="*/ 167 h 246"/>
                <a:gd name="T96" fmla="*/ 227 w 246"/>
                <a:gd name="T97" fmla="*/ 147 h 246"/>
                <a:gd name="T98" fmla="*/ 241 w 246"/>
                <a:gd name="T99" fmla="*/ 139 h 246"/>
                <a:gd name="T100" fmla="*/ 36 w 246"/>
                <a:gd name="T101"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246">
                  <a:moveTo>
                    <a:pt x="242" y="127"/>
                  </a:moveTo>
                  <a:cubicBezTo>
                    <a:pt x="243" y="127"/>
                    <a:pt x="244" y="126"/>
                    <a:pt x="245" y="126"/>
                  </a:cubicBezTo>
                  <a:cubicBezTo>
                    <a:pt x="245" y="125"/>
                    <a:pt x="246" y="124"/>
                    <a:pt x="246" y="123"/>
                  </a:cubicBezTo>
                  <a:cubicBezTo>
                    <a:pt x="246" y="122"/>
                    <a:pt x="245" y="121"/>
                    <a:pt x="245" y="120"/>
                  </a:cubicBezTo>
                  <a:cubicBezTo>
                    <a:pt x="244" y="119"/>
                    <a:pt x="243" y="119"/>
                    <a:pt x="242" y="119"/>
                  </a:cubicBezTo>
                  <a:cubicBezTo>
                    <a:pt x="241" y="118"/>
                    <a:pt x="235" y="118"/>
                    <a:pt x="230" y="117"/>
                  </a:cubicBezTo>
                  <a:cubicBezTo>
                    <a:pt x="229" y="115"/>
                    <a:pt x="229" y="112"/>
                    <a:pt x="229" y="110"/>
                  </a:cubicBezTo>
                  <a:cubicBezTo>
                    <a:pt x="234" y="108"/>
                    <a:pt x="240" y="107"/>
                    <a:pt x="241" y="106"/>
                  </a:cubicBezTo>
                  <a:cubicBezTo>
                    <a:pt x="242" y="106"/>
                    <a:pt x="243" y="105"/>
                    <a:pt x="243" y="104"/>
                  </a:cubicBezTo>
                  <a:cubicBezTo>
                    <a:pt x="244" y="104"/>
                    <a:pt x="244" y="103"/>
                    <a:pt x="244" y="101"/>
                  </a:cubicBezTo>
                  <a:cubicBezTo>
                    <a:pt x="244" y="100"/>
                    <a:pt x="243" y="99"/>
                    <a:pt x="242" y="99"/>
                  </a:cubicBezTo>
                  <a:cubicBezTo>
                    <a:pt x="242" y="98"/>
                    <a:pt x="241" y="98"/>
                    <a:pt x="239" y="98"/>
                  </a:cubicBezTo>
                  <a:cubicBezTo>
                    <a:pt x="238" y="98"/>
                    <a:pt x="232" y="98"/>
                    <a:pt x="227" y="99"/>
                  </a:cubicBezTo>
                  <a:cubicBezTo>
                    <a:pt x="226" y="96"/>
                    <a:pt x="226" y="94"/>
                    <a:pt x="225" y="91"/>
                  </a:cubicBezTo>
                  <a:cubicBezTo>
                    <a:pt x="230" y="89"/>
                    <a:pt x="235" y="87"/>
                    <a:pt x="236" y="86"/>
                  </a:cubicBezTo>
                  <a:cubicBezTo>
                    <a:pt x="237" y="86"/>
                    <a:pt x="238" y="85"/>
                    <a:pt x="238" y="84"/>
                  </a:cubicBezTo>
                  <a:cubicBezTo>
                    <a:pt x="239" y="83"/>
                    <a:pt x="239" y="82"/>
                    <a:pt x="238" y="81"/>
                  </a:cubicBezTo>
                  <a:cubicBezTo>
                    <a:pt x="238" y="80"/>
                    <a:pt x="237" y="79"/>
                    <a:pt x="236" y="78"/>
                  </a:cubicBezTo>
                  <a:cubicBezTo>
                    <a:pt x="235" y="78"/>
                    <a:pt x="234" y="78"/>
                    <a:pt x="233" y="78"/>
                  </a:cubicBezTo>
                  <a:cubicBezTo>
                    <a:pt x="232" y="78"/>
                    <a:pt x="226" y="80"/>
                    <a:pt x="221" y="81"/>
                  </a:cubicBezTo>
                  <a:cubicBezTo>
                    <a:pt x="220" y="79"/>
                    <a:pt x="219" y="76"/>
                    <a:pt x="218" y="74"/>
                  </a:cubicBezTo>
                  <a:cubicBezTo>
                    <a:pt x="222" y="71"/>
                    <a:pt x="227" y="67"/>
                    <a:pt x="228" y="67"/>
                  </a:cubicBezTo>
                  <a:cubicBezTo>
                    <a:pt x="229" y="66"/>
                    <a:pt x="230" y="65"/>
                    <a:pt x="230" y="64"/>
                  </a:cubicBezTo>
                  <a:cubicBezTo>
                    <a:pt x="230" y="63"/>
                    <a:pt x="230" y="62"/>
                    <a:pt x="229" y="61"/>
                  </a:cubicBezTo>
                  <a:cubicBezTo>
                    <a:pt x="229" y="60"/>
                    <a:pt x="228" y="60"/>
                    <a:pt x="227" y="59"/>
                  </a:cubicBezTo>
                  <a:cubicBezTo>
                    <a:pt x="226" y="59"/>
                    <a:pt x="225" y="59"/>
                    <a:pt x="224" y="59"/>
                  </a:cubicBezTo>
                  <a:cubicBezTo>
                    <a:pt x="223" y="60"/>
                    <a:pt x="217" y="62"/>
                    <a:pt x="213" y="65"/>
                  </a:cubicBezTo>
                  <a:cubicBezTo>
                    <a:pt x="211" y="62"/>
                    <a:pt x="210" y="60"/>
                    <a:pt x="208" y="58"/>
                  </a:cubicBezTo>
                  <a:cubicBezTo>
                    <a:pt x="212" y="54"/>
                    <a:pt x="216" y="50"/>
                    <a:pt x="217" y="49"/>
                  </a:cubicBezTo>
                  <a:cubicBezTo>
                    <a:pt x="218" y="49"/>
                    <a:pt x="218" y="48"/>
                    <a:pt x="218" y="47"/>
                  </a:cubicBezTo>
                  <a:cubicBezTo>
                    <a:pt x="218" y="46"/>
                    <a:pt x="218" y="44"/>
                    <a:pt x="217" y="44"/>
                  </a:cubicBezTo>
                  <a:cubicBezTo>
                    <a:pt x="216" y="43"/>
                    <a:pt x="215" y="42"/>
                    <a:pt x="214" y="42"/>
                  </a:cubicBezTo>
                  <a:cubicBezTo>
                    <a:pt x="213" y="42"/>
                    <a:pt x="212" y="42"/>
                    <a:pt x="211" y="43"/>
                  </a:cubicBezTo>
                  <a:cubicBezTo>
                    <a:pt x="210" y="43"/>
                    <a:pt x="206" y="47"/>
                    <a:pt x="201" y="50"/>
                  </a:cubicBezTo>
                  <a:cubicBezTo>
                    <a:pt x="199" y="48"/>
                    <a:pt x="198" y="46"/>
                    <a:pt x="196" y="44"/>
                  </a:cubicBezTo>
                  <a:cubicBezTo>
                    <a:pt x="199" y="40"/>
                    <a:pt x="202" y="35"/>
                    <a:pt x="203" y="34"/>
                  </a:cubicBezTo>
                  <a:cubicBezTo>
                    <a:pt x="203" y="33"/>
                    <a:pt x="203" y="32"/>
                    <a:pt x="203" y="31"/>
                  </a:cubicBezTo>
                  <a:cubicBezTo>
                    <a:pt x="203" y="30"/>
                    <a:pt x="203" y="29"/>
                    <a:pt x="202" y="28"/>
                  </a:cubicBezTo>
                  <a:cubicBezTo>
                    <a:pt x="201" y="28"/>
                    <a:pt x="200" y="27"/>
                    <a:pt x="199" y="27"/>
                  </a:cubicBezTo>
                  <a:cubicBezTo>
                    <a:pt x="198" y="27"/>
                    <a:pt x="197" y="28"/>
                    <a:pt x="196" y="29"/>
                  </a:cubicBezTo>
                  <a:cubicBezTo>
                    <a:pt x="195" y="29"/>
                    <a:pt x="191" y="34"/>
                    <a:pt x="187" y="37"/>
                  </a:cubicBezTo>
                  <a:cubicBezTo>
                    <a:pt x="185" y="36"/>
                    <a:pt x="183" y="34"/>
                    <a:pt x="181" y="33"/>
                  </a:cubicBezTo>
                  <a:cubicBezTo>
                    <a:pt x="183" y="28"/>
                    <a:pt x="186" y="23"/>
                    <a:pt x="186" y="22"/>
                  </a:cubicBezTo>
                  <a:cubicBezTo>
                    <a:pt x="187" y="21"/>
                    <a:pt x="187" y="19"/>
                    <a:pt x="186" y="19"/>
                  </a:cubicBezTo>
                  <a:cubicBezTo>
                    <a:pt x="186" y="18"/>
                    <a:pt x="185" y="17"/>
                    <a:pt x="184" y="16"/>
                  </a:cubicBezTo>
                  <a:cubicBezTo>
                    <a:pt x="183" y="16"/>
                    <a:pt x="182" y="15"/>
                    <a:pt x="181" y="16"/>
                  </a:cubicBezTo>
                  <a:cubicBezTo>
                    <a:pt x="180" y="16"/>
                    <a:pt x="179" y="16"/>
                    <a:pt x="179" y="17"/>
                  </a:cubicBezTo>
                  <a:cubicBezTo>
                    <a:pt x="178" y="18"/>
                    <a:pt x="175" y="23"/>
                    <a:pt x="171" y="27"/>
                  </a:cubicBezTo>
                  <a:cubicBezTo>
                    <a:pt x="169" y="26"/>
                    <a:pt x="167" y="25"/>
                    <a:pt x="164" y="24"/>
                  </a:cubicBezTo>
                  <a:cubicBezTo>
                    <a:pt x="166" y="19"/>
                    <a:pt x="167" y="13"/>
                    <a:pt x="168" y="12"/>
                  </a:cubicBezTo>
                  <a:cubicBezTo>
                    <a:pt x="168" y="11"/>
                    <a:pt x="168" y="10"/>
                    <a:pt x="167" y="9"/>
                  </a:cubicBezTo>
                  <a:cubicBezTo>
                    <a:pt x="167" y="8"/>
                    <a:pt x="166" y="7"/>
                    <a:pt x="165" y="7"/>
                  </a:cubicBezTo>
                  <a:cubicBezTo>
                    <a:pt x="164" y="7"/>
                    <a:pt x="163" y="7"/>
                    <a:pt x="162" y="7"/>
                  </a:cubicBezTo>
                  <a:cubicBezTo>
                    <a:pt x="161" y="7"/>
                    <a:pt x="160" y="8"/>
                    <a:pt x="160" y="9"/>
                  </a:cubicBezTo>
                  <a:cubicBezTo>
                    <a:pt x="159" y="10"/>
                    <a:pt x="156" y="16"/>
                    <a:pt x="154" y="20"/>
                  </a:cubicBezTo>
                  <a:cubicBezTo>
                    <a:pt x="152" y="20"/>
                    <a:pt x="149" y="19"/>
                    <a:pt x="147" y="18"/>
                  </a:cubicBezTo>
                  <a:cubicBezTo>
                    <a:pt x="147" y="13"/>
                    <a:pt x="148" y="7"/>
                    <a:pt x="148" y="6"/>
                  </a:cubicBezTo>
                  <a:cubicBezTo>
                    <a:pt x="148" y="5"/>
                    <a:pt x="147" y="4"/>
                    <a:pt x="147" y="3"/>
                  </a:cubicBezTo>
                  <a:cubicBezTo>
                    <a:pt x="146" y="2"/>
                    <a:pt x="145" y="2"/>
                    <a:pt x="144" y="2"/>
                  </a:cubicBezTo>
                  <a:cubicBezTo>
                    <a:pt x="143" y="1"/>
                    <a:pt x="142" y="2"/>
                    <a:pt x="141" y="2"/>
                  </a:cubicBezTo>
                  <a:cubicBezTo>
                    <a:pt x="140" y="3"/>
                    <a:pt x="140" y="3"/>
                    <a:pt x="139" y="4"/>
                  </a:cubicBezTo>
                  <a:cubicBezTo>
                    <a:pt x="139" y="6"/>
                    <a:pt x="137" y="11"/>
                    <a:pt x="136" y="17"/>
                  </a:cubicBezTo>
                  <a:cubicBezTo>
                    <a:pt x="133" y="16"/>
                    <a:pt x="131" y="16"/>
                    <a:pt x="128" y="16"/>
                  </a:cubicBezTo>
                  <a:cubicBezTo>
                    <a:pt x="128" y="11"/>
                    <a:pt x="127" y="5"/>
                    <a:pt x="127" y="3"/>
                  </a:cubicBezTo>
                  <a:cubicBezTo>
                    <a:pt x="127" y="2"/>
                    <a:pt x="126" y="1"/>
                    <a:pt x="126" y="1"/>
                  </a:cubicBezTo>
                  <a:cubicBezTo>
                    <a:pt x="125" y="0"/>
                    <a:pt x="124" y="0"/>
                    <a:pt x="123" y="0"/>
                  </a:cubicBezTo>
                  <a:cubicBezTo>
                    <a:pt x="122" y="0"/>
                    <a:pt x="121" y="0"/>
                    <a:pt x="120" y="1"/>
                  </a:cubicBezTo>
                  <a:cubicBezTo>
                    <a:pt x="119" y="1"/>
                    <a:pt x="119" y="2"/>
                    <a:pt x="119" y="3"/>
                  </a:cubicBezTo>
                  <a:cubicBezTo>
                    <a:pt x="118" y="5"/>
                    <a:pt x="118" y="11"/>
                    <a:pt x="117" y="16"/>
                  </a:cubicBezTo>
                  <a:cubicBezTo>
                    <a:pt x="115" y="16"/>
                    <a:pt x="112" y="16"/>
                    <a:pt x="110" y="17"/>
                  </a:cubicBezTo>
                  <a:cubicBezTo>
                    <a:pt x="108" y="11"/>
                    <a:pt x="107" y="6"/>
                    <a:pt x="106" y="4"/>
                  </a:cubicBezTo>
                  <a:cubicBezTo>
                    <a:pt x="106" y="3"/>
                    <a:pt x="105" y="3"/>
                    <a:pt x="104" y="2"/>
                  </a:cubicBezTo>
                  <a:cubicBezTo>
                    <a:pt x="104" y="2"/>
                    <a:pt x="103" y="1"/>
                    <a:pt x="101" y="2"/>
                  </a:cubicBezTo>
                  <a:cubicBezTo>
                    <a:pt x="100" y="2"/>
                    <a:pt x="100" y="2"/>
                    <a:pt x="99" y="3"/>
                  </a:cubicBezTo>
                  <a:cubicBezTo>
                    <a:pt x="98" y="4"/>
                    <a:pt x="98" y="5"/>
                    <a:pt x="98" y="6"/>
                  </a:cubicBezTo>
                  <a:cubicBezTo>
                    <a:pt x="98" y="7"/>
                    <a:pt x="99" y="13"/>
                    <a:pt x="99" y="18"/>
                  </a:cubicBezTo>
                  <a:cubicBezTo>
                    <a:pt x="96" y="19"/>
                    <a:pt x="94" y="20"/>
                    <a:pt x="91" y="20"/>
                  </a:cubicBezTo>
                  <a:cubicBezTo>
                    <a:pt x="89" y="16"/>
                    <a:pt x="87" y="10"/>
                    <a:pt x="86" y="9"/>
                  </a:cubicBezTo>
                  <a:cubicBezTo>
                    <a:pt x="86" y="8"/>
                    <a:pt x="85" y="7"/>
                    <a:pt x="84" y="7"/>
                  </a:cubicBezTo>
                  <a:cubicBezTo>
                    <a:pt x="83" y="7"/>
                    <a:pt x="82" y="7"/>
                    <a:pt x="81" y="7"/>
                  </a:cubicBezTo>
                  <a:cubicBezTo>
                    <a:pt x="80" y="7"/>
                    <a:pt x="79" y="8"/>
                    <a:pt x="79" y="9"/>
                  </a:cubicBezTo>
                  <a:cubicBezTo>
                    <a:pt x="78" y="10"/>
                    <a:pt x="78" y="11"/>
                    <a:pt x="78" y="12"/>
                  </a:cubicBezTo>
                  <a:cubicBezTo>
                    <a:pt x="78" y="13"/>
                    <a:pt x="80" y="19"/>
                    <a:pt x="81" y="24"/>
                  </a:cubicBezTo>
                  <a:cubicBezTo>
                    <a:pt x="79" y="25"/>
                    <a:pt x="76" y="26"/>
                    <a:pt x="74" y="27"/>
                  </a:cubicBezTo>
                  <a:cubicBezTo>
                    <a:pt x="71" y="23"/>
                    <a:pt x="68" y="18"/>
                    <a:pt x="67" y="17"/>
                  </a:cubicBezTo>
                  <a:cubicBezTo>
                    <a:pt x="66" y="16"/>
                    <a:pt x="65" y="16"/>
                    <a:pt x="64" y="16"/>
                  </a:cubicBezTo>
                  <a:cubicBezTo>
                    <a:pt x="63" y="15"/>
                    <a:pt x="62" y="16"/>
                    <a:pt x="61" y="16"/>
                  </a:cubicBezTo>
                  <a:cubicBezTo>
                    <a:pt x="60" y="17"/>
                    <a:pt x="60" y="18"/>
                    <a:pt x="59" y="19"/>
                  </a:cubicBezTo>
                  <a:cubicBezTo>
                    <a:pt x="59" y="19"/>
                    <a:pt x="59" y="21"/>
                    <a:pt x="60" y="22"/>
                  </a:cubicBezTo>
                  <a:cubicBezTo>
                    <a:pt x="60" y="23"/>
                    <a:pt x="63" y="28"/>
                    <a:pt x="65" y="33"/>
                  </a:cubicBezTo>
                  <a:cubicBezTo>
                    <a:pt x="63" y="34"/>
                    <a:pt x="60" y="36"/>
                    <a:pt x="58" y="37"/>
                  </a:cubicBezTo>
                  <a:cubicBezTo>
                    <a:pt x="55" y="34"/>
                    <a:pt x="50" y="29"/>
                    <a:pt x="49" y="29"/>
                  </a:cubicBezTo>
                  <a:cubicBezTo>
                    <a:pt x="49" y="28"/>
                    <a:pt x="48" y="27"/>
                    <a:pt x="47" y="27"/>
                  </a:cubicBezTo>
                  <a:cubicBezTo>
                    <a:pt x="46" y="27"/>
                    <a:pt x="45" y="28"/>
                    <a:pt x="44" y="28"/>
                  </a:cubicBezTo>
                  <a:cubicBezTo>
                    <a:pt x="43" y="29"/>
                    <a:pt x="42" y="30"/>
                    <a:pt x="42" y="31"/>
                  </a:cubicBezTo>
                  <a:cubicBezTo>
                    <a:pt x="42" y="32"/>
                    <a:pt x="42" y="33"/>
                    <a:pt x="43" y="34"/>
                  </a:cubicBezTo>
                  <a:cubicBezTo>
                    <a:pt x="44" y="35"/>
                    <a:pt x="47" y="40"/>
                    <a:pt x="50" y="44"/>
                  </a:cubicBezTo>
                  <a:cubicBezTo>
                    <a:pt x="48" y="46"/>
                    <a:pt x="46" y="48"/>
                    <a:pt x="45" y="50"/>
                  </a:cubicBezTo>
                  <a:cubicBezTo>
                    <a:pt x="40" y="47"/>
                    <a:pt x="35" y="43"/>
                    <a:pt x="34" y="43"/>
                  </a:cubicBezTo>
                  <a:cubicBezTo>
                    <a:pt x="33" y="42"/>
                    <a:pt x="32" y="42"/>
                    <a:pt x="31" y="42"/>
                  </a:cubicBezTo>
                  <a:cubicBezTo>
                    <a:pt x="30" y="42"/>
                    <a:pt x="29" y="43"/>
                    <a:pt x="29" y="44"/>
                  </a:cubicBezTo>
                  <a:cubicBezTo>
                    <a:pt x="28" y="44"/>
                    <a:pt x="28" y="46"/>
                    <a:pt x="28" y="47"/>
                  </a:cubicBezTo>
                  <a:cubicBezTo>
                    <a:pt x="28" y="48"/>
                    <a:pt x="28" y="49"/>
                    <a:pt x="29" y="49"/>
                  </a:cubicBezTo>
                  <a:cubicBezTo>
                    <a:pt x="30" y="50"/>
                    <a:pt x="34" y="54"/>
                    <a:pt x="37" y="58"/>
                  </a:cubicBezTo>
                  <a:cubicBezTo>
                    <a:pt x="36" y="60"/>
                    <a:pt x="34" y="62"/>
                    <a:pt x="33" y="65"/>
                  </a:cubicBezTo>
                  <a:cubicBezTo>
                    <a:pt x="28" y="62"/>
                    <a:pt x="23" y="60"/>
                    <a:pt x="22" y="59"/>
                  </a:cubicBezTo>
                  <a:cubicBezTo>
                    <a:pt x="21" y="59"/>
                    <a:pt x="20" y="59"/>
                    <a:pt x="19" y="59"/>
                  </a:cubicBezTo>
                  <a:cubicBezTo>
                    <a:pt x="18" y="60"/>
                    <a:pt x="17" y="60"/>
                    <a:pt x="16" y="61"/>
                  </a:cubicBezTo>
                  <a:cubicBezTo>
                    <a:pt x="16" y="62"/>
                    <a:pt x="16" y="63"/>
                    <a:pt x="16" y="64"/>
                  </a:cubicBezTo>
                  <a:cubicBezTo>
                    <a:pt x="16" y="65"/>
                    <a:pt x="17" y="66"/>
                    <a:pt x="17" y="67"/>
                  </a:cubicBezTo>
                  <a:cubicBezTo>
                    <a:pt x="18" y="67"/>
                    <a:pt x="23" y="71"/>
                    <a:pt x="28" y="74"/>
                  </a:cubicBezTo>
                  <a:cubicBezTo>
                    <a:pt x="26" y="76"/>
                    <a:pt x="25" y="79"/>
                    <a:pt x="24" y="81"/>
                  </a:cubicBezTo>
                  <a:cubicBezTo>
                    <a:pt x="19" y="80"/>
                    <a:pt x="13" y="78"/>
                    <a:pt x="12" y="78"/>
                  </a:cubicBezTo>
                  <a:cubicBezTo>
                    <a:pt x="11" y="78"/>
                    <a:pt x="10" y="78"/>
                    <a:pt x="9" y="78"/>
                  </a:cubicBezTo>
                  <a:cubicBezTo>
                    <a:pt x="8" y="79"/>
                    <a:pt x="8" y="80"/>
                    <a:pt x="7" y="81"/>
                  </a:cubicBezTo>
                  <a:cubicBezTo>
                    <a:pt x="7" y="82"/>
                    <a:pt x="7" y="83"/>
                    <a:pt x="7" y="84"/>
                  </a:cubicBezTo>
                  <a:cubicBezTo>
                    <a:pt x="8" y="85"/>
                    <a:pt x="8" y="86"/>
                    <a:pt x="9" y="86"/>
                  </a:cubicBezTo>
                  <a:cubicBezTo>
                    <a:pt x="10" y="87"/>
                    <a:pt x="16" y="89"/>
                    <a:pt x="21" y="91"/>
                  </a:cubicBezTo>
                  <a:cubicBezTo>
                    <a:pt x="20" y="94"/>
                    <a:pt x="19" y="96"/>
                    <a:pt x="19" y="99"/>
                  </a:cubicBezTo>
                  <a:cubicBezTo>
                    <a:pt x="13" y="98"/>
                    <a:pt x="7" y="98"/>
                    <a:pt x="6" y="98"/>
                  </a:cubicBezTo>
                  <a:cubicBezTo>
                    <a:pt x="5" y="98"/>
                    <a:pt x="4" y="98"/>
                    <a:pt x="3" y="99"/>
                  </a:cubicBezTo>
                  <a:cubicBezTo>
                    <a:pt x="2" y="99"/>
                    <a:pt x="2" y="100"/>
                    <a:pt x="2" y="101"/>
                  </a:cubicBezTo>
                  <a:cubicBezTo>
                    <a:pt x="2" y="103"/>
                    <a:pt x="2" y="104"/>
                    <a:pt x="2" y="104"/>
                  </a:cubicBezTo>
                  <a:cubicBezTo>
                    <a:pt x="3" y="105"/>
                    <a:pt x="4" y="106"/>
                    <a:pt x="5" y="106"/>
                  </a:cubicBezTo>
                  <a:cubicBezTo>
                    <a:pt x="6" y="107"/>
                    <a:pt x="12" y="108"/>
                    <a:pt x="17" y="110"/>
                  </a:cubicBezTo>
                  <a:cubicBezTo>
                    <a:pt x="16" y="112"/>
                    <a:pt x="16" y="115"/>
                    <a:pt x="16" y="117"/>
                  </a:cubicBezTo>
                  <a:cubicBezTo>
                    <a:pt x="11" y="118"/>
                    <a:pt x="5" y="118"/>
                    <a:pt x="4" y="119"/>
                  </a:cubicBezTo>
                  <a:cubicBezTo>
                    <a:pt x="2" y="119"/>
                    <a:pt x="2" y="119"/>
                    <a:pt x="1" y="120"/>
                  </a:cubicBezTo>
                  <a:cubicBezTo>
                    <a:pt x="0" y="121"/>
                    <a:pt x="0" y="122"/>
                    <a:pt x="0" y="123"/>
                  </a:cubicBezTo>
                  <a:cubicBezTo>
                    <a:pt x="0" y="124"/>
                    <a:pt x="0" y="125"/>
                    <a:pt x="1" y="126"/>
                  </a:cubicBezTo>
                  <a:cubicBezTo>
                    <a:pt x="2" y="126"/>
                    <a:pt x="2" y="127"/>
                    <a:pt x="4" y="127"/>
                  </a:cubicBezTo>
                  <a:cubicBezTo>
                    <a:pt x="5" y="127"/>
                    <a:pt x="11" y="128"/>
                    <a:pt x="16" y="128"/>
                  </a:cubicBezTo>
                  <a:cubicBezTo>
                    <a:pt x="16" y="131"/>
                    <a:pt x="16" y="134"/>
                    <a:pt x="17" y="136"/>
                  </a:cubicBezTo>
                  <a:cubicBezTo>
                    <a:pt x="12" y="138"/>
                    <a:pt x="6" y="139"/>
                    <a:pt x="5" y="139"/>
                  </a:cubicBezTo>
                  <a:cubicBezTo>
                    <a:pt x="4" y="140"/>
                    <a:pt x="3" y="140"/>
                    <a:pt x="2" y="141"/>
                  </a:cubicBezTo>
                  <a:cubicBezTo>
                    <a:pt x="2" y="142"/>
                    <a:pt x="2" y="143"/>
                    <a:pt x="2" y="144"/>
                  </a:cubicBezTo>
                  <a:cubicBezTo>
                    <a:pt x="2" y="145"/>
                    <a:pt x="2" y="146"/>
                    <a:pt x="3" y="147"/>
                  </a:cubicBezTo>
                  <a:cubicBezTo>
                    <a:pt x="4" y="147"/>
                    <a:pt x="5" y="148"/>
                    <a:pt x="6" y="148"/>
                  </a:cubicBezTo>
                  <a:cubicBezTo>
                    <a:pt x="7" y="148"/>
                    <a:pt x="13" y="147"/>
                    <a:pt x="19" y="147"/>
                  </a:cubicBezTo>
                  <a:cubicBezTo>
                    <a:pt x="19" y="149"/>
                    <a:pt x="20" y="152"/>
                    <a:pt x="21" y="154"/>
                  </a:cubicBezTo>
                  <a:cubicBezTo>
                    <a:pt x="16" y="157"/>
                    <a:pt x="10" y="159"/>
                    <a:pt x="9" y="160"/>
                  </a:cubicBezTo>
                  <a:cubicBezTo>
                    <a:pt x="8" y="160"/>
                    <a:pt x="8" y="161"/>
                    <a:pt x="7" y="162"/>
                  </a:cubicBezTo>
                  <a:cubicBezTo>
                    <a:pt x="7" y="163"/>
                    <a:pt x="7" y="164"/>
                    <a:pt x="7" y="165"/>
                  </a:cubicBezTo>
                  <a:cubicBezTo>
                    <a:pt x="8" y="166"/>
                    <a:pt x="8" y="167"/>
                    <a:pt x="9" y="167"/>
                  </a:cubicBezTo>
                  <a:cubicBezTo>
                    <a:pt x="10" y="168"/>
                    <a:pt x="11" y="168"/>
                    <a:pt x="12" y="168"/>
                  </a:cubicBezTo>
                  <a:cubicBezTo>
                    <a:pt x="13" y="167"/>
                    <a:pt x="19" y="166"/>
                    <a:pt x="24" y="165"/>
                  </a:cubicBezTo>
                  <a:cubicBezTo>
                    <a:pt x="25" y="167"/>
                    <a:pt x="26" y="169"/>
                    <a:pt x="28" y="172"/>
                  </a:cubicBezTo>
                  <a:cubicBezTo>
                    <a:pt x="23" y="175"/>
                    <a:pt x="18" y="178"/>
                    <a:pt x="17" y="179"/>
                  </a:cubicBezTo>
                  <a:cubicBezTo>
                    <a:pt x="17" y="180"/>
                    <a:pt x="16" y="180"/>
                    <a:pt x="16" y="181"/>
                  </a:cubicBezTo>
                  <a:cubicBezTo>
                    <a:pt x="16" y="182"/>
                    <a:pt x="16" y="184"/>
                    <a:pt x="16" y="184"/>
                  </a:cubicBezTo>
                  <a:cubicBezTo>
                    <a:pt x="17" y="185"/>
                    <a:pt x="18" y="186"/>
                    <a:pt x="19" y="186"/>
                  </a:cubicBezTo>
                  <a:cubicBezTo>
                    <a:pt x="20" y="187"/>
                    <a:pt x="21" y="187"/>
                    <a:pt x="22" y="186"/>
                  </a:cubicBezTo>
                  <a:cubicBezTo>
                    <a:pt x="23" y="186"/>
                    <a:pt x="28" y="183"/>
                    <a:pt x="33" y="181"/>
                  </a:cubicBezTo>
                  <a:cubicBezTo>
                    <a:pt x="34" y="183"/>
                    <a:pt x="36" y="185"/>
                    <a:pt x="37" y="187"/>
                  </a:cubicBezTo>
                  <a:cubicBezTo>
                    <a:pt x="34" y="191"/>
                    <a:pt x="30" y="196"/>
                    <a:pt x="29" y="196"/>
                  </a:cubicBezTo>
                  <a:cubicBezTo>
                    <a:pt x="28" y="197"/>
                    <a:pt x="28" y="198"/>
                    <a:pt x="28" y="199"/>
                  </a:cubicBezTo>
                  <a:cubicBezTo>
                    <a:pt x="28" y="200"/>
                    <a:pt x="28" y="201"/>
                    <a:pt x="29" y="202"/>
                  </a:cubicBezTo>
                  <a:cubicBezTo>
                    <a:pt x="29" y="203"/>
                    <a:pt x="30" y="203"/>
                    <a:pt x="31" y="204"/>
                  </a:cubicBezTo>
                  <a:cubicBezTo>
                    <a:pt x="32" y="204"/>
                    <a:pt x="33" y="204"/>
                    <a:pt x="34" y="203"/>
                  </a:cubicBezTo>
                  <a:cubicBezTo>
                    <a:pt x="35" y="202"/>
                    <a:pt x="40" y="199"/>
                    <a:pt x="45" y="196"/>
                  </a:cubicBezTo>
                  <a:cubicBezTo>
                    <a:pt x="46" y="198"/>
                    <a:pt x="48" y="200"/>
                    <a:pt x="50" y="201"/>
                  </a:cubicBezTo>
                  <a:cubicBezTo>
                    <a:pt x="47" y="206"/>
                    <a:pt x="44" y="211"/>
                    <a:pt x="43" y="212"/>
                  </a:cubicBezTo>
                  <a:cubicBezTo>
                    <a:pt x="42" y="213"/>
                    <a:pt x="42" y="214"/>
                    <a:pt x="42" y="215"/>
                  </a:cubicBezTo>
                  <a:cubicBezTo>
                    <a:pt x="42" y="216"/>
                    <a:pt x="43" y="217"/>
                    <a:pt x="44" y="217"/>
                  </a:cubicBezTo>
                  <a:cubicBezTo>
                    <a:pt x="45" y="218"/>
                    <a:pt x="46" y="218"/>
                    <a:pt x="47" y="218"/>
                  </a:cubicBezTo>
                  <a:cubicBezTo>
                    <a:pt x="48" y="218"/>
                    <a:pt x="49" y="218"/>
                    <a:pt x="49" y="217"/>
                  </a:cubicBezTo>
                  <a:cubicBezTo>
                    <a:pt x="50" y="216"/>
                    <a:pt x="55" y="212"/>
                    <a:pt x="58" y="208"/>
                  </a:cubicBezTo>
                  <a:cubicBezTo>
                    <a:pt x="60" y="210"/>
                    <a:pt x="63" y="211"/>
                    <a:pt x="65" y="213"/>
                  </a:cubicBezTo>
                  <a:cubicBezTo>
                    <a:pt x="63" y="218"/>
                    <a:pt x="60" y="223"/>
                    <a:pt x="60" y="224"/>
                  </a:cubicBezTo>
                  <a:cubicBezTo>
                    <a:pt x="59" y="225"/>
                    <a:pt x="59" y="226"/>
                    <a:pt x="59" y="227"/>
                  </a:cubicBezTo>
                  <a:cubicBezTo>
                    <a:pt x="60" y="228"/>
                    <a:pt x="60" y="229"/>
                    <a:pt x="61" y="229"/>
                  </a:cubicBezTo>
                  <a:cubicBezTo>
                    <a:pt x="62" y="230"/>
                    <a:pt x="63" y="230"/>
                    <a:pt x="64" y="230"/>
                  </a:cubicBezTo>
                  <a:cubicBezTo>
                    <a:pt x="65" y="230"/>
                    <a:pt x="66" y="229"/>
                    <a:pt x="67" y="228"/>
                  </a:cubicBezTo>
                  <a:cubicBezTo>
                    <a:pt x="68" y="227"/>
                    <a:pt x="71" y="223"/>
                    <a:pt x="74" y="218"/>
                  </a:cubicBezTo>
                  <a:cubicBezTo>
                    <a:pt x="76" y="219"/>
                    <a:pt x="79" y="221"/>
                    <a:pt x="81" y="222"/>
                  </a:cubicBezTo>
                  <a:cubicBezTo>
                    <a:pt x="80" y="227"/>
                    <a:pt x="78" y="233"/>
                    <a:pt x="78" y="234"/>
                  </a:cubicBezTo>
                  <a:cubicBezTo>
                    <a:pt x="78" y="235"/>
                    <a:pt x="78" y="236"/>
                    <a:pt x="79" y="237"/>
                  </a:cubicBezTo>
                  <a:cubicBezTo>
                    <a:pt x="79" y="237"/>
                    <a:pt x="80" y="238"/>
                    <a:pt x="81" y="239"/>
                  </a:cubicBezTo>
                  <a:cubicBezTo>
                    <a:pt x="82" y="239"/>
                    <a:pt x="83" y="239"/>
                    <a:pt x="84" y="239"/>
                  </a:cubicBezTo>
                  <a:cubicBezTo>
                    <a:pt x="85" y="238"/>
                    <a:pt x="86" y="238"/>
                    <a:pt x="86" y="237"/>
                  </a:cubicBezTo>
                  <a:cubicBezTo>
                    <a:pt x="87" y="236"/>
                    <a:pt x="89" y="230"/>
                    <a:pt x="91" y="225"/>
                  </a:cubicBezTo>
                  <a:cubicBezTo>
                    <a:pt x="94" y="226"/>
                    <a:pt x="96" y="227"/>
                    <a:pt x="99" y="227"/>
                  </a:cubicBezTo>
                  <a:cubicBezTo>
                    <a:pt x="99" y="233"/>
                    <a:pt x="98" y="239"/>
                    <a:pt x="98" y="240"/>
                  </a:cubicBezTo>
                  <a:cubicBezTo>
                    <a:pt x="98" y="241"/>
                    <a:pt x="98" y="242"/>
                    <a:pt x="99" y="243"/>
                  </a:cubicBezTo>
                  <a:cubicBezTo>
                    <a:pt x="100" y="243"/>
                    <a:pt x="100" y="244"/>
                    <a:pt x="101" y="244"/>
                  </a:cubicBezTo>
                  <a:cubicBezTo>
                    <a:pt x="103" y="244"/>
                    <a:pt x="104" y="244"/>
                    <a:pt x="104" y="244"/>
                  </a:cubicBezTo>
                  <a:cubicBezTo>
                    <a:pt x="105" y="243"/>
                    <a:pt x="106" y="242"/>
                    <a:pt x="106" y="241"/>
                  </a:cubicBezTo>
                  <a:cubicBezTo>
                    <a:pt x="107" y="240"/>
                    <a:pt x="108" y="234"/>
                    <a:pt x="110" y="229"/>
                  </a:cubicBezTo>
                  <a:cubicBezTo>
                    <a:pt x="112" y="229"/>
                    <a:pt x="115" y="230"/>
                    <a:pt x="117" y="230"/>
                  </a:cubicBezTo>
                  <a:cubicBezTo>
                    <a:pt x="118" y="235"/>
                    <a:pt x="118" y="241"/>
                    <a:pt x="119" y="242"/>
                  </a:cubicBezTo>
                  <a:cubicBezTo>
                    <a:pt x="119" y="243"/>
                    <a:pt x="119" y="244"/>
                    <a:pt x="120" y="245"/>
                  </a:cubicBezTo>
                  <a:cubicBezTo>
                    <a:pt x="121" y="246"/>
                    <a:pt x="122" y="246"/>
                    <a:pt x="123" y="246"/>
                  </a:cubicBezTo>
                  <a:cubicBezTo>
                    <a:pt x="124" y="246"/>
                    <a:pt x="125" y="246"/>
                    <a:pt x="126" y="245"/>
                  </a:cubicBezTo>
                  <a:cubicBezTo>
                    <a:pt x="126" y="244"/>
                    <a:pt x="127" y="243"/>
                    <a:pt x="127" y="242"/>
                  </a:cubicBezTo>
                  <a:cubicBezTo>
                    <a:pt x="127" y="241"/>
                    <a:pt x="128" y="235"/>
                    <a:pt x="128" y="230"/>
                  </a:cubicBezTo>
                  <a:cubicBezTo>
                    <a:pt x="131" y="230"/>
                    <a:pt x="133" y="229"/>
                    <a:pt x="136" y="229"/>
                  </a:cubicBezTo>
                  <a:cubicBezTo>
                    <a:pt x="137" y="234"/>
                    <a:pt x="139" y="240"/>
                    <a:pt x="139" y="241"/>
                  </a:cubicBezTo>
                  <a:cubicBezTo>
                    <a:pt x="140" y="242"/>
                    <a:pt x="140" y="243"/>
                    <a:pt x="141" y="244"/>
                  </a:cubicBezTo>
                  <a:cubicBezTo>
                    <a:pt x="142" y="244"/>
                    <a:pt x="143" y="244"/>
                    <a:pt x="144" y="244"/>
                  </a:cubicBezTo>
                  <a:cubicBezTo>
                    <a:pt x="145" y="244"/>
                    <a:pt x="146" y="243"/>
                    <a:pt x="147" y="243"/>
                  </a:cubicBezTo>
                  <a:cubicBezTo>
                    <a:pt x="147" y="242"/>
                    <a:pt x="148" y="241"/>
                    <a:pt x="148" y="240"/>
                  </a:cubicBezTo>
                  <a:cubicBezTo>
                    <a:pt x="148" y="239"/>
                    <a:pt x="147" y="233"/>
                    <a:pt x="147" y="227"/>
                  </a:cubicBezTo>
                  <a:cubicBezTo>
                    <a:pt x="149" y="227"/>
                    <a:pt x="152" y="226"/>
                    <a:pt x="154" y="225"/>
                  </a:cubicBezTo>
                  <a:cubicBezTo>
                    <a:pt x="156" y="230"/>
                    <a:pt x="159" y="236"/>
                    <a:pt x="160" y="237"/>
                  </a:cubicBezTo>
                  <a:cubicBezTo>
                    <a:pt x="160" y="238"/>
                    <a:pt x="161" y="238"/>
                    <a:pt x="162" y="239"/>
                  </a:cubicBezTo>
                  <a:cubicBezTo>
                    <a:pt x="163" y="239"/>
                    <a:pt x="164" y="239"/>
                    <a:pt x="165" y="239"/>
                  </a:cubicBezTo>
                  <a:cubicBezTo>
                    <a:pt x="166" y="238"/>
                    <a:pt x="167" y="237"/>
                    <a:pt x="167" y="237"/>
                  </a:cubicBezTo>
                  <a:cubicBezTo>
                    <a:pt x="168" y="236"/>
                    <a:pt x="168" y="235"/>
                    <a:pt x="168" y="234"/>
                  </a:cubicBezTo>
                  <a:cubicBezTo>
                    <a:pt x="167" y="233"/>
                    <a:pt x="166" y="227"/>
                    <a:pt x="164" y="222"/>
                  </a:cubicBezTo>
                  <a:cubicBezTo>
                    <a:pt x="167" y="221"/>
                    <a:pt x="169" y="219"/>
                    <a:pt x="171" y="218"/>
                  </a:cubicBezTo>
                  <a:cubicBezTo>
                    <a:pt x="175" y="223"/>
                    <a:pt x="178" y="227"/>
                    <a:pt x="179" y="228"/>
                  </a:cubicBezTo>
                  <a:cubicBezTo>
                    <a:pt x="179" y="229"/>
                    <a:pt x="180" y="230"/>
                    <a:pt x="181" y="230"/>
                  </a:cubicBezTo>
                  <a:cubicBezTo>
                    <a:pt x="182" y="230"/>
                    <a:pt x="183" y="230"/>
                    <a:pt x="184" y="229"/>
                  </a:cubicBezTo>
                  <a:cubicBezTo>
                    <a:pt x="185" y="229"/>
                    <a:pt x="186" y="228"/>
                    <a:pt x="186" y="227"/>
                  </a:cubicBezTo>
                  <a:cubicBezTo>
                    <a:pt x="187" y="226"/>
                    <a:pt x="187" y="225"/>
                    <a:pt x="186" y="224"/>
                  </a:cubicBezTo>
                  <a:cubicBezTo>
                    <a:pt x="186" y="223"/>
                    <a:pt x="183" y="218"/>
                    <a:pt x="181" y="213"/>
                  </a:cubicBezTo>
                  <a:cubicBezTo>
                    <a:pt x="183" y="211"/>
                    <a:pt x="185" y="210"/>
                    <a:pt x="187" y="208"/>
                  </a:cubicBezTo>
                  <a:cubicBezTo>
                    <a:pt x="191" y="212"/>
                    <a:pt x="195" y="216"/>
                    <a:pt x="196" y="217"/>
                  </a:cubicBezTo>
                  <a:cubicBezTo>
                    <a:pt x="197" y="218"/>
                    <a:pt x="198" y="218"/>
                    <a:pt x="199" y="218"/>
                  </a:cubicBezTo>
                  <a:cubicBezTo>
                    <a:pt x="200" y="218"/>
                    <a:pt x="201" y="218"/>
                    <a:pt x="202" y="217"/>
                  </a:cubicBezTo>
                  <a:cubicBezTo>
                    <a:pt x="203" y="217"/>
                    <a:pt x="203" y="216"/>
                    <a:pt x="203" y="215"/>
                  </a:cubicBezTo>
                  <a:cubicBezTo>
                    <a:pt x="203" y="214"/>
                    <a:pt x="203" y="213"/>
                    <a:pt x="203" y="212"/>
                  </a:cubicBezTo>
                  <a:cubicBezTo>
                    <a:pt x="202" y="211"/>
                    <a:pt x="199" y="206"/>
                    <a:pt x="196" y="201"/>
                  </a:cubicBezTo>
                  <a:cubicBezTo>
                    <a:pt x="198" y="200"/>
                    <a:pt x="199" y="198"/>
                    <a:pt x="201" y="196"/>
                  </a:cubicBezTo>
                  <a:cubicBezTo>
                    <a:pt x="206" y="199"/>
                    <a:pt x="210" y="202"/>
                    <a:pt x="211" y="203"/>
                  </a:cubicBezTo>
                  <a:cubicBezTo>
                    <a:pt x="212" y="204"/>
                    <a:pt x="213" y="204"/>
                    <a:pt x="214" y="204"/>
                  </a:cubicBezTo>
                  <a:cubicBezTo>
                    <a:pt x="215" y="203"/>
                    <a:pt x="216" y="203"/>
                    <a:pt x="217" y="202"/>
                  </a:cubicBezTo>
                  <a:cubicBezTo>
                    <a:pt x="218" y="201"/>
                    <a:pt x="218" y="200"/>
                    <a:pt x="218" y="199"/>
                  </a:cubicBezTo>
                  <a:cubicBezTo>
                    <a:pt x="218" y="198"/>
                    <a:pt x="218" y="197"/>
                    <a:pt x="217" y="196"/>
                  </a:cubicBezTo>
                  <a:cubicBezTo>
                    <a:pt x="216" y="196"/>
                    <a:pt x="212" y="191"/>
                    <a:pt x="208" y="187"/>
                  </a:cubicBezTo>
                  <a:cubicBezTo>
                    <a:pt x="210" y="185"/>
                    <a:pt x="211" y="183"/>
                    <a:pt x="213" y="181"/>
                  </a:cubicBezTo>
                  <a:cubicBezTo>
                    <a:pt x="217" y="183"/>
                    <a:pt x="223" y="186"/>
                    <a:pt x="224" y="186"/>
                  </a:cubicBezTo>
                  <a:cubicBezTo>
                    <a:pt x="225" y="187"/>
                    <a:pt x="226" y="187"/>
                    <a:pt x="227" y="186"/>
                  </a:cubicBezTo>
                  <a:cubicBezTo>
                    <a:pt x="228" y="186"/>
                    <a:pt x="229" y="185"/>
                    <a:pt x="229" y="184"/>
                  </a:cubicBezTo>
                  <a:cubicBezTo>
                    <a:pt x="230" y="184"/>
                    <a:pt x="230" y="182"/>
                    <a:pt x="230" y="181"/>
                  </a:cubicBezTo>
                  <a:cubicBezTo>
                    <a:pt x="230" y="180"/>
                    <a:pt x="229" y="180"/>
                    <a:pt x="228" y="179"/>
                  </a:cubicBezTo>
                  <a:cubicBezTo>
                    <a:pt x="227" y="178"/>
                    <a:pt x="222" y="175"/>
                    <a:pt x="218" y="172"/>
                  </a:cubicBezTo>
                  <a:cubicBezTo>
                    <a:pt x="219" y="169"/>
                    <a:pt x="220" y="167"/>
                    <a:pt x="221" y="165"/>
                  </a:cubicBezTo>
                  <a:cubicBezTo>
                    <a:pt x="226" y="166"/>
                    <a:pt x="232" y="167"/>
                    <a:pt x="233" y="168"/>
                  </a:cubicBezTo>
                  <a:cubicBezTo>
                    <a:pt x="234" y="168"/>
                    <a:pt x="235" y="168"/>
                    <a:pt x="236" y="167"/>
                  </a:cubicBezTo>
                  <a:cubicBezTo>
                    <a:pt x="237" y="167"/>
                    <a:pt x="238" y="166"/>
                    <a:pt x="238" y="165"/>
                  </a:cubicBezTo>
                  <a:cubicBezTo>
                    <a:pt x="239" y="164"/>
                    <a:pt x="239" y="163"/>
                    <a:pt x="238" y="162"/>
                  </a:cubicBezTo>
                  <a:cubicBezTo>
                    <a:pt x="238" y="161"/>
                    <a:pt x="237" y="160"/>
                    <a:pt x="236" y="160"/>
                  </a:cubicBezTo>
                  <a:cubicBezTo>
                    <a:pt x="235" y="159"/>
                    <a:pt x="230" y="157"/>
                    <a:pt x="225" y="154"/>
                  </a:cubicBezTo>
                  <a:cubicBezTo>
                    <a:pt x="226" y="152"/>
                    <a:pt x="226" y="149"/>
                    <a:pt x="227" y="147"/>
                  </a:cubicBezTo>
                  <a:cubicBezTo>
                    <a:pt x="232" y="147"/>
                    <a:pt x="238" y="148"/>
                    <a:pt x="239" y="148"/>
                  </a:cubicBezTo>
                  <a:cubicBezTo>
                    <a:pt x="241" y="148"/>
                    <a:pt x="242" y="147"/>
                    <a:pt x="242" y="147"/>
                  </a:cubicBezTo>
                  <a:cubicBezTo>
                    <a:pt x="243" y="146"/>
                    <a:pt x="244" y="145"/>
                    <a:pt x="244" y="144"/>
                  </a:cubicBezTo>
                  <a:cubicBezTo>
                    <a:pt x="244" y="143"/>
                    <a:pt x="244" y="142"/>
                    <a:pt x="243" y="141"/>
                  </a:cubicBezTo>
                  <a:cubicBezTo>
                    <a:pt x="243" y="140"/>
                    <a:pt x="242" y="140"/>
                    <a:pt x="241" y="139"/>
                  </a:cubicBezTo>
                  <a:cubicBezTo>
                    <a:pt x="240" y="139"/>
                    <a:pt x="234" y="138"/>
                    <a:pt x="229" y="136"/>
                  </a:cubicBezTo>
                  <a:cubicBezTo>
                    <a:pt x="229" y="134"/>
                    <a:pt x="229" y="131"/>
                    <a:pt x="230" y="128"/>
                  </a:cubicBezTo>
                  <a:cubicBezTo>
                    <a:pt x="235" y="128"/>
                    <a:pt x="241" y="127"/>
                    <a:pt x="242" y="127"/>
                  </a:cubicBezTo>
                  <a:close/>
                  <a:moveTo>
                    <a:pt x="123" y="209"/>
                  </a:moveTo>
                  <a:cubicBezTo>
                    <a:pt x="75" y="209"/>
                    <a:pt x="36" y="171"/>
                    <a:pt x="36" y="123"/>
                  </a:cubicBezTo>
                  <a:cubicBezTo>
                    <a:pt x="36" y="75"/>
                    <a:pt x="75" y="36"/>
                    <a:pt x="123" y="36"/>
                  </a:cubicBezTo>
                  <a:cubicBezTo>
                    <a:pt x="171" y="36"/>
                    <a:pt x="209" y="75"/>
                    <a:pt x="209" y="123"/>
                  </a:cubicBezTo>
                  <a:cubicBezTo>
                    <a:pt x="209" y="171"/>
                    <a:pt x="171" y="209"/>
                    <a:pt x="123" y="20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8" name="Freeform 752">
              <a:extLst>
                <a:ext uri="{FF2B5EF4-FFF2-40B4-BE49-F238E27FC236}">
                  <a16:creationId xmlns:a16="http://schemas.microsoft.com/office/drawing/2014/main" id="{B02D88D8-1228-4F97-9E5F-23E9069CC502}"/>
                </a:ext>
              </a:extLst>
            </p:cNvPr>
            <p:cNvSpPr>
              <a:spLocks noEditPoints="1"/>
            </p:cNvSpPr>
            <p:nvPr/>
          </p:nvSpPr>
          <p:spPr bwMode="auto">
            <a:xfrm>
              <a:off x="1672532" y="2835603"/>
              <a:ext cx="286848" cy="283778"/>
            </a:xfrm>
            <a:custGeom>
              <a:avLst/>
              <a:gdLst>
                <a:gd name="T0" fmla="*/ 274 w 281"/>
                <a:gd name="T1" fmla="*/ 257 h 279"/>
                <a:gd name="T2" fmla="*/ 228 w 281"/>
                <a:gd name="T3" fmla="*/ 246 h 279"/>
                <a:gd name="T4" fmla="*/ 204 w 281"/>
                <a:gd name="T5" fmla="*/ 242 h 279"/>
                <a:gd name="T6" fmla="*/ 187 w 281"/>
                <a:gd name="T7" fmla="*/ 194 h 279"/>
                <a:gd name="T8" fmla="*/ 217 w 281"/>
                <a:gd name="T9" fmla="*/ 126 h 279"/>
                <a:gd name="T10" fmla="*/ 209 w 281"/>
                <a:gd name="T11" fmla="*/ 28 h 279"/>
                <a:gd name="T12" fmla="*/ 141 w 281"/>
                <a:gd name="T13" fmla="*/ 0 h 279"/>
                <a:gd name="T14" fmla="*/ 72 w 281"/>
                <a:gd name="T15" fmla="*/ 28 h 279"/>
                <a:gd name="T16" fmla="*/ 65 w 281"/>
                <a:gd name="T17" fmla="*/ 126 h 279"/>
                <a:gd name="T18" fmla="*/ 94 w 281"/>
                <a:gd name="T19" fmla="*/ 193 h 279"/>
                <a:gd name="T20" fmla="*/ 77 w 281"/>
                <a:gd name="T21" fmla="*/ 242 h 279"/>
                <a:gd name="T22" fmla="*/ 53 w 281"/>
                <a:gd name="T23" fmla="*/ 246 h 279"/>
                <a:gd name="T24" fmla="*/ 7 w 281"/>
                <a:gd name="T25" fmla="*/ 257 h 279"/>
                <a:gd name="T26" fmla="*/ 3 w 281"/>
                <a:gd name="T27" fmla="*/ 272 h 279"/>
                <a:gd name="T28" fmla="*/ 18 w 281"/>
                <a:gd name="T29" fmla="*/ 276 h 279"/>
                <a:gd name="T30" fmla="*/ 56 w 281"/>
                <a:gd name="T31" fmla="*/ 267 h 279"/>
                <a:gd name="T32" fmla="*/ 87 w 281"/>
                <a:gd name="T33" fmla="*/ 261 h 279"/>
                <a:gd name="T34" fmla="*/ 113 w 281"/>
                <a:gd name="T35" fmla="*/ 219 h 279"/>
                <a:gd name="T36" fmla="*/ 112 w 281"/>
                <a:gd name="T37" fmla="*/ 182 h 279"/>
                <a:gd name="T38" fmla="*/ 85 w 281"/>
                <a:gd name="T39" fmla="*/ 120 h 279"/>
                <a:gd name="T40" fmla="*/ 80 w 281"/>
                <a:gd name="T41" fmla="*/ 63 h 279"/>
                <a:gd name="T42" fmla="*/ 125 w 281"/>
                <a:gd name="T43" fmla="*/ 79 h 279"/>
                <a:gd name="T44" fmla="*/ 155 w 281"/>
                <a:gd name="T45" fmla="*/ 74 h 279"/>
                <a:gd name="T46" fmla="*/ 159 w 281"/>
                <a:gd name="T47" fmla="*/ 71 h 279"/>
                <a:gd name="T48" fmla="*/ 162 w 281"/>
                <a:gd name="T49" fmla="*/ 68 h 279"/>
                <a:gd name="T50" fmla="*/ 165 w 281"/>
                <a:gd name="T51" fmla="*/ 71 h 279"/>
                <a:gd name="T52" fmla="*/ 172 w 281"/>
                <a:gd name="T53" fmla="*/ 74 h 279"/>
                <a:gd name="T54" fmla="*/ 201 w 281"/>
                <a:gd name="T55" fmla="*/ 63 h 279"/>
                <a:gd name="T56" fmla="*/ 196 w 281"/>
                <a:gd name="T57" fmla="*/ 120 h 279"/>
                <a:gd name="T58" fmla="*/ 170 w 281"/>
                <a:gd name="T59" fmla="*/ 182 h 279"/>
                <a:gd name="T60" fmla="*/ 169 w 281"/>
                <a:gd name="T61" fmla="*/ 219 h 279"/>
                <a:gd name="T62" fmla="*/ 194 w 281"/>
                <a:gd name="T63" fmla="*/ 261 h 279"/>
                <a:gd name="T64" fmla="*/ 226 w 281"/>
                <a:gd name="T65" fmla="*/ 267 h 279"/>
                <a:gd name="T66" fmla="*/ 263 w 281"/>
                <a:gd name="T67" fmla="*/ 276 h 279"/>
                <a:gd name="T68" fmla="*/ 269 w 281"/>
                <a:gd name="T69" fmla="*/ 277 h 279"/>
                <a:gd name="T70" fmla="*/ 278 w 281"/>
                <a:gd name="T71" fmla="*/ 272 h 279"/>
                <a:gd name="T72" fmla="*/ 274 w 281"/>
                <a:gd name="T73" fmla="*/ 257 h 279"/>
                <a:gd name="T74" fmla="*/ 177 w 281"/>
                <a:gd name="T75" fmla="*/ 53 h 279"/>
                <a:gd name="T76" fmla="*/ 170 w 281"/>
                <a:gd name="T77" fmla="*/ 45 h 279"/>
                <a:gd name="T78" fmla="*/ 154 w 281"/>
                <a:gd name="T79" fmla="*/ 45 h 279"/>
                <a:gd name="T80" fmla="*/ 146 w 281"/>
                <a:gd name="T81" fmla="*/ 54 h 279"/>
                <a:gd name="T82" fmla="*/ 89 w 281"/>
                <a:gd name="T83" fmla="*/ 41 h 279"/>
                <a:gd name="T84" fmla="*/ 89 w 281"/>
                <a:gd name="T85" fmla="*/ 41 h 279"/>
                <a:gd name="T86" fmla="*/ 141 w 281"/>
                <a:gd name="T87" fmla="*/ 21 h 279"/>
                <a:gd name="T88" fmla="*/ 192 w 281"/>
                <a:gd name="T89" fmla="*/ 41 h 279"/>
                <a:gd name="T90" fmla="*/ 193 w 281"/>
                <a:gd name="T91" fmla="*/ 41 h 279"/>
                <a:gd name="T92" fmla="*/ 177 w 281"/>
                <a:gd name="T93" fmla="*/ 5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 h="279">
                  <a:moveTo>
                    <a:pt x="274" y="257"/>
                  </a:moveTo>
                  <a:cubicBezTo>
                    <a:pt x="260" y="249"/>
                    <a:pt x="243" y="248"/>
                    <a:pt x="228" y="246"/>
                  </a:cubicBezTo>
                  <a:cubicBezTo>
                    <a:pt x="218" y="245"/>
                    <a:pt x="208" y="244"/>
                    <a:pt x="204" y="242"/>
                  </a:cubicBezTo>
                  <a:cubicBezTo>
                    <a:pt x="193" y="236"/>
                    <a:pt x="184" y="201"/>
                    <a:pt x="187" y="194"/>
                  </a:cubicBezTo>
                  <a:cubicBezTo>
                    <a:pt x="200" y="176"/>
                    <a:pt x="212" y="144"/>
                    <a:pt x="217" y="126"/>
                  </a:cubicBezTo>
                  <a:cubicBezTo>
                    <a:pt x="223" y="102"/>
                    <a:pt x="232" y="58"/>
                    <a:pt x="209" y="28"/>
                  </a:cubicBezTo>
                  <a:cubicBezTo>
                    <a:pt x="195" y="9"/>
                    <a:pt x="172" y="0"/>
                    <a:pt x="141" y="0"/>
                  </a:cubicBezTo>
                  <a:cubicBezTo>
                    <a:pt x="109" y="0"/>
                    <a:pt x="86" y="9"/>
                    <a:pt x="72" y="28"/>
                  </a:cubicBezTo>
                  <a:cubicBezTo>
                    <a:pt x="50" y="58"/>
                    <a:pt x="58" y="102"/>
                    <a:pt x="65" y="126"/>
                  </a:cubicBezTo>
                  <a:cubicBezTo>
                    <a:pt x="70" y="144"/>
                    <a:pt x="82" y="176"/>
                    <a:pt x="94" y="193"/>
                  </a:cubicBezTo>
                  <a:cubicBezTo>
                    <a:pt x="97" y="201"/>
                    <a:pt x="88" y="236"/>
                    <a:pt x="77" y="242"/>
                  </a:cubicBezTo>
                  <a:cubicBezTo>
                    <a:pt x="73" y="244"/>
                    <a:pt x="63" y="245"/>
                    <a:pt x="53" y="246"/>
                  </a:cubicBezTo>
                  <a:cubicBezTo>
                    <a:pt x="38" y="248"/>
                    <a:pt x="21" y="249"/>
                    <a:pt x="7" y="257"/>
                  </a:cubicBezTo>
                  <a:cubicBezTo>
                    <a:pt x="2" y="260"/>
                    <a:pt x="0" y="266"/>
                    <a:pt x="3" y="272"/>
                  </a:cubicBezTo>
                  <a:cubicBezTo>
                    <a:pt x="6" y="277"/>
                    <a:pt x="13" y="279"/>
                    <a:pt x="18" y="276"/>
                  </a:cubicBezTo>
                  <a:cubicBezTo>
                    <a:pt x="28" y="270"/>
                    <a:pt x="43" y="269"/>
                    <a:pt x="56" y="267"/>
                  </a:cubicBezTo>
                  <a:cubicBezTo>
                    <a:pt x="68" y="266"/>
                    <a:pt x="79" y="265"/>
                    <a:pt x="87" y="261"/>
                  </a:cubicBezTo>
                  <a:cubicBezTo>
                    <a:pt x="103" y="252"/>
                    <a:pt x="110" y="229"/>
                    <a:pt x="113" y="219"/>
                  </a:cubicBezTo>
                  <a:cubicBezTo>
                    <a:pt x="115" y="210"/>
                    <a:pt x="118" y="192"/>
                    <a:pt x="112" y="182"/>
                  </a:cubicBezTo>
                  <a:cubicBezTo>
                    <a:pt x="101" y="167"/>
                    <a:pt x="90" y="137"/>
                    <a:pt x="85" y="120"/>
                  </a:cubicBezTo>
                  <a:cubicBezTo>
                    <a:pt x="82" y="109"/>
                    <a:pt x="76" y="84"/>
                    <a:pt x="80" y="63"/>
                  </a:cubicBezTo>
                  <a:cubicBezTo>
                    <a:pt x="94" y="75"/>
                    <a:pt x="110" y="79"/>
                    <a:pt x="125" y="79"/>
                  </a:cubicBezTo>
                  <a:cubicBezTo>
                    <a:pt x="137" y="79"/>
                    <a:pt x="148" y="76"/>
                    <a:pt x="155" y="74"/>
                  </a:cubicBezTo>
                  <a:cubicBezTo>
                    <a:pt x="156" y="73"/>
                    <a:pt x="158" y="72"/>
                    <a:pt x="159" y="71"/>
                  </a:cubicBezTo>
                  <a:cubicBezTo>
                    <a:pt x="162" y="68"/>
                    <a:pt x="162" y="68"/>
                    <a:pt x="162" y="68"/>
                  </a:cubicBezTo>
                  <a:cubicBezTo>
                    <a:pt x="165" y="71"/>
                    <a:pt x="165" y="71"/>
                    <a:pt x="165" y="71"/>
                  </a:cubicBezTo>
                  <a:cubicBezTo>
                    <a:pt x="167" y="73"/>
                    <a:pt x="169" y="74"/>
                    <a:pt x="172" y="74"/>
                  </a:cubicBezTo>
                  <a:cubicBezTo>
                    <a:pt x="173" y="74"/>
                    <a:pt x="187" y="75"/>
                    <a:pt x="201" y="63"/>
                  </a:cubicBezTo>
                  <a:cubicBezTo>
                    <a:pt x="205" y="84"/>
                    <a:pt x="199" y="109"/>
                    <a:pt x="196" y="120"/>
                  </a:cubicBezTo>
                  <a:cubicBezTo>
                    <a:pt x="191" y="137"/>
                    <a:pt x="180" y="167"/>
                    <a:pt x="170" y="182"/>
                  </a:cubicBezTo>
                  <a:cubicBezTo>
                    <a:pt x="163" y="192"/>
                    <a:pt x="166" y="210"/>
                    <a:pt x="169" y="219"/>
                  </a:cubicBezTo>
                  <a:cubicBezTo>
                    <a:pt x="171" y="229"/>
                    <a:pt x="178" y="252"/>
                    <a:pt x="194" y="261"/>
                  </a:cubicBezTo>
                  <a:cubicBezTo>
                    <a:pt x="202" y="265"/>
                    <a:pt x="213" y="266"/>
                    <a:pt x="226" y="267"/>
                  </a:cubicBezTo>
                  <a:cubicBezTo>
                    <a:pt x="239" y="269"/>
                    <a:pt x="254" y="270"/>
                    <a:pt x="263" y="276"/>
                  </a:cubicBezTo>
                  <a:cubicBezTo>
                    <a:pt x="265" y="277"/>
                    <a:pt x="267" y="277"/>
                    <a:pt x="269" y="277"/>
                  </a:cubicBezTo>
                  <a:cubicBezTo>
                    <a:pt x="272" y="277"/>
                    <a:pt x="276" y="275"/>
                    <a:pt x="278" y="272"/>
                  </a:cubicBezTo>
                  <a:cubicBezTo>
                    <a:pt x="281" y="266"/>
                    <a:pt x="279" y="260"/>
                    <a:pt x="274" y="257"/>
                  </a:cubicBezTo>
                  <a:close/>
                  <a:moveTo>
                    <a:pt x="177" y="53"/>
                  </a:moveTo>
                  <a:cubicBezTo>
                    <a:pt x="170" y="45"/>
                    <a:pt x="170" y="45"/>
                    <a:pt x="170" y="45"/>
                  </a:cubicBezTo>
                  <a:cubicBezTo>
                    <a:pt x="165" y="41"/>
                    <a:pt x="159" y="41"/>
                    <a:pt x="154" y="45"/>
                  </a:cubicBezTo>
                  <a:cubicBezTo>
                    <a:pt x="146" y="54"/>
                    <a:pt x="146" y="54"/>
                    <a:pt x="146" y="54"/>
                  </a:cubicBezTo>
                  <a:cubicBezTo>
                    <a:pt x="137" y="57"/>
                    <a:pt x="106" y="64"/>
                    <a:pt x="89" y="41"/>
                  </a:cubicBezTo>
                  <a:cubicBezTo>
                    <a:pt x="89" y="41"/>
                    <a:pt x="89" y="41"/>
                    <a:pt x="89" y="41"/>
                  </a:cubicBezTo>
                  <a:cubicBezTo>
                    <a:pt x="99" y="28"/>
                    <a:pt x="116" y="21"/>
                    <a:pt x="141" y="21"/>
                  </a:cubicBezTo>
                  <a:cubicBezTo>
                    <a:pt x="165" y="21"/>
                    <a:pt x="182" y="28"/>
                    <a:pt x="192" y="41"/>
                  </a:cubicBezTo>
                  <a:cubicBezTo>
                    <a:pt x="192" y="41"/>
                    <a:pt x="192" y="41"/>
                    <a:pt x="193" y="41"/>
                  </a:cubicBezTo>
                  <a:cubicBezTo>
                    <a:pt x="187" y="49"/>
                    <a:pt x="180" y="52"/>
                    <a:pt x="17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189" name="Group 188">
            <a:extLst>
              <a:ext uri="{FF2B5EF4-FFF2-40B4-BE49-F238E27FC236}">
                <a16:creationId xmlns:a16="http://schemas.microsoft.com/office/drawing/2014/main" id="{5617C64F-4F61-4F57-B719-A267120AB65D}"/>
              </a:ext>
            </a:extLst>
          </p:cNvPr>
          <p:cNvGrpSpPr/>
          <p:nvPr/>
        </p:nvGrpSpPr>
        <p:grpSpPr>
          <a:xfrm>
            <a:off x="10956755" y="1607287"/>
            <a:ext cx="824009" cy="825319"/>
            <a:chOff x="1740630" y="3345611"/>
            <a:chExt cx="824009" cy="825319"/>
          </a:xfrm>
        </p:grpSpPr>
        <p:sp>
          <p:nvSpPr>
            <p:cNvPr id="190" name="Freeform 9">
              <a:extLst>
                <a:ext uri="{FF2B5EF4-FFF2-40B4-BE49-F238E27FC236}">
                  <a16:creationId xmlns:a16="http://schemas.microsoft.com/office/drawing/2014/main" id="{D06492F1-E201-409C-AC53-98488A0218A1}"/>
                </a:ext>
              </a:extLst>
            </p:cNvPr>
            <p:cNvSpPr>
              <a:spLocks noEditPoints="1"/>
            </p:cNvSpPr>
            <p:nvPr/>
          </p:nvSpPr>
          <p:spPr bwMode="auto">
            <a:xfrm>
              <a:off x="1740630" y="3345611"/>
              <a:ext cx="824009" cy="825319"/>
            </a:xfrm>
            <a:custGeom>
              <a:avLst/>
              <a:gdLst>
                <a:gd name="T0" fmla="*/ 222 w 282"/>
                <a:gd name="T1" fmla="*/ 257 h 283"/>
                <a:gd name="T2" fmla="*/ 222 w 282"/>
                <a:gd name="T3" fmla="*/ 245 h 283"/>
                <a:gd name="T4" fmla="*/ 205 w 282"/>
                <a:gd name="T5" fmla="*/ 209 h 283"/>
                <a:gd name="T6" fmla="*/ 224 w 282"/>
                <a:gd name="T7" fmla="*/ 184 h 283"/>
                <a:gd name="T8" fmla="*/ 263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8 w 282"/>
                <a:gd name="T25" fmla="*/ 79 h 283"/>
                <a:gd name="T26" fmla="*/ 265 w 282"/>
                <a:gd name="T27" fmla="*/ 68 h 283"/>
                <a:gd name="T28" fmla="*/ 256 w 282"/>
                <a:gd name="T29" fmla="*/ 60 h 283"/>
                <a:gd name="T30" fmla="*/ 244 w 282"/>
                <a:gd name="T31" fmla="*/ 60 h 283"/>
                <a:gd name="T32" fmla="*/ 209 w 282"/>
                <a:gd name="T33" fmla="*/ 77 h 283"/>
                <a:gd name="T34" fmla="*/ 184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4 w 282"/>
                <a:gd name="T47" fmla="*/ 48 h 283"/>
                <a:gd name="T48" fmla="*/ 113 w 282"/>
                <a:gd name="T49" fmla="*/ 52 h 283"/>
                <a:gd name="T50" fmla="*/ 90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8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2 h 283"/>
                <a:gd name="T98" fmla="*/ 117 w 282"/>
                <a:gd name="T99" fmla="*/ 280 h 283"/>
                <a:gd name="T100" fmla="*/ 125 w 282"/>
                <a:gd name="T101" fmla="*/ 272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3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2" y="245"/>
                  </a:cubicBezTo>
                  <a:cubicBezTo>
                    <a:pt x="220" y="241"/>
                    <a:pt x="213" y="225"/>
                    <a:pt x="205" y="209"/>
                  </a:cubicBezTo>
                  <a:cubicBezTo>
                    <a:pt x="213" y="202"/>
                    <a:pt x="219" y="193"/>
                    <a:pt x="224" y="184"/>
                  </a:cubicBezTo>
                  <a:cubicBezTo>
                    <a:pt x="242" y="187"/>
                    <a:pt x="259" y="189"/>
                    <a:pt x="263" y="190"/>
                  </a:cubicBezTo>
                  <a:cubicBezTo>
                    <a:pt x="267" y="191"/>
                    <a:pt x="271" y="190"/>
                    <a:pt x="274" y="187"/>
                  </a:cubicBezTo>
                  <a:cubicBezTo>
                    <a:pt x="277" y="185"/>
                    <a:pt x="280" y="182"/>
                    <a:pt x="281" y="177"/>
                  </a:cubicBezTo>
                  <a:cubicBezTo>
                    <a:pt x="282" y="173"/>
                    <a:pt x="282" y="169"/>
                    <a:pt x="280" y="165"/>
                  </a:cubicBezTo>
                  <a:cubicBezTo>
                    <a:pt x="278" y="162"/>
                    <a:pt x="275" y="159"/>
                    <a:pt x="271" y="157"/>
                  </a:cubicBezTo>
                  <a:cubicBezTo>
                    <a:pt x="267" y="156"/>
                    <a:pt x="251" y="150"/>
                    <a:pt x="234" y="144"/>
                  </a:cubicBezTo>
                  <a:cubicBezTo>
                    <a:pt x="234" y="134"/>
                    <a:pt x="233" y="123"/>
                    <a:pt x="230" y="113"/>
                  </a:cubicBezTo>
                  <a:cubicBezTo>
                    <a:pt x="244" y="102"/>
                    <a:pt x="258" y="92"/>
                    <a:pt x="261" y="90"/>
                  </a:cubicBezTo>
                  <a:cubicBezTo>
                    <a:pt x="265" y="87"/>
                    <a:pt x="267" y="83"/>
                    <a:pt x="268" y="79"/>
                  </a:cubicBezTo>
                  <a:cubicBezTo>
                    <a:pt x="268" y="75"/>
                    <a:pt x="268" y="71"/>
                    <a:pt x="265" y="68"/>
                  </a:cubicBezTo>
                  <a:cubicBezTo>
                    <a:pt x="263" y="64"/>
                    <a:pt x="260" y="61"/>
                    <a:pt x="256" y="60"/>
                  </a:cubicBezTo>
                  <a:cubicBezTo>
                    <a:pt x="252" y="59"/>
                    <a:pt x="248" y="59"/>
                    <a:pt x="244" y="60"/>
                  </a:cubicBezTo>
                  <a:cubicBezTo>
                    <a:pt x="241" y="62"/>
                    <a:pt x="225" y="70"/>
                    <a:pt x="209" y="77"/>
                  </a:cubicBezTo>
                  <a:cubicBezTo>
                    <a:pt x="201" y="69"/>
                    <a:pt x="193" y="63"/>
                    <a:pt x="184" y="58"/>
                  </a:cubicBezTo>
                  <a:cubicBezTo>
                    <a:pt x="186" y="40"/>
                    <a:pt x="189" y="23"/>
                    <a:pt x="190" y="19"/>
                  </a:cubicBezTo>
                  <a:cubicBezTo>
                    <a:pt x="190" y="15"/>
                    <a:pt x="189" y="11"/>
                    <a:pt x="187" y="8"/>
                  </a:cubicBezTo>
                  <a:cubicBezTo>
                    <a:pt x="185" y="4"/>
                    <a:pt x="181" y="2"/>
                    <a:pt x="177" y="1"/>
                  </a:cubicBezTo>
                  <a:cubicBezTo>
                    <a:pt x="173" y="0"/>
                    <a:pt x="169" y="0"/>
                    <a:pt x="165" y="2"/>
                  </a:cubicBezTo>
                  <a:cubicBezTo>
                    <a:pt x="162" y="4"/>
                    <a:pt x="158" y="7"/>
                    <a:pt x="157" y="11"/>
                  </a:cubicBezTo>
                  <a:cubicBezTo>
                    <a:pt x="156" y="15"/>
                    <a:pt x="150" y="31"/>
                    <a:pt x="144" y="48"/>
                  </a:cubicBezTo>
                  <a:cubicBezTo>
                    <a:pt x="133" y="48"/>
                    <a:pt x="123" y="49"/>
                    <a:pt x="113" y="52"/>
                  </a:cubicBezTo>
                  <a:cubicBezTo>
                    <a:pt x="102" y="38"/>
                    <a:pt x="92" y="24"/>
                    <a:pt x="90" y="20"/>
                  </a:cubicBezTo>
                  <a:cubicBezTo>
                    <a:pt x="87" y="17"/>
                    <a:pt x="83" y="15"/>
                    <a:pt x="79" y="14"/>
                  </a:cubicBezTo>
                  <a:cubicBezTo>
                    <a:pt x="75" y="14"/>
                    <a:pt x="71" y="14"/>
                    <a:pt x="67" y="16"/>
                  </a:cubicBezTo>
                  <a:cubicBezTo>
                    <a:pt x="64" y="19"/>
                    <a:pt x="61" y="22"/>
                    <a:pt x="60" y="26"/>
                  </a:cubicBezTo>
                  <a:cubicBezTo>
                    <a:pt x="59"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8"/>
                    <a:pt x="2" y="101"/>
                    <a:pt x="1" y="105"/>
                  </a:cubicBezTo>
                  <a:cubicBezTo>
                    <a:pt x="0" y="109"/>
                    <a:pt x="0" y="113"/>
                    <a:pt x="2" y="117"/>
                  </a:cubicBezTo>
                  <a:cubicBezTo>
                    <a:pt x="4" y="121"/>
                    <a:pt x="7" y="124"/>
                    <a:pt x="11" y="125"/>
                  </a:cubicBezTo>
                  <a:cubicBezTo>
                    <a:pt x="15" y="127"/>
                    <a:pt x="31" y="132"/>
                    <a:pt x="48" y="139"/>
                  </a:cubicBezTo>
                  <a:cubicBezTo>
                    <a:pt x="48" y="149"/>
                    <a:pt x="49" y="159"/>
                    <a:pt x="52" y="170"/>
                  </a:cubicBezTo>
                  <a:cubicBezTo>
                    <a:pt x="38" y="180"/>
                    <a:pt x="24" y="190"/>
                    <a:pt x="20" y="193"/>
                  </a:cubicBezTo>
                  <a:cubicBezTo>
                    <a:pt x="17" y="195"/>
                    <a:pt x="15" y="199"/>
                    <a:pt x="14" y="203"/>
                  </a:cubicBezTo>
                  <a:cubicBezTo>
                    <a:pt x="14" y="207"/>
                    <a:pt x="14" y="211"/>
                    <a:pt x="16" y="215"/>
                  </a:cubicBezTo>
                  <a:cubicBezTo>
                    <a:pt x="19" y="219"/>
                    <a:pt x="22" y="221"/>
                    <a:pt x="26" y="222"/>
                  </a:cubicBezTo>
                  <a:cubicBezTo>
                    <a:pt x="30" y="224"/>
                    <a:pt x="34" y="224"/>
                    <a:pt x="38"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2"/>
                  </a:cubicBezTo>
                  <a:cubicBezTo>
                    <a:pt x="109" y="283"/>
                    <a:pt x="113" y="282"/>
                    <a:pt x="117" y="280"/>
                  </a:cubicBezTo>
                  <a:cubicBezTo>
                    <a:pt x="120" y="278"/>
                    <a:pt x="123" y="276"/>
                    <a:pt x="125" y="272"/>
                  </a:cubicBezTo>
                  <a:cubicBezTo>
                    <a:pt x="126" y="268"/>
                    <a:pt x="132" y="251"/>
                    <a:pt x="138" y="234"/>
                  </a:cubicBezTo>
                  <a:cubicBezTo>
                    <a:pt x="149" y="235"/>
                    <a:pt x="159" y="233"/>
                    <a:pt x="169" y="230"/>
                  </a:cubicBezTo>
                  <a:cubicBezTo>
                    <a:pt x="180" y="245"/>
                    <a:pt x="190" y="259"/>
                    <a:pt x="192" y="262"/>
                  </a:cubicBezTo>
                  <a:cubicBezTo>
                    <a:pt x="195" y="265"/>
                    <a:pt x="199" y="267"/>
                    <a:pt x="203" y="268"/>
                  </a:cubicBezTo>
                  <a:cubicBezTo>
                    <a:pt x="207" y="269"/>
                    <a:pt x="211" y="268"/>
                    <a:pt x="214" y="266"/>
                  </a:cubicBezTo>
                  <a:cubicBezTo>
                    <a:pt x="218" y="264"/>
                    <a:pt x="221" y="260"/>
                    <a:pt x="222" y="257"/>
                  </a:cubicBezTo>
                  <a:close/>
                  <a:moveTo>
                    <a:pt x="169" y="189"/>
                  </a:moveTo>
                  <a:cubicBezTo>
                    <a:pt x="143" y="205"/>
                    <a:pt x="109" y="196"/>
                    <a:pt x="93" y="170"/>
                  </a:cubicBezTo>
                  <a:cubicBezTo>
                    <a:pt x="77" y="143"/>
                    <a:pt x="86" y="109"/>
                    <a:pt x="113" y="93"/>
                  </a:cubicBezTo>
                  <a:cubicBezTo>
                    <a:pt x="139" y="78"/>
                    <a:pt x="173" y="86"/>
                    <a:pt x="189" y="113"/>
                  </a:cubicBezTo>
                  <a:cubicBezTo>
                    <a:pt x="204" y="139"/>
                    <a:pt x="196" y="174"/>
                    <a:pt x="169" y="18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1" name="Freeform 585">
              <a:extLst>
                <a:ext uri="{FF2B5EF4-FFF2-40B4-BE49-F238E27FC236}">
                  <a16:creationId xmlns:a16="http://schemas.microsoft.com/office/drawing/2014/main" id="{9AE9ED11-84F7-4A70-8913-2292198DDB29}"/>
                </a:ext>
              </a:extLst>
            </p:cNvPr>
            <p:cNvSpPr>
              <a:spLocks noEditPoints="1"/>
            </p:cNvSpPr>
            <p:nvPr/>
          </p:nvSpPr>
          <p:spPr bwMode="auto">
            <a:xfrm>
              <a:off x="2117054" y="3648228"/>
              <a:ext cx="67547" cy="201689"/>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192" name="Group 191">
            <a:extLst>
              <a:ext uri="{FF2B5EF4-FFF2-40B4-BE49-F238E27FC236}">
                <a16:creationId xmlns:a16="http://schemas.microsoft.com/office/drawing/2014/main" id="{8067B45B-44A8-4285-9949-CBFE2DB9D02A}"/>
              </a:ext>
            </a:extLst>
          </p:cNvPr>
          <p:cNvGrpSpPr/>
          <p:nvPr/>
        </p:nvGrpSpPr>
        <p:grpSpPr>
          <a:xfrm>
            <a:off x="2953438" y="5467841"/>
            <a:ext cx="461131" cy="461131"/>
            <a:chOff x="2602630" y="3636437"/>
            <a:chExt cx="461131" cy="461131"/>
          </a:xfrm>
        </p:grpSpPr>
        <p:sp>
          <p:nvSpPr>
            <p:cNvPr id="193" name="Freeform 22">
              <a:extLst>
                <a:ext uri="{FF2B5EF4-FFF2-40B4-BE49-F238E27FC236}">
                  <a16:creationId xmlns:a16="http://schemas.microsoft.com/office/drawing/2014/main" id="{ADF3FC62-5CE7-4540-932E-85D411FF4FC9}"/>
                </a:ext>
              </a:extLst>
            </p:cNvPr>
            <p:cNvSpPr>
              <a:spLocks noEditPoints="1"/>
            </p:cNvSpPr>
            <p:nvPr/>
          </p:nvSpPr>
          <p:spPr bwMode="auto">
            <a:xfrm>
              <a:off x="2602630" y="3636437"/>
              <a:ext cx="461131" cy="461131"/>
            </a:xfrm>
            <a:custGeom>
              <a:avLst/>
              <a:gdLst>
                <a:gd name="T0" fmla="*/ 152 w 158"/>
                <a:gd name="T1" fmla="*/ 73 h 158"/>
                <a:gd name="T2" fmla="*/ 151 w 158"/>
                <a:gd name="T3" fmla="*/ 66 h 158"/>
                <a:gd name="T4" fmla="*/ 149 w 158"/>
                <a:gd name="T5" fmla="*/ 58 h 158"/>
                <a:gd name="T6" fmla="*/ 146 w 158"/>
                <a:gd name="T7" fmla="*/ 51 h 158"/>
                <a:gd name="T8" fmla="*/ 143 w 158"/>
                <a:gd name="T9" fmla="*/ 44 h 158"/>
                <a:gd name="T10" fmla="*/ 139 w 158"/>
                <a:gd name="T11" fmla="*/ 38 h 158"/>
                <a:gd name="T12" fmla="*/ 135 w 158"/>
                <a:gd name="T13" fmla="*/ 32 h 158"/>
                <a:gd name="T14" fmla="*/ 129 w 158"/>
                <a:gd name="T15" fmla="*/ 26 h 158"/>
                <a:gd name="T16" fmla="*/ 124 w 158"/>
                <a:gd name="T17" fmla="*/ 21 h 158"/>
                <a:gd name="T18" fmla="*/ 117 w 158"/>
                <a:gd name="T19" fmla="*/ 17 h 158"/>
                <a:gd name="T20" fmla="*/ 111 w 158"/>
                <a:gd name="T21" fmla="*/ 13 h 158"/>
                <a:gd name="T22" fmla="*/ 104 w 158"/>
                <a:gd name="T23" fmla="*/ 10 h 158"/>
                <a:gd name="T24" fmla="*/ 96 w 158"/>
                <a:gd name="T25" fmla="*/ 8 h 158"/>
                <a:gd name="T26" fmla="*/ 89 w 158"/>
                <a:gd name="T27" fmla="*/ 7 h 158"/>
                <a:gd name="T28" fmla="*/ 81 w 158"/>
                <a:gd name="T29" fmla="*/ 6 h 158"/>
                <a:gd name="T30" fmla="*/ 74 w 158"/>
                <a:gd name="T31" fmla="*/ 6 h 158"/>
                <a:gd name="T32" fmla="*/ 66 w 158"/>
                <a:gd name="T33" fmla="*/ 7 h 158"/>
                <a:gd name="T34" fmla="*/ 59 w 158"/>
                <a:gd name="T35" fmla="*/ 9 h 158"/>
                <a:gd name="T36" fmla="*/ 52 w 158"/>
                <a:gd name="T37" fmla="*/ 11 h 158"/>
                <a:gd name="T38" fmla="*/ 45 w 158"/>
                <a:gd name="T39" fmla="*/ 15 h 158"/>
                <a:gd name="T40" fmla="*/ 38 w 158"/>
                <a:gd name="T41" fmla="*/ 19 h 158"/>
                <a:gd name="T42" fmla="*/ 32 w 158"/>
                <a:gd name="T43" fmla="*/ 23 h 158"/>
                <a:gd name="T44" fmla="*/ 27 w 158"/>
                <a:gd name="T45" fmla="*/ 28 h 158"/>
                <a:gd name="T46" fmla="*/ 22 w 158"/>
                <a:gd name="T47" fmla="*/ 34 h 158"/>
                <a:gd name="T48" fmla="*/ 17 w 158"/>
                <a:gd name="T49" fmla="*/ 40 h 158"/>
                <a:gd name="T50" fmla="*/ 14 w 158"/>
                <a:gd name="T51" fmla="*/ 47 h 158"/>
                <a:gd name="T52" fmla="*/ 11 w 158"/>
                <a:gd name="T53" fmla="*/ 54 h 158"/>
                <a:gd name="T54" fmla="*/ 9 w 158"/>
                <a:gd name="T55" fmla="*/ 61 h 158"/>
                <a:gd name="T56" fmla="*/ 7 w 158"/>
                <a:gd name="T57" fmla="*/ 69 h 158"/>
                <a:gd name="T58" fmla="*/ 7 w 158"/>
                <a:gd name="T59" fmla="*/ 76 h 158"/>
                <a:gd name="T60" fmla="*/ 7 w 158"/>
                <a:gd name="T61" fmla="*/ 84 h 158"/>
                <a:gd name="T62" fmla="*/ 8 w 158"/>
                <a:gd name="T63" fmla="*/ 92 h 158"/>
                <a:gd name="T64" fmla="*/ 10 w 158"/>
                <a:gd name="T65" fmla="*/ 99 h 158"/>
                <a:gd name="T66" fmla="*/ 12 w 158"/>
                <a:gd name="T67" fmla="*/ 106 h 158"/>
                <a:gd name="T68" fmla="*/ 15 w 158"/>
                <a:gd name="T69" fmla="*/ 113 h 158"/>
                <a:gd name="T70" fmla="*/ 19 w 158"/>
                <a:gd name="T71" fmla="*/ 120 h 158"/>
                <a:gd name="T72" fmla="*/ 24 w 158"/>
                <a:gd name="T73" fmla="*/ 126 h 158"/>
                <a:gd name="T74" fmla="*/ 29 w 158"/>
                <a:gd name="T75" fmla="*/ 131 h 158"/>
                <a:gd name="T76" fmla="*/ 35 w 158"/>
                <a:gd name="T77" fmla="*/ 136 h 158"/>
                <a:gd name="T78" fmla="*/ 41 w 158"/>
                <a:gd name="T79" fmla="*/ 140 h 158"/>
                <a:gd name="T80" fmla="*/ 48 w 158"/>
                <a:gd name="T81" fmla="*/ 144 h 158"/>
                <a:gd name="T82" fmla="*/ 55 w 158"/>
                <a:gd name="T83" fmla="*/ 147 h 158"/>
                <a:gd name="T84" fmla="*/ 62 w 158"/>
                <a:gd name="T85" fmla="*/ 149 h 158"/>
                <a:gd name="T86" fmla="*/ 69 w 158"/>
                <a:gd name="T87" fmla="*/ 151 h 158"/>
                <a:gd name="T88" fmla="*/ 77 w 158"/>
                <a:gd name="T89" fmla="*/ 151 h 158"/>
                <a:gd name="T90" fmla="*/ 85 w 158"/>
                <a:gd name="T91" fmla="*/ 151 h 158"/>
                <a:gd name="T92" fmla="*/ 92 w 158"/>
                <a:gd name="T93" fmla="*/ 150 h 158"/>
                <a:gd name="T94" fmla="*/ 100 w 158"/>
                <a:gd name="T95" fmla="*/ 148 h 158"/>
                <a:gd name="T96" fmla="*/ 107 w 158"/>
                <a:gd name="T97" fmla="*/ 146 h 158"/>
                <a:gd name="T98" fmla="*/ 114 w 158"/>
                <a:gd name="T99" fmla="*/ 143 h 158"/>
                <a:gd name="T100" fmla="*/ 120 w 158"/>
                <a:gd name="T101" fmla="*/ 139 h 158"/>
                <a:gd name="T102" fmla="*/ 126 w 158"/>
                <a:gd name="T103" fmla="*/ 134 h 158"/>
                <a:gd name="T104" fmla="*/ 132 w 158"/>
                <a:gd name="T105" fmla="*/ 129 h 158"/>
                <a:gd name="T106" fmla="*/ 137 w 158"/>
                <a:gd name="T107" fmla="*/ 123 h 158"/>
                <a:gd name="T108" fmla="*/ 141 w 158"/>
                <a:gd name="T109" fmla="*/ 117 h 158"/>
                <a:gd name="T110" fmla="*/ 145 w 158"/>
                <a:gd name="T111" fmla="*/ 110 h 158"/>
                <a:gd name="T112" fmla="*/ 148 w 158"/>
                <a:gd name="T113" fmla="*/ 103 h 158"/>
                <a:gd name="T114" fmla="*/ 150 w 158"/>
                <a:gd name="T115" fmla="*/ 96 h 158"/>
                <a:gd name="T116" fmla="*/ 151 w 158"/>
                <a:gd name="T117" fmla="*/ 88 h 158"/>
                <a:gd name="T118" fmla="*/ 152 w 158"/>
                <a:gd name="T119" fmla="*/ 8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58">
                  <a:moveTo>
                    <a:pt x="157" y="80"/>
                  </a:moveTo>
                  <a:cubicBezTo>
                    <a:pt x="157" y="80"/>
                    <a:pt x="157" y="80"/>
                    <a:pt x="158" y="80"/>
                  </a:cubicBezTo>
                  <a:cubicBezTo>
                    <a:pt x="158" y="79"/>
                    <a:pt x="158" y="79"/>
                    <a:pt x="158" y="79"/>
                  </a:cubicBezTo>
                  <a:cubicBezTo>
                    <a:pt x="158" y="78"/>
                    <a:pt x="158" y="78"/>
                    <a:pt x="158" y="77"/>
                  </a:cubicBezTo>
                  <a:cubicBezTo>
                    <a:pt x="157" y="77"/>
                    <a:pt x="157" y="77"/>
                    <a:pt x="157" y="77"/>
                  </a:cubicBezTo>
                  <a:cubicBezTo>
                    <a:pt x="156" y="77"/>
                    <a:pt x="154" y="77"/>
                    <a:pt x="152" y="76"/>
                  </a:cubicBezTo>
                  <a:cubicBezTo>
                    <a:pt x="152" y="75"/>
                    <a:pt x="152" y="74"/>
                    <a:pt x="152" y="73"/>
                  </a:cubicBezTo>
                  <a:cubicBezTo>
                    <a:pt x="154" y="73"/>
                    <a:pt x="156" y="72"/>
                    <a:pt x="156" y="72"/>
                  </a:cubicBezTo>
                  <a:cubicBezTo>
                    <a:pt x="157" y="72"/>
                    <a:pt x="157" y="72"/>
                    <a:pt x="157" y="71"/>
                  </a:cubicBezTo>
                  <a:cubicBezTo>
                    <a:pt x="158" y="71"/>
                    <a:pt x="158" y="71"/>
                    <a:pt x="158" y="70"/>
                  </a:cubicBezTo>
                  <a:cubicBezTo>
                    <a:pt x="158" y="70"/>
                    <a:pt x="157" y="70"/>
                    <a:pt x="157" y="69"/>
                  </a:cubicBezTo>
                  <a:cubicBezTo>
                    <a:pt x="157" y="69"/>
                    <a:pt x="156" y="69"/>
                    <a:pt x="156" y="69"/>
                  </a:cubicBezTo>
                  <a:cubicBezTo>
                    <a:pt x="156" y="69"/>
                    <a:pt x="153" y="69"/>
                    <a:pt x="151" y="69"/>
                  </a:cubicBezTo>
                  <a:cubicBezTo>
                    <a:pt x="151" y="68"/>
                    <a:pt x="151" y="67"/>
                    <a:pt x="151" y="66"/>
                  </a:cubicBezTo>
                  <a:cubicBezTo>
                    <a:pt x="153" y="65"/>
                    <a:pt x="155" y="64"/>
                    <a:pt x="155" y="64"/>
                  </a:cubicBezTo>
                  <a:cubicBezTo>
                    <a:pt x="156" y="64"/>
                    <a:pt x="156" y="64"/>
                    <a:pt x="156" y="63"/>
                  </a:cubicBezTo>
                  <a:cubicBezTo>
                    <a:pt x="156" y="63"/>
                    <a:pt x="156" y="63"/>
                    <a:pt x="156" y="62"/>
                  </a:cubicBezTo>
                  <a:cubicBezTo>
                    <a:pt x="156" y="62"/>
                    <a:pt x="156" y="61"/>
                    <a:pt x="156" y="61"/>
                  </a:cubicBezTo>
                  <a:cubicBezTo>
                    <a:pt x="155" y="61"/>
                    <a:pt x="155" y="61"/>
                    <a:pt x="155" y="61"/>
                  </a:cubicBezTo>
                  <a:cubicBezTo>
                    <a:pt x="154" y="61"/>
                    <a:pt x="152" y="61"/>
                    <a:pt x="150" y="61"/>
                  </a:cubicBezTo>
                  <a:cubicBezTo>
                    <a:pt x="149" y="60"/>
                    <a:pt x="149" y="59"/>
                    <a:pt x="149" y="58"/>
                  </a:cubicBezTo>
                  <a:cubicBezTo>
                    <a:pt x="151" y="57"/>
                    <a:pt x="153" y="56"/>
                    <a:pt x="153" y="56"/>
                  </a:cubicBezTo>
                  <a:cubicBezTo>
                    <a:pt x="154" y="56"/>
                    <a:pt x="154" y="56"/>
                    <a:pt x="154" y="55"/>
                  </a:cubicBezTo>
                  <a:cubicBezTo>
                    <a:pt x="154" y="55"/>
                    <a:pt x="154" y="55"/>
                    <a:pt x="154" y="54"/>
                  </a:cubicBezTo>
                  <a:cubicBezTo>
                    <a:pt x="154" y="54"/>
                    <a:pt x="154" y="53"/>
                    <a:pt x="153" y="53"/>
                  </a:cubicBezTo>
                  <a:cubicBezTo>
                    <a:pt x="153" y="53"/>
                    <a:pt x="153" y="53"/>
                    <a:pt x="152" y="53"/>
                  </a:cubicBezTo>
                  <a:cubicBezTo>
                    <a:pt x="152" y="53"/>
                    <a:pt x="150" y="54"/>
                    <a:pt x="148" y="54"/>
                  </a:cubicBezTo>
                  <a:cubicBezTo>
                    <a:pt x="147" y="53"/>
                    <a:pt x="147" y="52"/>
                    <a:pt x="146" y="51"/>
                  </a:cubicBezTo>
                  <a:cubicBezTo>
                    <a:pt x="148" y="50"/>
                    <a:pt x="150" y="49"/>
                    <a:pt x="151" y="49"/>
                  </a:cubicBezTo>
                  <a:cubicBezTo>
                    <a:pt x="151" y="48"/>
                    <a:pt x="151" y="48"/>
                    <a:pt x="151" y="48"/>
                  </a:cubicBezTo>
                  <a:cubicBezTo>
                    <a:pt x="152" y="47"/>
                    <a:pt x="151" y="47"/>
                    <a:pt x="151" y="46"/>
                  </a:cubicBezTo>
                  <a:cubicBezTo>
                    <a:pt x="151" y="46"/>
                    <a:pt x="151" y="46"/>
                    <a:pt x="150" y="46"/>
                  </a:cubicBezTo>
                  <a:cubicBezTo>
                    <a:pt x="150" y="45"/>
                    <a:pt x="150" y="45"/>
                    <a:pt x="149" y="46"/>
                  </a:cubicBezTo>
                  <a:cubicBezTo>
                    <a:pt x="149" y="46"/>
                    <a:pt x="147" y="46"/>
                    <a:pt x="145" y="47"/>
                  </a:cubicBezTo>
                  <a:cubicBezTo>
                    <a:pt x="144" y="46"/>
                    <a:pt x="144" y="45"/>
                    <a:pt x="143" y="44"/>
                  </a:cubicBezTo>
                  <a:cubicBezTo>
                    <a:pt x="145" y="43"/>
                    <a:pt x="147" y="42"/>
                    <a:pt x="147" y="41"/>
                  </a:cubicBezTo>
                  <a:cubicBezTo>
                    <a:pt x="147" y="41"/>
                    <a:pt x="148" y="41"/>
                    <a:pt x="148" y="40"/>
                  </a:cubicBezTo>
                  <a:cubicBezTo>
                    <a:pt x="148" y="40"/>
                    <a:pt x="148" y="39"/>
                    <a:pt x="148" y="39"/>
                  </a:cubicBezTo>
                  <a:cubicBezTo>
                    <a:pt x="147" y="39"/>
                    <a:pt x="147" y="38"/>
                    <a:pt x="147" y="38"/>
                  </a:cubicBezTo>
                  <a:cubicBezTo>
                    <a:pt x="146" y="38"/>
                    <a:pt x="146" y="38"/>
                    <a:pt x="145" y="38"/>
                  </a:cubicBezTo>
                  <a:cubicBezTo>
                    <a:pt x="145" y="39"/>
                    <a:pt x="143" y="39"/>
                    <a:pt x="141" y="40"/>
                  </a:cubicBezTo>
                  <a:cubicBezTo>
                    <a:pt x="140" y="39"/>
                    <a:pt x="140" y="39"/>
                    <a:pt x="139" y="38"/>
                  </a:cubicBezTo>
                  <a:cubicBezTo>
                    <a:pt x="141" y="36"/>
                    <a:pt x="142" y="35"/>
                    <a:pt x="143" y="34"/>
                  </a:cubicBezTo>
                  <a:cubicBezTo>
                    <a:pt x="143" y="34"/>
                    <a:pt x="143" y="34"/>
                    <a:pt x="143" y="33"/>
                  </a:cubicBezTo>
                  <a:cubicBezTo>
                    <a:pt x="143" y="33"/>
                    <a:pt x="143" y="32"/>
                    <a:pt x="143" y="32"/>
                  </a:cubicBezTo>
                  <a:cubicBezTo>
                    <a:pt x="143" y="32"/>
                    <a:pt x="142" y="32"/>
                    <a:pt x="142" y="31"/>
                  </a:cubicBezTo>
                  <a:cubicBezTo>
                    <a:pt x="142" y="31"/>
                    <a:pt x="141" y="31"/>
                    <a:pt x="141" y="32"/>
                  </a:cubicBezTo>
                  <a:cubicBezTo>
                    <a:pt x="140" y="32"/>
                    <a:pt x="138" y="33"/>
                    <a:pt x="137" y="34"/>
                  </a:cubicBezTo>
                  <a:cubicBezTo>
                    <a:pt x="136" y="33"/>
                    <a:pt x="135" y="32"/>
                    <a:pt x="135" y="32"/>
                  </a:cubicBezTo>
                  <a:cubicBezTo>
                    <a:pt x="136" y="30"/>
                    <a:pt x="138" y="28"/>
                    <a:pt x="138" y="28"/>
                  </a:cubicBezTo>
                  <a:cubicBezTo>
                    <a:pt x="138" y="28"/>
                    <a:pt x="138" y="27"/>
                    <a:pt x="138" y="27"/>
                  </a:cubicBezTo>
                  <a:cubicBezTo>
                    <a:pt x="138" y="26"/>
                    <a:pt x="138" y="26"/>
                    <a:pt x="138" y="26"/>
                  </a:cubicBezTo>
                  <a:cubicBezTo>
                    <a:pt x="138" y="25"/>
                    <a:pt x="137" y="25"/>
                    <a:pt x="137" y="25"/>
                  </a:cubicBezTo>
                  <a:cubicBezTo>
                    <a:pt x="136" y="25"/>
                    <a:pt x="136" y="25"/>
                    <a:pt x="136" y="25"/>
                  </a:cubicBezTo>
                  <a:cubicBezTo>
                    <a:pt x="135" y="26"/>
                    <a:pt x="133" y="27"/>
                    <a:pt x="132" y="28"/>
                  </a:cubicBezTo>
                  <a:cubicBezTo>
                    <a:pt x="131" y="28"/>
                    <a:pt x="130" y="27"/>
                    <a:pt x="129" y="26"/>
                  </a:cubicBezTo>
                  <a:cubicBezTo>
                    <a:pt x="131" y="24"/>
                    <a:pt x="132" y="22"/>
                    <a:pt x="132" y="22"/>
                  </a:cubicBezTo>
                  <a:cubicBezTo>
                    <a:pt x="133" y="22"/>
                    <a:pt x="133" y="21"/>
                    <a:pt x="133" y="21"/>
                  </a:cubicBezTo>
                  <a:cubicBezTo>
                    <a:pt x="133" y="20"/>
                    <a:pt x="132" y="20"/>
                    <a:pt x="132" y="20"/>
                  </a:cubicBezTo>
                  <a:cubicBezTo>
                    <a:pt x="132" y="20"/>
                    <a:pt x="131" y="19"/>
                    <a:pt x="131" y="19"/>
                  </a:cubicBezTo>
                  <a:cubicBezTo>
                    <a:pt x="130" y="19"/>
                    <a:pt x="130" y="19"/>
                    <a:pt x="130" y="20"/>
                  </a:cubicBezTo>
                  <a:cubicBezTo>
                    <a:pt x="129" y="20"/>
                    <a:pt x="128" y="22"/>
                    <a:pt x="126" y="23"/>
                  </a:cubicBezTo>
                  <a:cubicBezTo>
                    <a:pt x="125" y="22"/>
                    <a:pt x="124" y="22"/>
                    <a:pt x="124" y="21"/>
                  </a:cubicBezTo>
                  <a:cubicBezTo>
                    <a:pt x="125" y="19"/>
                    <a:pt x="126" y="17"/>
                    <a:pt x="126" y="17"/>
                  </a:cubicBezTo>
                  <a:cubicBezTo>
                    <a:pt x="126" y="16"/>
                    <a:pt x="126" y="16"/>
                    <a:pt x="126" y="16"/>
                  </a:cubicBezTo>
                  <a:cubicBezTo>
                    <a:pt x="126" y="15"/>
                    <a:pt x="126" y="15"/>
                    <a:pt x="126" y="15"/>
                  </a:cubicBezTo>
                  <a:cubicBezTo>
                    <a:pt x="125" y="14"/>
                    <a:pt x="125" y="14"/>
                    <a:pt x="124" y="14"/>
                  </a:cubicBezTo>
                  <a:cubicBezTo>
                    <a:pt x="124" y="14"/>
                    <a:pt x="124" y="15"/>
                    <a:pt x="123" y="15"/>
                  </a:cubicBezTo>
                  <a:cubicBezTo>
                    <a:pt x="123" y="15"/>
                    <a:pt x="121" y="17"/>
                    <a:pt x="120" y="19"/>
                  </a:cubicBezTo>
                  <a:cubicBezTo>
                    <a:pt x="119" y="18"/>
                    <a:pt x="118" y="17"/>
                    <a:pt x="117" y="17"/>
                  </a:cubicBezTo>
                  <a:cubicBezTo>
                    <a:pt x="118" y="15"/>
                    <a:pt x="119" y="13"/>
                    <a:pt x="119" y="12"/>
                  </a:cubicBezTo>
                  <a:cubicBezTo>
                    <a:pt x="120" y="12"/>
                    <a:pt x="120" y="11"/>
                    <a:pt x="119" y="11"/>
                  </a:cubicBezTo>
                  <a:cubicBezTo>
                    <a:pt x="119" y="11"/>
                    <a:pt x="119" y="10"/>
                    <a:pt x="119" y="10"/>
                  </a:cubicBezTo>
                  <a:cubicBezTo>
                    <a:pt x="118" y="10"/>
                    <a:pt x="118" y="10"/>
                    <a:pt x="117" y="10"/>
                  </a:cubicBezTo>
                  <a:cubicBezTo>
                    <a:pt x="117" y="10"/>
                    <a:pt x="117" y="10"/>
                    <a:pt x="116" y="11"/>
                  </a:cubicBezTo>
                  <a:cubicBezTo>
                    <a:pt x="116" y="11"/>
                    <a:pt x="115" y="13"/>
                    <a:pt x="114" y="15"/>
                  </a:cubicBezTo>
                  <a:cubicBezTo>
                    <a:pt x="113" y="14"/>
                    <a:pt x="112" y="14"/>
                    <a:pt x="111" y="13"/>
                  </a:cubicBezTo>
                  <a:cubicBezTo>
                    <a:pt x="111" y="11"/>
                    <a:pt x="112" y="9"/>
                    <a:pt x="112" y="8"/>
                  </a:cubicBezTo>
                  <a:cubicBezTo>
                    <a:pt x="112" y="8"/>
                    <a:pt x="112" y="8"/>
                    <a:pt x="112" y="7"/>
                  </a:cubicBezTo>
                  <a:cubicBezTo>
                    <a:pt x="112" y="7"/>
                    <a:pt x="112" y="7"/>
                    <a:pt x="111" y="6"/>
                  </a:cubicBezTo>
                  <a:cubicBezTo>
                    <a:pt x="111" y="6"/>
                    <a:pt x="110" y="6"/>
                    <a:pt x="110" y="6"/>
                  </a:cubicBezTo>
                  <a:cubicBezTo>
                    <a:pt x="110" y="6"/>
                    <a:pt x="109" y="7"/>
                    <a:pt x="109" y="7"/>
                  </a:cubicBezTo>
                  <a:cubicBezTo>
                    <a:pt x="109" y="7"/>
                    <a:pt x="108" y="9"/>
                    <a:pt x="107" y="11"/>
                  </a:cubicBezTo>
                  <a:cubicBezTo>
                    <a:pt x="106" y="11"/>
                    <a:pt x="105" y="10"/>
                    <a:pt x="104" y="10"/>
                  </a:cubicBezTo>
                  <a:cubicBezTo>
                    <a:pt x="104" y="8"/>
                    <a:pt x="105" y="6"/>
                    <a:pt x="105" y="5"/>
                  </a:cubicBezTo>
                  <a:cubicBezTo>
                    <a:pt x="105" y="5"/>
                    <a:pt x="105" y="4"/>
                    <a:pt x="105" y="4"/>
                  </a:cubicBezTo>
                  <a:cubicBezTo>
                    <a:pt x="104" y="4"/>
                    <a:pt x="104" y="4"/>
                    <a:pt x="104" y="3"/>
                  </a:cubicBezTo>
                  <a:cubicBezTo>
                    <a:pt x="103" y="3"/>
                    <a:pt x="103" y="3"/>
                    <a:pt x="102" y="3"/>
                  </a:cubicBezTo>
                  <a:cubicBezTo>
                    <a:pt x="102" y="4"/>
                    <a:pt x="102" y="4"/>
                    <a:pt x="101" y="4"/>
                  </a:cubicBezTo>
                  <a:cubicBezTo>
                    <a:pt x="101" y="5"/>
                    <a:pt x="100" y="7"/>
                    <a:pt x="100" y="9"/>
                  </a:cubicBezTo>
                  <a:cubicBezTo>
                    <a:pt x="98" y="8"/>
                    <a:pt x="97" y="8"/>
                    <a:pt x="96" y="8"/>
                  </a:cubicBezTo>
                  <a:cubicBezTo>
                    <a:pt x="97" y="6"/>
                    <a:pt x="97" y="4"/>
                    <a:pt x="97" y="3"/>
                  </a:cubicBezTo>
                  <a:cubicBezTo>
                    <a:pt x="97" y="3"/>
                    <a:pt x="97" y="2"/>
                    <a:pt x="97" y="2"/>
                  </a:cubicBezTo>
                  <a:cubicBezTo>
                    <a:pt x="96" y="2"/>
                    <a:pt x="96" y="1"/>
                    <a:pt x="96" y="1"/>
                  </a:cubicBezTo>
                  <a:cubicBezTo>
                    <a:pt x="95" y="1"/>
                    <a:pt x="95" y="1"/>
                    <a:pt x="94" y="1"/>
                  </a:cubicBezTo>
                  <a:cubicBezTo>
                    <a:pt x="94" y="2"/>
                    <a:pt x="94" y="2"/>
                    <a:pt x="94" y="2"/>
                  </a:cubicBezTo>
                  <a:cubicBezTo>
                    <a:pt x="93" y="3"/>
                    <a:pt x="93" y="5"/>
                    <a:pt x="92" y="7"/>
                  </a:cubicBezTo>
                  <a:cubicBezTo>
                    <a:pt x="91" y="7"/>
                    <a:pt x="90" y="7"/>
                    <a:pt x="89" y="7"/>
                  </a:cubicBezTo>
                  <a:cubicBezTo>
                    <a:pt x="89" y="4"/>
                    <a:pt x="89" y="2"/>
                    <a:pt x="89" y="2"/>
                  </a:cubicBezTo>
                  <a:cubicBezTo>
                    <a:pt x="89" y="1"/>
                    <a:pt x="89" y="1"/>
                    <a:pt x="89" y="0"/>
                  </a:cubicBezTo>
                  <a:cubicBezTo>
                    <a:pt x="88" y="0"/>
                    <a:pt x="88" y="0"/>
                    <a:pt x="87" y="0"/>
                  </a:cubicBezTo>
                  <a:cubicBezTo>
                    <a:pt x="87" y="0"/>
                    <a:pt x="87" y="0"/>
                    <a:pt x="86" y="0"/>
                  </a:cubicBezTo>
                  <a:cubicBezTo>
                    <a:pt x="86" y="0"/>
                    <a:pt x="86" y="1"/>
                    <a:pt x="86" y="1"/>
                  </a:cubicBezTo>
                  <a:cubicBezTo>
                    <a:pt x="85" y="2"/>
                    <a:pt x="85" y="4"/>
                    <a:pt x="85" y="6"/>
                  </a:cubicBezTo>
                  <a:cubicBezTo>
                    <a:pt x="84" y="6"/>
                    <a:pt x="82" y="6"/>
                    <a:pt x="81" y="6"/>
                  </a:cubicBezTo>
                  <a:cubicBezTo>
                    <a:pt x="81" y="4"/>
                    <a:pt x="81" y="2"/>
                    <a:pt x="81" y="1"/>
                  </a:cubicBezTo>
                  <a:cubicBezTo>
                    <a:pt x="81" y="1"/>
                    <a:pt x="81" y="0"/>
                    <a:pt x="80" y="0"/>
                  </a:cubicBezTo>
                  <a:cubicBezTo>
                    <a:pt x="80" y="0"/>
                    <a:pt x="80" y="0"/>
                    <a:pt x="79" y="0"/>
                  </a:cubicBezTo>
                  <a:cubicBezTo>
                    <a:pt x="79" y="0"/>
                    <a:pt x="78" y="0"/>
                    <a:pt x="78" y="0"/>
                  </a:cubicBezTo>
                  <a:cubicBezTo>
                    <a:pt x="78" y="0"/>
                    <a:pt x="78" y="1"/>
                    <a:pt x="77" y="1"/>
                  </a:cubicBezTo>
                  <a:cubicBezTo>
                    <a:pt x="77" y="2"/>
                    <a:pt x="77" y="4"/>
                    <a:pt x="77" y="6"/>
                  </a:cubicBezTo>
                  <a:cubicBezTo>
                    <a:pt x="76" y="6"/>
                    <a:pt x="75" y="6"/>
                    <a:pt x="74" y="6"/>
                  </a:cubicBezTo>
                  <a:cubicBezTo>
                    <a:pt x="73" y="4"/>
                    <a:pt x="73" y="2"/>
                    <a:pt x="73" y="1"/>
                  </a:cubicBezTo>
                  <a:cubicBezTo>
                    <a:pt x="73" y="1"/>
                    <a:pt x="72" y="0"/>
                    <a:pt x="72" y="0"/>
                  </a:cubicBezTo>
                  <a:cubicBezTo>
                    <a:pt x="72" y="0"/>
                    <a:pt x="71" y="0"/>
                    <a:pt x="71" y="0"/>
                  </a:cubicBezTo>
                  <a:cubicBezTo>
                    <a:pt x="70" y="0"/>
                    <a:pt x="70" y="0"/>
                    <a:pt x="70" y="0"/>
                  </a:cubicBezTo>
                  <a:cubicBezTo>
                    <a:pt x="70" y="1"/>
                    <a:pt x="69" y="1"/>
                    <a:pt x="69" y="2"/>
                  </a:cubicBezTo>
                  <a:cubicBezTo>
                    <a:pt x="69" y="2"/>
                    <a:pt x="69" y="4"/>
                    <a:pt x="69" y="7"/>
                  </a:cubicBezTo>
                  <a:cubicBezTo>
                    <a:pt x="68" y="7"/>
                    <a:pt x="67" y="7"/>
                    <a:pt x="66" y="7"/>
                  </a:cubicBezTo>
                  <a:cubicBezTo>
                    <a:pt x="66" y="5"/>
                    <a:pt x="65" y="3"/>
                    <a:pt x="65" y="2"/>
                  </a:cubicBezTo>
                  <a:cubicBezTo>
                    <a:pt x="65" y="2"/>
                    <a:pt x="64" y="2"/>
                    <a:pt x="64" y="1"/>
                  </a:cubicBezTo>
                  <a:cubicBezTo>
                    <a:pt x="64" y="1"/>
                    <a:pt x="63" y="1"/>
                    <a:pt x="63" y="1"/>
                  </a:cubicBezTo>
                  <a:cubicBezTo>
                    <a:pt x="62" y="1"/>
                    <a:pt x="62" y="2"/>
                    <a:pt x="62" y="2"/>
                  </a:cubicBezTo>
                  <a:cubicBezTo>
                    <a:pt x="62" y="2"/>
                    <a:pt x="61" y="3"/>
                    <a:pt x="61" y="3"/>
                  </a:cubicBezTo>
                  <a:cubicBezTo>
                    <a:pt x="61" y="4"/>
                    <a:pt x="62" y="6"/>
                    <a:pt x="62" y="8"/>
                  </a:cubicBezTo>
                  <a:cubicBezTo>
                    <a:pt x="61" y="8"/>
                    <a:pt x="60" y="8"/>
                    <a:pt x="59" y="9"/>
                  </a:cubicBezTo>
                  <a:cubicBezTo>
                    <a:pt x="58" y="7"/>
                    <a:pt x="57" y="5"/>
                    <a:pt x="57" y="4"/>
                  </a:cubicBezTo>
                  <a:cubicBezTo>
                    <a:pt x="57" y="4"/>
                    <a:pt x="56" y="4"/>
                    <a:pt x="56" y="3"/>
                  </a:cubicBezTo>
                  <a:cubicBezTo>
                    <a:pt x="56" y="3"/>
                    <a:pt x="55" y="3"/>
                    <a:pt x="55" y="3"/>
                  </a:cubicBezTo>
                  <a:cubicBezTo>
                    <a:pt x="54" y="4"/>
                    <a:pt x="54" y="4"/>
                    <a:pt x="54" y="4"/>
                  </a:cubicBezTo>
                  <a:cubicBezTo>
                    <a:pt x="54" y="4"/>
                    <a:pt x="54" y="5"/>
                    <a:pt x="54" y="5"/>
                  </a:cubicBezTo>
                  <a:cubicBezTo>
                    <a:pt x="54" y="6"/>
                    <a:pt x="54" y="8"/>
                    <a:pt x="55" y="10"/>
                  </a:cubicBezTo>
                  <a:cubicBezTo>
                    <a:pt x="54" y="10"/>
                    <a:pt x="53" y="11"/>
                    <a:pt x="52" y="11"/>
                  </a:cubicBezTo>
                  <a:cubicBezTo>
                    <a:pt x="51" y="9"/>
                    <a:pt x="49" y="7"/>
                    <a:pt x="49" y="7"/>
                  </a:cubicBezTo>
                  <a:cubicBezTo>
                    <a:pt x="49" y="7"/>
                    <a:pt x="49" y="6"/>
                    <a:pt x="48" y="6"/>
                  </a:cubicBezTo>
                  <a:cubicBezTo>
                    <a:pt x="48" y="6"/>
                    <a:pt x="47" y="6"/>
                    <a:pt x="47" y="6"/>
                  </a:cubicBezTo>
                  <a:cubicBezTo>
                    <a:pt x="47" y="7"/>
                    <a:pt x="46" y="7"/>
                    <a:pt x="46" y="7"/>
                  </a:cubicBezTo>
                  <a:cubicBezTo>
                    <a:pt x="46" y="8"/>
                    <a:pt x="46" y="8"/>
                    <a:pt x="46" y="8"/>
                  </a:cubicBezTo>
                  <a:cubicBezTo>
                    <a:pt x="46" y="9"/>
                    <a:pt x="47" y="11"/>
                    <a:pt x="48" y="13"/>
                  </a:cubicBezTo>
                  <a:cubicBezTo>
                    <a:pt x="47" y="14"/>
                    <a:pt x="46" y="14"/>
                    <a:pt x="45" y="15"/>
                  </a:cubicBezTo>
                  <a:cubicBezTo>
                    <a:pt x="44" y="13"/>
                    <a:pt x="42" y="11"/>
                    <a:pt x="42" y="11"/>
                  </a:cubicBezTo>
                  <a:cubicBezTo>
                    <a:pt x="42" y="10"/>
                    <a:pt x="41" y="10"/>
                    <a:pt x="41" y="10"/>
                  </a:cubicBezTo>
                  <a:cubicBezTo>
                    <a:pt x="41" y="10"/>
                    <a:pt x="40" y="10"/>
                    <a:pt x="40" y="10"/>
                  </a:cubicBezTo>
                  <a:cubicBezTo>
                    <a:pt x="39" y="10"/>
                    <a:pt x="39" y="11"/>
                    <a:pt x="39" y="11"/>
                  </a:cubicBezTo>
                  <a:cubicBezTo>
                    <a:pt x="39" y="11"/>
                    <a:pt x="39" y="12"/>
                    <a:pt x="39" y="12"/>
                  </a:cubicBezTo>
                  <a:cubicBezTo>
                    <a:pt x="39" y="13"/>
                    <a:pt x="40" y="15"/>
                    <a:pt x="41" y="17"/>
                  </a:cubicBezTo>
                  <a:cubicBezTo>
                    <a:pt x="40" y="17"/>
                    <a:pt x="39" y="18"/>
                    <a:pt x="38" y="19"/>
                  </a:cubicBezTo>
                  <a:cubicBezTo>
                    <a:pt x="37" y="17"/>
                    <a:pt x="35" y="15"/>
                    <a:pt x="35" y="15"/>
                  </a:cubicBezTo>
                  <a:cubicBezTo>
                    <a:pt x="35" y="15"/>
                    <a:pt x="34" y="14"/>
                    <a:pt x="34" y="14"/>
                  </a:cubicBezTo>
                  <a:cubicBezTo>
                    <a:pt x="34" y="14"/>
                    <a:pt x="33" y="14"/>
                    <a:pt x="33" y="15"/>
                  </a:cubicBezTo>
                  <a:cubicBezTo>
                    <a:pt x="32" y="15"/>
                    <a:pt x="32" y="15"/>
                    <a:pt x="32" y="16"/>
                  </a:cubicBezTo>
                  <a:cubicBezTo>
                    <a:pt x="32" y="16"/>
                    <a:pt x="32" y="16"/>
                    <a:pt x="32" y="17"/>
                  </a:cubicBezTo>
                  <a:cubicBezTo>
                    <a:pt x="33" y="17"/>
                    <a:pt x="34" y="19"/>
                    <a:pt x="35" y="21"/>
                  </a:cubicBezTo>
                  <a:cubicBezTo>
                    <a:pt x="34" y="22"/>
                    <a:pt x="33" y="22"/>
                    <a:pt x="32" y="23"/>
                  </a:cubicBezTo>
                  <a:cubicBezTo>
                    <a:pt x="31" y="22"/>
                    <a:pt x="29" y="20"/>
                    <a:pt x="29" y="20"/>
                  </a:cubicBezTo>
                  <a:cubicBezTo>
                    <a:pt x="28" y="19"/>
                    <a:pt x="28" y="19"/>
                    <a:pt x="27" y="19"/>
                  </a:cubicBezTo>
                  <a:cubicBezTo>
                    <a:pt x="27" y="19"/>
                    <a:pt x="27" y="20"/>
                    <a:pt x="26" y="20"/>
                  </a:cubicBezTo>
                  <a:cubicBezTo>
                    <a:pt x="26" y="20"/>
                    <a:pt x="26" y="20"/>
                    <a:pt x="26" y="21"/>
                  </a:cubicBezTo>
                  <a:cubicBezTo>
                    <a:pt x="26" y="21"/>
                    <a:pt x="26" y="22"/>
                    <a:pt x="26" y="22"/>
                  </a:cubicBezTo>
                  <a:cubicBezTo>
                    <a:pt x="26" y="22"/>
                    <a:pt x="28" y="24"/>
                    <a:pt x="29" y="26"/>
                  </a:cubicBezTo>
                  <a:cubicBezTo>
                    <a:pt x="28" y="27"/>
                    <a:pt x="27" y="28"/>
                    <a:pt x="27" y="28"/>
                  </a:cubicBezTo>
                  <a:cubicBezTo>
                    <a:pt x="25" y="27"/>
                    <a:pt x="23" y="26"/>
                    <a:pt x="23" y="25"/>
                  </a:cubicBezTo>
                  <a:cubicBezTo>
                    <a:pt x="22" y="25"/>
                    <a:pt x="22" y="25"/>
                    <a:pt x="22" y="25"/>
                  </a:cubicBezTo>
                  <a:cubicBezTo>
                    <a:pt x="21" y="25"/>
                    <a:pt x="21" y="25"/>
                    <a:pt x="21" y="26"/>
                  </a:cubicBezTo>
                  <a:cubicBezTo>
                    <a:pt x="20" y="26"/>
                    <a:pt x="20" y="26"/>
                    <a:pt x="20" y="27"/>
                  </a:cubicBezTo>
                  <a:cubicBezTo>
                    <a:pt x="20" y="27"/>
                    <a:pt x="20" y="28"/>
                    <a:pt x="21" y="28"/>
                  </a:cubicBezTo>
                  <a:cubicBezTo>
                    <a:pt x="21" y="28"/>
                    <a:pt x="22" y="30"/>
                    <a:pt x="24" y="32"/>
                  </a:cubicBezTo>
                  <a:cubicBezTo>
                    <a:pt x="23" y="32"/>
                    <a:pt x="22" y="33"/>
                    <a:pt x="22" y="34"/>
                  </a:cubicBezTo>
                  <a:cubicBezTo>
                    <a:pt x="20" y="33"/>
                    <a:pt x="18" y="32"/>
                    <a:pt x="18" y="32"/>
                  </a:cubicBezTo>
                  <a:cubicBezTo>
                    <a:pt x="17" y="31"/>
                    <a:pt x="17" y="31"/>
                    <a:pt x="16" y="31"/>
                  </a:cubicBezTo>
                  <a:cubicBezTo>
                    <a:pt x="16" y="32"/>
                    <a:pt x="16" y="32"/>
                    <a:pt x="15" y="32"/>
                  </a:cubicBezTo>
                  <a:cubicBezTo>
                    <a:pt x="15" y="32"/>
                    <a:pt x="15" y="33"/>
                    <a:pt x="15" y="33"/>
                  </a:cubicBezTo>
                  <a:cubicBezTo>
                    <a:pt x="15" y="34"/>
                    <a:pt x="15" y="34"/>
                    <a:pt x="16" y="34"/>
                  </a:cubicBezTo>
                  <a:cubicBezTo>
                    <a:pt x="16" y="35"/>
                    <a:pt x="18" y="36"/>
                    <a:pt x="19" y="38"/>
                  </a:cubicBezTo>
                  <a:cubicBezTo>
                    <a:pt x="19" y="39"/>
                    <a:pt x="18" y="39"/>
                    <a:pt x="17" y="40"/>
                  </a:cubicBezTo>
                  <a:cubicBezTo>
                    <a:pt x="15" y="39"/>
                    <a:pt x="13" y="39"/>
                    <a:pt x="13" y="38"/>
                  </a:cubicBezTo>
                  <a:cubicBezTo>
                    <a:pt x="13" y="38"/>
                    <a:pt x="12" y="38"/>
                    <a:pt x="12" y="38"/>
                  </a:cubicBezTo>
                  <a:cubicBezTo>
                    <a:pt x="11" y="38"/>
                    <a:pt x="11" y="39"/>
                    <a:pt x="11" y="39"/>
                  </a:cubicBezTo>
                  <a:cubicBezTo>
                    <a:pt x="11" y="39"/>
                    <a:pt x="11" y="40"/>
                    <a:pt x="11" y="40"/>
                  </a:cubicBezTo>
                  <a:cubicBezTo>
                    <a:pt x="11" y="41"/>
                    <a:pt x="11" y="41"/>
                    <a:pt x="11" y="41"/>
                  </a:cubicBezTo>
                  <a:cubicBezTo>
                    <a:pt x="12" y="42"/>
                    <a:pt x="14" y="43"/>
                    <a:pt x="15" y="44"/>
                  </a:cubicBezTo>
                  <a:cubicBezTo>
                    <a:pt x="15" y="45"/>
                    <a:pt x="14" y="46"/>
                    <a:pt x="14" y="47"/>
                  </a:cubicBezTo>
                  <a:cubicBezTo>
                    <a:pt x="12" y="46"/>
                    <a:pt x="10" y="46"/>
                    <a:pt x="9" y="46"/>
                  </a:cubicBezTo>
                  <a:cubicBezTo>
                    <a:pt x="9" y="45"/>
                    <a:pt x="8" y="45"/>
                    <a:pt x="8" y="46"/>
                  </a:cubicBezTo>
                  <a:cubicBezTo>
                    <a:pt x="8" y="46"/>
                    <a:pt x="7" y="46"/>
                    <a:pt x="7" y="46"/>
                  </a:cubicBezTo>
                  <a:cubicBezTo>
                    <a:pt x="7" y="47"/>
                    <a:pt x="7" y="47"/>
                    <a:pt x="7" y="48"/>
                  </a:cubicBezTo>
                  <a:cubicBezTo>
                    <a:pt x="7" y="48"/>
                    <a:pt x="7" y="48"/>
                    <a:pt x="8" y="49"/>
                  </a:cubicBezTo>
                  <a:cubicBezTo>
                    <a:pt x="8" y="49"/>
                    <a:pt x="10" y="50"/>
                    <a:pt x="12" y="51"/>
                  </a:cubicBezTo>
                  <a:cubicBezTo>
                    <a:pt x="12" y="52"/>
                    <a:pt x="11" y="53"/>
                    <a:pt x="11" y="54"/>
                  </a:cubicBezTo>
                  <a:cubicBezTo>
                    <a:pt x="9" y="54"/>
                    <a:pt x="7" y="53"/>
                    <a:pt x="6" y="53"/>
                  </a:cubicBezTo>
                  <a:cubicBezTo>
                    <a:pt x="6" y="53"/>
                    <a:pt x="5" y="53"/>
                    <a:pt x="5" y="53"/>
                  </a:cubicBezTo>
                  <a:cubicBezTo>
                    <a:pt x="5" y="53"/>
                    <a:pt x="4" y="54"/>
                    <a:pt x="4" y="54"/>
                  </a:cubicBezTo>
                  <a:cubicBezTo>
                    <a:pt x="4" y="55"/>
                    <a:pt x="4" y="55"/>
                    <a:pt x="4" y="55"/>
                  </a:cubicBezTo>
                  <a:cubicBezTo>
                    <a:pt x="4" y="56"/>
                    <a:pt x="5" y="56"/>
                    <a:pt x="5" y="56"/>
                  </a:cubicBezTo>
                  <a:cubicBezTo>
                    <a:pt x="5" y="56"/>
                    <a:pt x="8" y="57"/>
                    <a:pt x="10" y="58"/>
                  </a:cubicBezTo>
                  <a:cubicBezTo>
                    <a:pt x="9" y="59"/>
                    <a:pt x="9" y="60"/>
                    <a:pt x="9" y="61"/>
                  </a:cubicBezTo>
                  <a:cubicBezTo>
                    <a:pt x="7" y="61"/>
                    <a:pt x="4" y="61"/>
                    <a:pt x="4" y="61"/>
                  </a:cubicBezTo>
                  <a:cubicBezTo>
                    <a:pt x="3" y="61"/>
                    <a:pt x="3" y="61"/>
                    <a:pt x="3" y="61"/>
                  </a:cubicBezTo>
                  <a:cubicBezTo>
                    <a:pt x="2" y="61"/>
                    <a:pt x="2" y="62"/>
                    <a:pt x="2" y="62"/>
                  </a:cubicBezTo>
                  <a:cubicBezTo>
                    <a:pt x="2" y="63"/>
                    <a:pt x="2" y="63"/>
                    <a:pt x="2" y="63"/>
                  </a:cubicBezTo>
                  <a:cubicBezTo>
                    <a:pt x="2" y="64"/>
                    <a:pt x="3" y="64"/>
                    <a:pt x="3" y="64"/>
                  </a:cubicBezTo>
                  <a:cubicBezTo>
                    <a:pt x="4" y="64"/>
                    <a:pt x="6" y="65"/>
                    <a:pt x="8" y="66"/>
                  </a:cubicBezTo>
                  <a:cubicBezTo>
                    <a:pt x="8" y="67"/>
                    <a:pt x="7" y="68"/>
                    <a:pt x="7" y="69"/>
                  </a:cubicBezTo>
                  <a:cubicBezTo>
                    <a:pt x="5" y="69"/>
                    <a:pt x="3" y="69"/>
                    <a:pt x="2" y="69"/>
                  </a:cubicBezTo>
                  <a:cubicBezTo>
                    <a:pt x="2" y="69"/>
                    <a:pt x="2" y="69"/>
                    <a:pt x="1" y="69"/>
                  </a:cubicBezTo>
                  <a:cubicBezTo>
                    <a:pt x="1" y="70"/>
                    <a:pt x="1" y="70"/>
                    <a:pt x="1" y="70"/>
                  </a:cubicBezTo>
                  <a:cubicBezTo>
                    <a:pt x="1" y="71"/>
                    <a:pt x="1" y="71"/>
                    <a:pt x="1" y="71"/>
                  </a:cubicBezTo>
                  <a:cubicBezTo>
                    <a:pt x="1" y="72"/>
                    <a:pt x="2" y="72"/>
                    <a:pt x="2" y="72"/>
                  </a:cubicBezTo>
                  <a:cubicBezTo>
                    <a:pt x="2" y="72"/>
                    <a:pt x="5" y="73"/>
                    <a:pt x="7" y="73"/>
                  </a:cubicBezTo>
                  <a:cubicBezTo>
                    <a:pt x="7" y="74"/>
                    <a:pt x="7" y="75"/>
                    <a:pt x="7" y="76"/>
                  </a:cubicBezTo>
                  <a:cubicBezTo>
                    <a:pt x="5" y="77"/>
                    <a:pt x="2" y="77"/>
                    <a:pt x="2" y="77"/>
                  </a:cubicBezTo>
                  <a:cubicBezTo>
                    <a:pt x="1" y="77"/>
                    <a:pt x="1" y="77"/>
                    <a:pt x="1" y="77"/>
                  </a:cubicBezTo>
                  <a:cubicBezTo>
                    <a:pt x="0" y="78"/>
                    <a:pt x="0" y="78"/>
                    <a:pt x="0" y="79"/>
                  </a:cubicBezTo>
                  <a:cubicBezTo>
                    <a:pt x="0" y="79"/>
                    <a:pt x="0" y="79"/>
                    <a:pt x="1" y="80"/>
                  </a:cubicBezTo>
                  <a:cubicBezTo>
                    <a:pt x="1" y="80"/>
                    <a:pt x="1" y="80"/>
                    <a:pt x="2" y="80"/>
                  </a:cubicBezTo>
                  <a:cubicBezTo>
                    <a:pt x="2" y="80"/>
                    <a:pt x="5" y="81"/>
                    <a:pt x="7" y="81"/>
                  </a:cubicBezTo>
                  <a:cubicBezTo>
                    <a:pt x="7" y="82"/>
                    <a:pt x="7" y="83"/>
                    <a:pt x="7" y="84"/>
                  </a:cubicBezTo>
                  <a:cubicBezTo>
                    <a:pt x="5" y="84"/>
                    <a:pt x="2" y="85"/>
                    <a:pt x="2" y="85"/>
                  </a:cubicBezTo>
                  <a:cubicBezTo>
                    <a:pt x="2" y="85"/>
                    <a:pt x="1" y="85"/>
                    <a:pt x="1" y="86"/>
                  </a:cubicBezTo>
                  <a:cubicBezTo>
                    <a:pt x="1" y="86"/>
                    <a:pt x="1" y="86"/>
                    <a:pt x="1" y="87"/>
                  </a:cubicBezTo>
                  <a:cubicBezTo>
                    <a:pt x="1" y="87"/>
                    <a:pt x="1" y="88"/>
                    <a:pt x="1" y="88"/>
                  </a:cubicBezTo>
                  <a:cubicBezTo>
                    <a:pt x="2" y="88"/>
                    <a:pt x="2" y="88"/>
                    <a:pt x="2" y="88"/>
                  </a:cubicBezTo>
                  <a:cubicBezTo>
                    <a:pt x="3" y="88"/>
                    <a:pt x="5" y="88"/>
                    <a:pt x="7" y="88"/>
                  </a:cubicBezTo>
                  <a:cubicBezTo>
                    <a:pt x="7" y="89"/>
                    <a:pt x="8" y="90"/>
                    <a:pt x="8" y="92"/>
                  </a:cubicBezTo>
                  <a:cubicBezTo>
                    <a:pt x="6" y="92"/>
                    <a:pt x="4" y="93"/>
                    <a:pt x="3" y="93"/>
                  </a:cubicBezTo>
                  <a:cubicBezTo>
                    <a:pt x="3" y="93"/>
                    <a:pt x="2" y="93"/>
                    <a:pt x="2" y="94"/>
                  </a:cubicBezTo>
                  <a:cubicBezTo>
                    <a:pt x="2" y="94"/>
                    <a:pt x="2" y="95"/>
                    <a:pt x="2" y="95"/>
                  </a:cubicBezTo>
                  <a:cubicBezTo>
                    <a:pt x="2" y="95"/>
                    <a:pt x="2" y="96"/>
                    <a:pt x="3" y="96"/>
                  </a:cubicBezTo>
                  <a:cubicBezTo>
                    <a:pt x="3" y="96"/>
                    <a:pt x="3" y="96"/>
                    <a:pt x="4" y="96"/>
                  </a:cubicBezTo>
                  <a:cubicBezTo>
                    <a:pt x="4" y="96"/>
                    <a:pt x="7" y="96"/>
                    <a:pt x="9" y="96"/>
                  </a:cubicBezTo>
                  <a:cubicBezTo>
                    <a:pt x="9" y="97"/>
                    <a:pt x="9" y="98"/>
                    <a:pt x="10" y="99"/>
                  </a:cubicBezTo>
                  <a:cubicBezTo>
                    <a:pt x="8" y="100"/>
                    <a:pt x="5" y="101"/>
                    <a:pt x="5" y="101"/>
                  </a:cubicBezTo>
                  <a:cubicBezTo>
                    <a:pt x="5" y="101"/>
                    <a:pt x="4" y="101"/>
                    <a:pt x="4" y="102"/>
                  </a:cubicBezTo>
                  <a:cubicBezTo>
                    <a:pt x="4" y="102"/>
                    <a:pt x="4" y="103"/>
                    <a:pt x="4" y="103"/>
                  </a:cubicBezTo>
                  <a:cubicBezTo>
                    <a:pt x="4" y="103"/>
                    <a:pt x="5" y="104"/>
                    <a:pt x="5" y="104"/>
                  </a:cubicBezTo>
                  <a:cubicBezTo>
                    <a:pt x="5" y="104"/>
                    <a:pt x="6" y="104"/>
                    <a:pt x="6" y="104"/>
                  </a:cubicBezTo>
                  <a:cubicBezTo>
                    <a:pt x="7" y="104"/>
                    <a:pt x="9" y="104"/>
                    <a:pt x="11" y="103"/>
                  </a:cubicBezTo>
                  <a:cubicBezTo>
                    <a:pt x="11" y="104"/>
                    <a:pt x="12" y="105"/>
                    <a:pt x="12" y="106"/>
                  </a:cubicBezTo>
                  <a:cubicBezTo>
                    <a:pt x="10" y="107"/>
                    <a:pt x="8" y="108"/>
                    <a:pt x="8" y="109"/>
                  </a:cubicBezTo>
                  <a:cubicBezTo>
                    <a:pt x="7" y="109"/>
                    <a:pt x="7" y="109"/>
                    <a:pt x="7" y="110"/>
                  </a:cubicBezTo>
                  <a:cubicBezTo>
                    <a:pt x="7" y="110"/>
                    <a:pt x="7" y="110"/>
                    <a:pt x="7" y="111"/>
                  </a:cubicBezTo>
                  <a:cubicBezTo>
                    <a:pt x="7" y="111"/>
                    <a:pt x="8" y="111"/>
                    <a:pt x="8" y="112"/>
                  </a:cubicBezTo>
                  <a:cubicBezTo>
                    <a:pt x="8" y="112"/>
                    <a:pt x="9" y="112"/>
                    <a:pt x="9" y="112"/>
                  </a:cubicBezTo>
                  <a:cubicBezTo>
                    <a:pt x="10" y="111"/>
                    <a:pt x="12" y="111"/>
                    <a:pt x="14" y="110"/>
                  </a:cubicBezTo>
                  <a:cubicBezTo>
                    <a:pt x="14" y="111"/>
                    <a:pt x="15" y="112"/>
                    <a:pt x="15" y="113"/>
                  </a:cubicBezTo>
                  <a:cubicBezTo>
                    <a:pt x="14" y="114"/>
                    <a:pt x="12" y="116"/>
                    <a:pt x="11" y="116"/>
                  </a:cubicBezTo>
                  <a:cubicBezTo>
                    <a:pt x="11" y="116"/>
                    <a:pt x="11" y="117"/>
                    <a:pt x="11" y="117"/>
                  </a:cubicBezTo>
                  <a:cubicBezTo>
                    <a:pt x="11" y="117"/>
                    <a:pt x="11" y="118"/>
                    <a:pt x="11" y="118"/>
                  </a:cubicBezTo>
                  <a:cubicBezTo>
                    <a:pt x="11" y="118"/>
                    <a:pt x="11" y="119"/>
                    <a:pt x="12" y="119"/>
                  </a:cubicBezTo>
                  <a:cubicBezTo>
                    <a:pt x="12" y="119"/>
                    <a:pt x="13" y="119"/>
                    <a:pt x="13" y="119"/>
                  </a:cubicBezTo>
                  <a:cubicBezTo>
                    <a:pt x="13" y="119"/>
                    <a:pt x="15" y="118"/>
                    <a:pt x="17" y="117"/>
                  </a:cubicBezTo>
                  <a:cubicBezTo>
                    <a:pt x="18" y="118"/>
                    <a:pt x="19" y="119"/>
                    <a:pt x="19" y="120"/>
                  </a:cubicBezTo>
                  <a:cubicBezTo>
                    <a:pt x="18" y="121"/>
                    <a:pt x="16" y="122"/>
                    <a:pt x="16" y="123"/>
                  </a:cubicBezTo>
                  <a:cubicBezTo>
                    <a:pt x="15" y="123"/>
                    <a:pt x="15" y="123"/>
                    <a:pt x="15" y="124"/>
                  </a:cubicBezTo>
                  <a:cubicBezTo>
                    <a:pt x="15" y="124"/>
                    <a:pt x="15" y="125"/>
                    <a:pt x="15" y="125"/>
                  </a:cubicBezTo>
                  <a:cubicBezTo>
                    <a:pt x="16" y="125"/>
                    <a:pt x="16" y="126"/>
                    <a:pt x="16" y="126"/>
                  </a:cubicBezTo>
                  <a:cubicBezTo>
                    <a:pt x="17" y="126"/>
                    <a:pt x="17" y="126"/>
                    <a:pt x="18" y="126"/>
                  </a:cubicBezTo>
                  <a:cubicBezTo>
                    <a:pt x="18" y="125"/>
                    <a:pt x="20" y="124"/>
                    <a:pt x="22" y="123"/>
                  </a:cubicBezTo>
                  <a:cubicBezTo>
                    <a:pt x="22" y="124"/>
                    <a:pt x="23" y="125"/>
                    <a:pt x="24" y="126"/>
                  </a:cubicBezTo>
                  <a:cubicBezTo>
                    <a:pt x="22" y="127"/>
                    <a:pt x="21" y="129"/>
                    <a:pt x="21" y="129"/>
                  </a:cubicBezTo>
                  <a:cubicBezTo>
                    <a:pt x="20" y="130"/>
                    <a:pt x="20" y="130"/>
                    <a:pt x="20" y="130"/>
                  </a:cubicBezTo>
                  <a:cubicBezTo>
                    <a:pt x="20" y="131"/>
                    <a:pt x="20" y="131"/>
                    <a:pt x="21" y="131"/>
                  </a:cubicBezTo>
                  <a:cubicBezTo>
                    <a:pt x="21" y="132"/>
                    <a:pt x="21" y="132"/>
                    <a:pt x="22" y="132"/>
                  </a:cubicBezTo>
                  <a:cubicBezTo>
                    <a:pt x="22" y="132"/>
                    <a:pt x="22" y="132"/>
                    <a:pt x="23" y="132"/>
                  </a:cubicBezTo>
                  <a:cubicBezTo>
                    <a:pt x="23" y="131"/>
                    <a:pt x="25" y="130"/>
                    <a:pt x="27" y="129"/>
                  </a:cubicBezTo>
                  <a:cubicBezTo>
                    <a:pt x="27" y="130"/>
                    <a:pt x="28" y="130"/>
                    <a:pt x="29" y="131"/>
                  </a:cubicBezTo>
                  <a:cubicBezTo>
                    <a:pt x="28" y="133"/>
                    <a:pt x="26" y="135"/>
                    <a:pt x="26" y="135"/>
                  </a:cubicBezTo>
                  <a:cubicBezTo>
                    <a:pt x="26" y="135"/>
                    <a:pt x="26" y="136"/>
                    <a:pt x="26" y="136"/>
                  </a:cubicBezTo>
                  <a:cubicBezTo>
                    <a:pt x="26" y="137"/>
                    <a:pt x="26" y="137"/>
                    <a:pt x="26" y="137"/>
                  </a:cubicBezTo>
                  <a:cubicBezTo>
                    <a:pt x="27" y="138"/>
                    <a:pt x="27" y="138"/>
                    <a:pt x="27" y="138"/>
                  </a:cubicBezTo>
                  <a:cubicBezTo>
                    <a:pt x="28" y="138"/>
                    <a:pt x="28" y="138"/>
                    <a:pt x="29" y="137"/>
                  </a:cubicBezTo>
                  <a:cubicBezTo>
                    <a:pt x="29" y="137"/>
                    <a:pt x="31" y="135"/>
                    <a:pt x="32" y="134"/>
                  </a:cubicBezTo>
                  <a:cubicBezTo>
                    <a:pt x="33" y="135"/>
                    <a:pt x="34" y="135"/>
                    <a:pt x="35" y="136"/>
                  </a:cubicBezTo>
                  <a:cubicBezTo>
                    <a:pt x="34" y="138"/>
                    <a:pt x="33" y="140"/>
                    <a:pt x="32" y="140"/>
                  </a:cubicBezTo>
                  <a:cubicBezTo>
                    <a:pt x="32" y="141"/>
                    <a:pt x="32" y="141"/>
                    <a:pt x="32" y="142"/>
                  </a:cubicBezTo>
                  <a:cubicBezTo>
                    <a:pt x="32" y="142"/>
                    <a:pt x="32" y="142"/>
                    <a:pt x="33" y="143"/>
                  </a:cubicBezTo>
                  <a:cubicBezTo>
                    <a:pt x="33" y="143"/>
                    <a:pt x="34" y="143"/>
                    <a:pt x="34" y="143"/>
                  </a:cubicBezTo>
                  <a:cubicBezTo>
                    <a:pt x="34" y="143"/>
                    <a:pt x="35" y="143"/>
                    <a:pt x="35" y="142"/>
                  </a:cubicBezTo>
                  <a:cubicBezTo>
                    <a:pt x="35" y="142"/>
                    <a:pt x="37" y="140"/>
                    <a:pt x="38" y="139"/>
                  </a:cubicBezTo>
                  <a:cubicBezTo>
                    <a:pt x="39" y="139"/>
                    <a:pt x="40" y="140"/>
                    <a:pt x="41" y="140"/>
                  </a:cubicBezTo>
                  <a:cubicBezTo>
                    <a:pt x="40" y="142"/>
                    <a:pt x="39" y="145"/>
                    <a:pt x="39" y="145"/>
                  </a:cubicBezTo>
                  <a:cubicBezTo>
                    <a:pt x="39" y="145"/>
                    <a:pt x="39" y="146"/>
                    <a:pt x="39" y="146"/>
                  </a:cubicBezTo>
                  <a:cubicBezTo>
                    <a:pt x="39" y="146"/>
                    <a:pt x="39" y="147"/>
                    <a:pt x="40" y="147"/>
                  </a:cubicBezTo>
                  <a:cubicBezTo>
                    <a:pt x="40" y="147"/>
                    <a:pt x="41" y="147"/>
                    <a:pt x="41" y="147"/>
                  </a:cubicBezTo>
                  <a:cubicBezTo>
                    <a:pt x="41" y="147"/>
                    <a:pt x="42" y="147"/>
                    <a:pt x="42" y="147"/>
                  </a:cubicBezTo>
                  <a:cubicBezTo>
                    <a:pt x="42" y="146"/>
                    <a:pt x="44" y="144"/>
                    <a:pt x="45" y="143"/>
                  </a:cubicBezTo>
                  <a:cubicBezTo>
                    <a:pt x="46" y="143"/>
                    <a:pt x="47" y="144"/>
                    <a:pt x="48" y="144"/>
                  </a:cubicBezTo>
                  <a:cubicBezTo>
                    <a:pt x="47" y="146"/>
                    <a:pt x="46" y="148"/>
                    <a:pt x="46" y="149"/>
                  </a:cubicBezTo>
                  <a:cubicBezTo>
                    <a:pt x="46" y="149"/>
                    <a:pt x="46" y="150"/>
                    <a:pt x="46" y="150"/>
                  </a:cubicBezTo>
                  <a:cubicBezTo>
                    <a:pt x="46" y="150"/>
                    <a:pt x="47" y="151"/>
                    <a:pt x="47" y="151"/>
                  </a:cubicBezTo>
                  <a:cubicBezTo>
                    <a:pt x="47" y="151"/>
                    <a:pt x="48" y="151"/>
                    <a:pt x="48" y="151"/>
                  </a:cubicBezTo>
                  <a:cubicBezTo>
                    <a:pt x="49" y="151"/>
                    <a:pt x="49" y="150"/>
                    <a:pt x="49" y="150"/>
                  </a:cubicBezTo>
                  <a:cubicBezTo>
                    <a:pt x="49" y="150"/>
                    <a:pt x="51" y="148"/>
                    <a:pt x="52" y="146"/>
                  </a:cubicBezTo>
                  <a:cubicBezTo>
                    <a:pt x="53" y="146"/>
                    <a:pt x="54" y="147"/>
                    <a:pt x="55" y="147"/>
                  </a:cubicBezTo>
                  <a:cubicBezTo>
                    <a:pt x="54" y="149"/>
                    <a:pt x="54" y="151"/>
                    <a:pt x="54" y="152"/>
                  </a:cubicBezTo>
                  <a:cubicBezTo>
                    <a:pt x="54" y="152"/>
                    <a:pt x="54" y="153"/>
                    <a:pt x="54" y="153"/>
                  </a:cubicBezTo>
                  <a:cubicBezTo>
                    <a:pt x="54" y="153"/>
                    <a:pt x="54" y="154"/>
                    <a:pt x="55" y="154"/>
                  </a:cubicBezTo>
                  <a:cubicBezTo>
                    <a:pt x="55" y="154"/>
                    <a:pt x="56" y="154"/>
                    <a:pt x="56" y="154"/>
                  </a:cubicBezTo>
                  <a:cubicBezTo>
                    <a:pt x="56" y="154"/>
                    <a:pt x="57" y="153"/>
                    <a:pt x="57" y="153"/>
                  </a:cubicBezTo>
                  <a:cubicBezTo>
                    <a:pt x="57" y="152"/>
                    <a:pt x="58" y="150"/>
                    <a:pt x="59" y="148"/>
                  </a:cubicBezTo>
                  <a:cubicBezTo>
                    <a:pt x="60" y="149"/>
                    <a:pt x="61" y="149"/>
                    <a:pt x="62" y="149"/>
                  </a:cubicBezTo>
                  <a:cubicBezTo>
                    <a:pt x="62" y="151"/>
                    <a:pt x="61" y="154"/>
                    <a:pt x="61" y="154"/>
                  </a:cubicBezTo>
                  <a:cubicBezTo>
                    <a:pt x="61" y="155"/>
                    <a:pt x="62" y="155"/>
                    <a:pt x="62" y="155"/>
                  </a:cubicBezTo>
                  <a:cubicBezTo>
                    <a:pt x="62" y="156"/>
                    <a:pt x="62" y="156"/>
                    <a:pt x="63" y="156"/>
                  </a:cubicBezTo>
                  <a:cubicBezTo>
                    <a:pt x="63" y="156"/>
                    <a:pt x="64" y="156"/>
                    <a:pt x="64" y="156"/>
                  </a:cubicBezTo>
                  <a:cubicBezTo>
                    <a:pt x="64" y="155"/>
                    <a:pt x="65" y="155"/>
                    <a:pt x="65" y="155"/>
                  </a:cubicBezTo>
                  <a:cubicBezTo>
                    <a:pt x="65" y="154"/>
                    <a:pt x="66" y="152"/>
                    <a:pt x="66" y="150"/>
                  </a:cubicBezTo>
                  <a:cubicBezTo>
                    <a:pt x="67" y="150"/>
                    <a:pt x="68" y="150"/>
                    <a:pt x="69" y="151"/>
                  </a:cubicBezTo>
                  <a:cubicBezTo>
                    <a:pt x="69" y="153"/>
                    <a:pt x="69" y="155"/>
                    <a:pt x="69" y="155"/>
                  </a:cubicBezTo>
                  <a:cubicBezTo>
                    <a:pt x="69" y="156"/>
                    <a:pt x="70" y="156"/>
                    <a:pt x="70" y="157"/>
                  </a:cubicBezTo>
                  <a:cubicBezTo>
                    <a:pt x="70" y="157"/>
                    <a:pt x="70" y="157"/>
                    <a:pt x="71" y="157"/>
                  </a:cubicBezTo>
                  <a:cubicBezTo>
                    <a:pt x="71" y="157"/>
                    <a:pt x="72" y="157"/>
                    <a:pt x="72" y="157"/>
                  </a:cubicBezTo>
                  <a:cubicBezTo>
                    <a:pt x="72" y="157"/>
                    <a:pt x="73" y="156"/>
                    <a:pt x="73" y="156"/>
                  </a:cubicBezTo>
                  <a:cubicBezTo>
                    <a:pt x="73" y="155"/>
                    <a:pt x="73" y="153"/>
                    <a:pt x="74" y="151"/>
                  </a:cubicBezTo>
                  <a:cubicBezTo>
                    <a:pt x="75" y="151"/>
                    <a:pt x="76" y="151"/>
                    <a:pt x="77" y="151"/>
                  </a:cubicBezTo>
                  <a:cubicBezTo>
                    <a:pt x="77" y="153"/>
                    <a:pt x="77" y="156"/>
                    <a:pt x="77" y="156"/>
                  </a:cubicBezTo>
                  <a:cubicBezTo>
                    <a:pt x="78" y="157"/>
                    <a:pt x="78" y="157"/>
                    <a:pt x="78" y="157"/>
                  </a:cubicBezTo>
                  <a:cubicBezTo>
                    <a:pt x="78" y="157"/>
                    <a:pt x="79" y="158"/>
                    <a:pt x="79" y="158"/>
                  </a:cubicBezTo>
                  <a:cubicBezTo>
                    <a:pt x="80" y="158"/>
                    <a:pt x="80" y="157"/>
                    <a:pt x="80" y="157"/>
                  </a:cubicBezTo>
                  <a:cubicBezTo>
                    <a:pt x="81" y="157"/>
                    <a:pt x="81" y="157"/>
                    <a:pt x="81" y="156"/>
                  </a:cubicBezTo>
                  <a:cubicBezTo>
                    <a:pt x="81" y="156"/>
                    <a:pt x="81" y="153"/>
                    <a:pt x="81" y="151"/>
                  </a:cubicBezTo>
                  <a:cubicBezTo>
                    <a:pt x="82" y="151"/>
                    <a:pt x="84" y="151"/>
                    <a:pt x="85" y="151"/>
                  </a:cubicBezTo>
                  <a:cubicBezTo>
                    <a:pt x="85" y="153"/>
                    <a:pt x="85" y="155"/>
                    <a:pt x="86" y="156"/>
                  </a:cubicBezTo>
                  <a:cubicBezTo>
                    <a:pt x="86" y="156"/>
                    <a:pt x="86" y="157"/>
                    <a:pt x="86" y="157"/>
                  </a:cubicBezTo>
                  <a:cubicBezTo>
                    <a:pt x="87" y="157"/>
                    <a:pt x="87" y="157"/>
                    <a:pt x="87" y="157"/>
                  </a:cubicBezTo>
                  <a:cubicBezTo>
                    <a:pt x="88" y="157"/>
                    <a:pt x="88" y="157"/>
                    <a:pt x="89" y="157"/>
                  </a:cubicBezTo>
                  <a:cubicBezTo>
                    <a:pt x="89" y="156"/>
                    <a:pt x="89" y="156"/>
                    <a:pt x="89" y="155"/>
                  </a:cubicBezTo>
                  <a:cubicBezTo>
                    <a:pt x="89" y="155"/>
                    <a:pt x="89" y="153"/>
                    <a:pt x="89" y="151"/>
                  </a:cubicBezTo>
                  <a:cubicBezTo>
                    <a:pt x="90" y="150"/>
                    <a:pt x="91" y="150"/>
                    <a:pt x="92" y="150"/>
                  </a:cubicBezTo>
                  <a:cubicBezTo>
                    <a:pt x="93" y="152"/>
                    <a:pt x="93" y="154"/>
                    <a:pt x="94" y="155"/>
                  </a:cubicBezTo>
                  <a:cubicBezTo>
                    <a:pt x="94" y="155"/>
                    <a:pt x="94" y="155"/>
                    <a:pt x="94" y="156"/>
                  </a:cubicBezTo>
                  <a:cubicBezTo>
                    <a:pt x="95" y="156"/>
                    <a:pt x="95" y="156"/>
                    <a:pt x="96" y="156"/>
                  </a:cubicBezTo>
                  <a:cubicBezTo>
                    <a:pt x="96" y="156"/>
                    <a:pt x="96" y="156"/>
                    <a:pt x="97" y="155"/>
                  </a:cubicBezTo>
                  <a:cubicBezTo>
                    <a:pt x="97" y="155"/>
                    <a:pt x="97" y="155"/>
                    <a:pt x="97" y="154"/>
                  </a:cubicBezTo>
                  <a:cubicBezTo>
                    <a:pt x="97" y="154"/>
                    <a:pt x="97" y="151"/>
                    <a:pt x="96" y="149"/>
                  </a:cubicBezTo>
                  <a:cubicBezTo>
                    <a:pt x="97" y="149"/>
                    <a:pt x="98" y="149"/>
                    <a:pt x="100" y="148"/>
                  </a:cubicBezTo>
                  <a:cubicBezTo>
                    <a:pt x="100" y="150"/>
                    <a:pt x="101" y="152"/>
                    <a:pt x="101" y="153"/>
                  </a:cubicBezTo>
                  <a:cubicBezTo>
                    <a:pt x="102" y="153"/>
                    <a:pt x="102" y="154"/>
                    <a:pt x="102" y="154"/>
                  </a:cubicBezTo>
                  <a:cubicBezTo>
                    <a:pt x="103" y="154"/>
                    <a:pt x="103" y="154"/>
                    <a:pt x="104" y="154"/>
                  </a:cubicBezTo>
                  <a:cubicBezTo>
                    <a:pt x="104" y="154"/>
                    <a:pt x="104" y="153"/>
                    <a:pt x="105" y="153"/>
                  </a:cubicBezTo>
                  <a:cubicBezTo>
                    <a:pt x="105" y="153"/>
                    <a:pt x="105" y="152"/>
                    <a:pt x="105" y="152"/>
                  </a:cubicBezTo>
                  <a:cubicBezTo>
                    <a:pt x="105" y="151"/>
                    <a:pt x="104" y="149"/>
                    <a:pt x="104" y="147"/>
                  </a:cubicBezTo>
                  <a:cubicBezTo>
                    <a:pt x="105" y="147"/>
                    <a:pt x="106" y="146"/>
                    <a:pt x="107" y="146"/>
                  </a:cubicBezTo>
                  <a:cubicBezTo>
                    <a:pt x="108" y="148"/>
                    <a:pt x="109" y="150"/>
                    <a:pt x="109" y="150"/>
                  </a:cubicBezTo>
                  <a:cubicBezTo>
                    <a:pt x="109" y="150"/>
                    <a:pt x="110" y="151"/>
                    <a:pt x="110" y="151"/>
                  </a:cubicBezTo>
                  <a:cubicBezTo>
                    <a:pt x="110" y="151"/>
                    <a:pt x="111" y="151"/>
                    <a:pt x="111" y="151"/>
                  </a:cubicBezTo>
                  <a:cubicBezTo>
                    <a:pt x="112" y="151"/>
                    <a:pt x="112" y="150"/>
                    <a:pt x="112" y="150"/>
                  </a:cubicBezTo>
                  <a:cubicBezTo>
                    <a:pt x="112" y="150"/>
                    <a:pt x="112" y="149"/>
                    <a:pt x="112" y="149"/>
                  </a:cubicBezTo>
                  <a:cubicBezTo>
                    <a:pt x="112" y="148"/>
                    <a:pt x="111" y="146"/>
                    <a:pt x="111" y="144"/>
                  </a:cubicBezTo>
                  <a:cubicBezTo>
                    <a:pt x="112" y="144"/>
                    <a:pt x="113" y="143"/>
                    <a:pt x="114" y="143"/>
                  </a:cubicBezTo>
                  <a:cubicBezTo>
                    <a:pt x="115" y="144"/>
                    <a:pt x="116" y="146"/>
                    <a:pt x="116" y="147"/>
                  </a:cubicBezTo>
                  <a:cubicBezTo>
                    <a:pt x="117" y="147"/>
                    <a:pt x="117" y="147"/>
                    <a:pt x="117" y="147"/>
                  </a:cubicBezTo>
                  <a:cubicBezTo>
                    <a:pt x="118" y="147"/>
                    <a:pt x="118" y="147"/>
                    <a:pt x="119" y="147"/>
                  </a:cubicBezTo>
                  <a:cubicBezTo>
                    <a:pt x="119" y="147"/>
                    <a:pt x="119" y="146"/>
                    <a:pt x="119" y="146"/>
                  </a:cubicBezTo>
                  <a:cubicBezTo>
                    <a:pt x="120" y="146"/>
                    <a:pt x="120" y="145"/>
                    <a:pt x="119" y="145"/>
                  </a:cubicBezTo>
                  <a:cubicBezTo>
                    <a:pt x="119" y="145"/>
                    <a:pt x="118" y="142"/>
                    <a:pt x="117" y="140"/>
                  </a:cubicBezTo>
                  <a:cubicBezTo>
                    <a:pt x="118" y="140"/>
                    <a:pt x="119" y="139"/>
                    <a:pt x="120" y="139"/>
                  </a:cubicBezTo>
                  <a:cubicBezTo>
                    <a:pt x="121" y="140"/>
                    <a:pt x="123" y="142"/>
                    <a:pt x="123" y="142"/>
                  </a:cubicBezTo>
                  <a:cubicBezTo>
                    <a:pt x="124" y="143"/>
                    <a:pt x="124" y="143"/>
                    <a:pt x="124" y="143"/>
                  </a:cubicBezTo>
                  <a:cubicBezTo>
                    <a:pt x="125" y="143"/>
                    <a:pt x="125" y="143"/>
                    <a:pt x="126" y="143"/>
                  </a:cubicBezTo>
                  <a:cubicBezTo>
                    <a:pt x="126" y="142"/>
                    <a:pt x="126" y="142"/>
                    <a:pt x="126" y="142"/>
                  </a:cubicBezTo>
                  <a:cubicBezTo>
                    <a:pt x="126" y="141"/>
                    <a:pt x="126" y="141"/>
                    <a:pt x="126" y="140"/>
                  </a:cubicBezTo>
                  <a:cubicBezTo>
                    <a:pt x="126" y="140"/>
                    <a:pt x="125" y="138"/>
                    <a:pt x="124" y="136"/>
                  </a:cubicBezTo>
                  <a:cubicBezTo>
                    <a:pt x="124" y="135"/>
                    <a:pt x="125" y="135"/>
                    <a:pt x="126" y="134"/>
                  </a:cubicBezTo>
                  <a:cubicBezTo>
                    <a:pt x="128" y="135"/>
                    <a:pt x="129" y="137"/>
                    <a:pt x="130" y="137"/>
                  </a:cubicBezTo>
                  <a:cubicBezTo>
                    <a:pt x="130" y="138"/>
                    <a:pt x="130" y="138"/>
                    <a:pt x="131" y="138"/>
                  </a:cubicBezTo>
                  <a:cubicBezTo>
                    <a:pt x="131" y="138"/>
                    <a:pt x="132" y="138"/>
                    <a:pt x="132" y="137"/>
                  </a:cubicBezTo>
                  <a:cubicBezTo>
                    <a:pt x="132" y="137"/>
                    <a:pt x="133" y="137"/>
                    <a:pt x="133" y="136"/>
                  </a:cubicBezTo>
                  <a:cubicBezTo>
                    <a:pt x="133" y="136"/>
                    <a:pt x="133" y="135"/>
                    <a:pt x="132" y="135"/>
                  </a:cubicBezTo>
                  <a:cubicBezTo>
                    <a:pt x="132" y="135"/>
                    <a:pt x="131" y="133"/>
                    <a:pt x="129" y="131"/>
                  </a:cubicBezTo>
                  <a:cubicBezTo>
                    <a:pt x="130" y="130"/>
                    <a:pt x="131" y="130"/>
                    <a:pt x="132" y="129"/>
                  </a:cubicBezTo>
                  <a:cubicBezTo>
                    <a:pt x="133" y="130"/>
                    <a:pt x="135" y="131"/>
                    <a:pt x="136" y="132"/>
                  </a:cubicBezTo>
                  <a:cubicBezTo>
                    <a:pt x="136" y="132"/>
                    <a:pt x="136" y="132"/>
                    <a:pt x="137" y="132"/>
                  </a:cubicBezTo>
                  <a:cubicBezTo>
                    <a:pt x="137" y="132"/>
                    <a:pt x="138" y="132"/>
                    <a:pt x="138" y="131"/>
                  </a:cubicBezTo>
                  <a:cubicBezTo>
                    <a:pt x="138" y="131"/>
                    <a:pt x="138" y="131"/>
                    <a:pt x="138" y="130"/>
                  </a:cubicBezTo>
                  <a:cubicBezTo>
                    <a:pt x="138" y="130"/>
                    <a:pt x="138" y="130"/>
                    <a:pt x="138" y="129"/>
                  </a:cubicBezTo>
                  <a:cubicBezTo>
                    <a:pt x="138" y="129"/>
                    <a:pt x="136" y="127"/>
                    <a:pt x="135" y="126"/>
                  </a:cubicBezTo>
                  <a:cubicBezTo>
                    <a:pt x="135" y="125"/>
                    <a:pt x="136" y="124"/>
                    <a:pt x="137" y="123"/>
                  </a:cubicBezTo>
                  <a:cubicBezTo>
                    <a:pt x="138" y="124"/>
                    <a:pt x="140" y="125"/>
                    <a:pt x="141" y="126"/>
                  </a:cubicBezTo>
                  <a:cubicBezTo>
                    <a:pt x="141" y="126"/>
                    <a:pt x="142" y="126"/>
                    <a:pt x="142" y="126"/>
                  </a:cubicBezTo>
                  <a:cubicBezTo>
                    <a:pt x="142" y="126"/>
                    <a:pt x="143" y="125"/>
                    <a:pt x="143" y="125"/>
                  </a:cubicBezTo>
                  <a:cubicBezTo>
                    <a:pt x="143" y="125"/>
                    <a:pt x="143" y="124"/>
                    <a:pt x="143" y="124"/>
                  </a:cubicBezTo>
                  <a:cubicBezTo>
                    <a:pt x="143" y="123"/>
                    <a:pt x="143" y="123"/>
                    <a:pt x="143" y="123"/>
                  </a:cubicBezTo>
                  <a:cubicBezTo>
                    <a:pt x="142" y="122"/>
                    <a:pt x="141" y="121"/>
                    <a:pt x="139" y="120"/>
                  </a:cubicBezTo>
                  <a:cubicBezTo>
                    <a:pt x="140" y="119"/>
                    <a:pt x="140" y="118"/>
                    <a:pt x="141" y="117"/>
                  </a:cubicBezTo>
                  <a:cubicBezTo>
                    <a:pt x="143" y="118"/>
                    <a:pt x="145" y="119"/>
                    <a:pt x="145" y="119"/>
                  </a:cubicBezTo>
                  <a:cubicBezTo>
                    <a:pt x="146" y="119"/>
                    <a:pt x="146" y="119"/>
                    <a:pt x="147" y="119"/>
                  </a:cubicBezTo>
                  <a:cubicBezTo>
                    <a:pt x="147" y="119"/>
                    <a:pt x="147" y="118"/>
                    <a:pt x="148" y="118"/>
                  </a:cubicBezTo>
                  <a:cubicBezTo>
                    <a:pt x="148" y="118"/>
                    <a:pt x="148" y="117"/>
                    <a:pt x="148" y="117"/>
                  </a:cubicBezTo>
                  <a:cubicBezTo>
                    <a:pt x="148" y="117"/>
                    <a:pt x="147" y="116"/>
                    <a:pt x="147" y="116"/>
                  </a:cubicBezTo>
                  <a:cubicBezTo>
                    <a:pt x="147" y="116"/>
                    <a:pt x="145" y="114"/>
                    <a:pt x="143" y="113"/>
                  </a:cubicBezTo>
                  <a:cubicBezTo>
                    <a:pt x="144" y="112"/>
                    <a:pt x="144" y="111"/>
                    <a:pt x="145" y="110"/>
                  </a:cubicBezTo>
                  <a:cubicBezTo>
                    <a:pt x="147" y="111"/>
                    <a:pt x="149" y="111"/>
                    <a:pt x="149" y="112"/>
                  </a:cubicBezTo>
                  <a:cubicBezTo>
                    <a:pt x="150" y="112"/>
                    <a:pt x="150" y="112"/>
                    <a:pt x="150" y="112"/>
                  </a:cubicBezTo>
                  <a:cubicBezTo>
                    <a:pt x="151" y="111"/>
                    <a:pt x="151" y="111"/>
                    <a:pt x="151" y="111"/>
                  </a:cubicBezTo>
                  <a:cubicBezTo>
                    <a:pt x="151" y="110"/>
                    <a:pt x="152" y="110"/>
                    <a:pt x="151" y="110"/>
                  </a:cubicBezTo>
                  <a:cubicBezTo>
                    <a:pt x="151" y="109"/>
                    <a:pt x="151" y="109"/>
                    <a:pt x="151" y="109"/>
                  </a:cubicBezTo>
                  <a:cubicBezTo>
                    <a:pt x="150" y="108"/>
                    <a:pt x="148" y="107"/>
                    <a:pt x="146" y="106"/>
                  </a:cubicBezTo>
                  <a:cubicBezTo>
                    <a:pt x="147" y="105"/>
                    <a:pt x="147" y="104"/>
                    <a:pt x="148" y="103"/>
                  </a:cubicBezTo>
                  <a:cubicBezTo>
                    <a:pt x="150" y="104"/>
                    <a:pt x="152" y="104"/>
                    <a:pt x="152" y="104"/>
                  </a:cubicBezTo>
                  <a:cubicBezTo>
                    <a:pt x="153" y="104"/>
                    <a:pt x="153" y="104"/>
                    <a:pt x="153" y="104"/>
                  </a:cubicBezTo>
                  <a:cubicBezTo>
                    <a:pt x="154" y="104"/>
                    <a:pt x="154" y="103"/>
                    <a:pt x="154" y="103"/>
                  </a:cubicBezTo>
                  <a:cubicBezTo>
                    <a:pt x="154" y="103"/>
                    <a:pt x="154" y="102"/>
                    <a:pt x="154" y="102"/>
                  </a:cubicBezTo>
                  <a:cubicBezTo>
                    <a:pt x="154" y="101"/>
                    <a:pt x="154" y="101"/>
                    <a:pt x="153" y="101"/>
                  </a:cubicBezTo>
                  <a:cubicBezTo>
                    <a:pt x="153" y="101"/>
                    <a:pt x="151" y="100"/>
                    <a:pt x="149" y="99"/>
                  </a:cubicBezTo>
                  <a:cubicBezTo>
                    <a:pt x="149" y="98"/>
                    <a:pt x="149" y="97"/>
                    <a:pt x="150" y="96"/>
                  </a:cubicBezTo>
                  <a:cubicBezTo>
                    <a:pt x="152" y="96"/>
                    <a:pt x="154" y="96"/>
                    <a:pt x="155" y="96"/>
                  </a:cubicBezTo>
                  <a:cubicBezTo>
                    <a:pt x="155" y="96"/>
                    <a:pt x="155" y="96"/>
                    <a:pt x="156" y="96"/>
                  </a:cubicBezTo>
                  <a:cubicBezTo>
                    <a:pt x="156" y="96"/>
                    <a:pt x="156" y="95"/>
                    <a:pt x="156" y="95"/>
                  </a:cubicBezTo>
                  <a:cubicBezTo>
                    <a:pt x="156" y="95"/>
                    <a:pt x="156" y="94"/>
                    <a:pt x="156" y="94"/>
                  </a:cubicBezTo>
                  <a:cubicBezTo>
                    <a:pt x="156" y="93"/>
                    <a:pt x="156" y="93"/>
                    <a:pt x="155" y="93"/>
                  </a:cubicBezTo>
                  <a:cubicBezTo>
                    <a:pt x="155" y="93"/>
                    <a:pt x="153" y="92"/>
                    <a:pt x="151" y="92"/>
                  </a:cubicBezTo>
                  <a:cubicBezTo>
                    <a:pt x="151" y="90"/>
                    <a:pt x="151" y="89"/>
                    <a:pt x="151" y="88"/>
                  </a:cubicBezTo>
                  <a:cubicBezTo>
                    <a:pt x="153" y="88"/>
                    <a:pt x="156" y="88"/>
                    <a:pt x="156" y="88"/>
                  </a:cubicBezTo>
                  <a:cubicBezTo>
                    <a:pt x="156" y="88"/>
                    <a:pt x="157" y="88"/>
                    <a:pt x="157" y="88"/>
                  </a:cubicBezTo>
                  <a:cubicBezTo>
                    <a:pt x="157" y="88"/>
                    <a:pt x="158" y="87"/>
                    <a:pt x="158" y="87"/>
                  </a:cubicBezTo>
                  <a:cubicBezTo>
                    <a:pt x="158" y="86"/>
                    <a:pt x="158" y="86"/>
                    <a:pt x="157" y="86"/>
                  </a:cubicBezTo>
                  <a:cubicBezTo>
                    <a:pt x="157" y="85"/>
                    <a:pt x="157" y="85"/>
                    <a:pt x="156" y="85"/>
                  </a:cubicBezTo>
                  <a:cubicBezTo>
                    <a:pt x="156" y="85"/>
                    <a:pt x="154" y="84"/>
                    <a:pt x="152" y="84"/>
                  </a:cubicBezTo>
                  <a:cubicBezTo>
                    <a:pt x="152" y="83"/>
                    <a:pt x="152" y="82"/>
                    <a:pt x="152" y="81"/>
                  </a:cubicBezTo>
                  <a:cubicBezTo>
                    <a:pt x="154" y="81"/>
                    <a:pt x="156" y="80"/>
                    <a:pt x="157" y="80"/>
                  </a:cubicBezTo>
                  <a:close/>
                  <a:moveTo>
                    <a:pt x="79" y="142"/>
                  </a:moveTo>
                  <a:cubicBezTo>
                    <a:pt x="44" y="142"/>
                    <a:pt x="16" y="113"/>
                    <a:pt x="16" y="79"/>
                  </a:cubicBezTo>
                  <a:cubicBezTo>
                    <a:pt x="16" y="44"/>
                    <a:pt x="44" y="16"/>
                    <a:pt x="79" y="16"/>
                  </a:cubicBezTo>
                  <a:cubicBezTo>
                    <a:pt x="114" y="16"/>
                    <a:pt x="142" y="44"/>
                    <a:pt x="142" y="79"/>
                  </a:cubicBezTo>
                  <a:cubicBezTo>
                    <a:pt x="142" y="113"/>
                    <a:pt x="114" y="142"/>
                    <a:pt x="79" y="142"/>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4" name="Freeform 909">
              <a:extLst>
                <a:ext uri="{FF2B5EF4-FFF2-40B4-BE49-F238E27FC236}">
                  <a16:creationId xmlns:a16="http://schemas.microsoft.com/office/drawing/2014/main" id="{8BFCCB9D-5DEA-457D-95CC-76CD9A6BB5B2}"/>
                </a:ext>
              </a:extLst>
            </p:cNvPr>
            <p:cNvSpPr>
              <a:spLocks noEditPoints="1"/>
            </p:cNvSpPr>
            <p:nvPr/>
          </p:nvSpPr>
          <p:spPr bwMode="auto">
            <a:xfrm>
              <a:off x="2732908" y="3793206"/>
              <a:ext cx="200574" cy="147592"/>
            </a:xfrm>
            <a:custGeom>
              <a:avLst/>
              <a:gdLst>
                <a:gd name="T0" fmla="*/ 309 w 320"/>
                <a:gd name="T1" fmla="*/ 235 h 235"/>
                <a:gd name="T2" fmla="*/ 10 w 320"/>
                <a:gd name="T3" fmla="*/ 235 h 235"/>
                <a:gd name="T4" fmla="*/ 0 w 320"/>
                <a:gd name="T5" fmla="*/ 224 h 235"/>
                <a:gd name="T6" fmla="*/ 0 w 320"/>
                <a:gd name="T7" fmla="*/ 11 h 235"/>
                <a:gd name="T8" fmla="*/ 10 w 320"/>
                <a:gd name="T9" fmla="*/ 0 h 235"/>
                <a:gd name="T10" fmla="*/ 96 w 320"/>
                <a:gd name="T11" fmla="*/ 0 h 235"/>
                <a:gd name="T12" fmla="*/ 105 w 320"/>
                <a:gd name="T13" fmla="*/ 5 h 235"/>
                <a:gd name="T14" fmla="*/ 123 w 320"/>
                <a:gd name="T15" fmla="*/ 32 h 235"/>
                <a:gd name="T16" fmla="*/ 309 w 320"/>
                <a:gd name="T17" fmla="*/ 32 h 235"/>
                <a:gd name="T18" fmla="*/ 320 w 320"/>
                <a:gd name="T19" fmla="*/ 43 h 235"/>
                <a:gd name="T20" fmla="*/ 320 w 320"/>
                <a:gd name="T21" fmla="*/ 224 h 235"/>
                <a:gd name="T22" fmla="*/ 309 w 320"/>
                <a:gd name="T23" fmla="*/ 235 h 235"/>
                <a:gd name="T24" fmla="*/ 21 w 320"/>
                <a:gd name="T25" fmla="*/ 214 h 235"/>
                <a:gd name="T26" fmla="*/ 298 w 320"/>
                <a:gd name="T27" fmla="*/ 214 h 235"/>
                <a:gd name="T28" fmla="*/ 298 w 320"/>
                <a:gd name="T29" fmla="*/ 54 h 235"/>
                <a:gd name="T30" fmla="*/ 117 w 320"/>
                <a:gd name="T31" fmla="*/ 54 h 235"/>
                <a:gd name="T32" fmla="*/ 108 w 320"/>
                <a:gd name="T33" fmla="*/ 49 h 235"/>
                <a:gd name="T34" fmla="*/ 90 w 320"/>
                <a:gd name="T35" fmla="*/ 22 h 235"/>
                <a:gd name="T36" fmla="*/ 21 w 320"/>
                <a:gd name="T37" fmla="*/ 22 h 235"/>
                <a:gd name="T38" fmla="*/ 21 w 320"/>
                <a:gd name="T3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235">
                  <a:moveTo>
                    <a:pt x="309" y="235"/>
                  </a:moveTo>
                  <a:cubicBezTo>
                    <a:pt x="10" y="235"/>
                    <a:pt x="10" y="235"/>
                    <a:pt x="10" y="235"/>
                  </a:cubicBezTo>
                  <a:cubicBezTo>
                    <a:pt x="4" y="235"/>
                    <a:pt x="0" y="230"/>
                    <a:pt x="0" y="224"/>
                  </a:cubicBezTo>
                  <a:cubicBezTo>
                    <a:pt x="0" y="11"/>
                    <a:pt x="0" y="11"/>
                    <a:pt x="0" y="11"/>
                  </a:cubicBezTo>
                  <a:cubicBezTo>
                    <a:pt x="0" y="5"/>
                    <a:pt x="4" y="0"/>
                    <a:pt x="10" y="0"/>
                  </a:cubicBezTo>
                  <a:cubicBezTo>
                    <a:pt x="96" y="0"/>
                    <a:pt x="96" y="0"/>
                    <a:pt x="96" y="0"/>
                  </a:cubicBezTo>
                  <a:cubicBezTo>
                    <a:pt x="99" y="0"/>
                    <a:pt x="103" y="2"/>
                    <a:pt x="105" y="5"/>
                  </a:cubicBezTo>
                  <a:cubicBezTo>
                    <a:pt x="123" y="32"/>
                    <a:pt x="123" y="32"/>
                    <a:pt x="123" y="32"/>
                  </a:cubicBezTo>
                  <a:cubicBezTo>
                    <a:pt x="309" y="32"/>
                    <a:pt x="309" y="32"/>
                    <a:pt x="309" y="32"/>
                  </a:cubicBezTo>
                  <a:cubicBezTo>
                    <a:pt x="315" y="32"/>
                    <a:pt x="320" y="37"/>
                    <a:pt x="320" y="43"/>
                  </a:cubicBezTo>
                  <a:cubicBezTo>
                    <a:pt x="320" y="224"/>
                    <a:pt x="320" y="224"/>
                    <a:pt x="320" y="224"/>
                  </a:cubicBezTo>
                  <a:cubicBezTo>
                    <a:pt x="320" y="230"/>
                    <a:pt x="315" y="235"/>
                    <a:pt x="309" y="235"/>
                  </a:cubicBezTo>
                  <a:close/>
                  <a:moveTo>
                    <a:pt x="21" y="214"/>
                  </a:moveTo>
                  <a:cubicBezTo>
                    <a:pt x="298" y="214"/>
                    <a:pt x="298" y="214"/>
                    <a:pt x="298" y="214"/>
                  </a:cubicBezTo>
                  <a:cubicBezTo>
                    <a:pt x="298" y="54"/>
                    <a:pt x="298" y="54"/>
                    <a:pt x="298" y="54"/>
                  </a:cubicBezTo>
                  <a:cubicBezTo>
                    <a:pt x="117" y="54"/>
                    <a:pt x="117" y="54"/>
                    <a:pt x="117" y="54"/>
                  </a:cubicBezTo>
                  <a:cubicBezTo>
                    <a:pt x="113" y="54"/>
                    <a:pt x="110" y="52"/>
                    <a:pt x="108" y="49"/>
                  </a:cubicBezTo>
                  <a:cubicBezTo>
                    <a:pt x="90" y="22"/>
                    <a:pt x="90" y="22"/>
                    <a:pt x="90" y="22"/>
                  </a:cubicBezTo>
                  <a:cubicBezTo>
                    <a:pt x="21" y="22"/>
                    <a:pt x="21" y="22"/>
                    <a:pt x="21" y="22"/>
                  </a:cubicBezTo>
                  <a:lnTo>
                    <a:pt x="21" y="214"/>
                  </a:lnTo>
                  <a:close/>
                </a:path>
              </a:pathLst>
            </a:custGeom>
            <a:solidFill>
              <a:srgbClr val="009A4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195" name="Group 194">
            <a:extLst>
              <a:ext uri="{FF2B5EF4-FFF2-40B4-BE49-F238E27FC236}">
                <a16:creationId xmlns:a16="http://schemas.microsoft.com/office/drawing/2014/main" id="{A03564AC-65FB-470E-BA97-C0382B67361A}"/>
              </a:ext>
            </a:extLst>
          </p:cNvPr>
          <p:cNvGrpSpPr/>
          <p:nvPr/>
        </p:nvGrpSpPr>
        <p:grpSpPr>
          <a:xfrm>
            <a:off x="1814569" y="5823997"/>
            <a:ext cx="508292" cy="506982"/>
            <a:chOff x="2344553" y="4054337"/>
            <a:chExt cx="508292" cy="506982"/>
          </a:xfrm>
        </p:grpSpPr>
        <p:sp>
          <p:nvSpPr>
            <p:cNvPr id="196" name="Freeform 21">
              <a:extLst>
                <a:ext uri="{FF2B5EF4-FFF2-40B4-BE49-F238E27FC236}">
                  <a16:creationId xmlns:a16="http://schemas.microsoft.com/office/drawing/2014/main" id="{C8087681-83E3-4D81-A5CD-B736D3E038C3}"/>
                </a:ext>
              </a:extLst>
            </p:cNvPr>
            <p:cNvSpPr>
              <a:spLocks/>
            </p:cNvSpPr>
            <p:nvPr/>
          </p:nvSpPr>
          <p:spPr bwMode="auto">
            <a:xfrm>
              <a:off x="2344553" y="4054337"/>
              <a:ext cx="508292" cy="506982"/>
            </a:xfrm>
            <a:custGeom>
              <a:avLst/>
              <a:gdLst>
                <a:gd name="T0" fmla="*/ 128 w 174"/>
                <a:gd name="T1" fmla="*/ 162 h 174"/>
                <a:gd name="T2" fmla="*/ 136 w 174"/>
                <a:gd name="T3" fmla="*/ 155 h 174"/>
                <a:gd name="T4" fmla="*/ 141 w 174"/>
                <a:gd name="T5" fmla="*/ 152 h 174"/>
                <a:gd name="T6" fmla="*/ 149 w 174"/>
                <a:gd name="T7" fmla="*/ 146 h 174"/>
                <a:gd name="T8" fmla="*/ 145 w 174"/>
                <a:gd name="T9" fmla="*/ 135 h 174"/>
                <a:gd name="T10" fmla="*/ 160 w 174"/>
                <a:gd name="T11" fmla="*/ 133 h 174"/>
                <a:gd name="T12" fmla="*/ 155 w 174"/>
                <a:gd name="T13" fmla="*/ 119 h 174"/>
                <a:gd name="T14" fmla="*/ 167 w 174"/>
                <a:gd name="T15" fmla="*/ 118 h 174"/>
                <a:gd name="T16" fmla="*/ 168 w 174"/>
                <a:gd name="T17" fmla="*/ 108 h 174"/>
                <a:gd name="T18" fmla="*/ 170 w 174"/>
                <a:gd name="T19" fmla="*/ 102 h 174"/>
                <a:gd name="T20" fmla="*/ 173 w 174"/>
                <a:gd name="T21" fmla="*/ 93 h 174"/>
                <a:gd name="T22" fmla="*/ 162 w 174"/>
                <a:gd name="T23" fmla="*/ 86 h 174"/>
                <a:gd name="T24" fmla="*/ 173 w 174"/>
                <a:gd name="T25" fmla="*/ 75 h 174"/>
                <a:gd name="T26" fmla="*/ 160 w 174"/>
                <a:gd name="T27" fmla="*/ 68 h 174"/>
                <a:gd name="T28" fmla="*/ 168 w 174"/>
                <a:gd name="T29" fmla="*/ 59 h 174"/>
                <a:gd name="T30" fmla="*/ 163 w 174"/>
                <a:gd name="T31" fmla="*/ 51 h 174"/>
                <a:gd name="T32" fmla="*/ 160 w 174"/>
                <a:gd name="T33" fmla="*/ 45 h 174"/>
                <a:gd name="T34" fmla="*/ 156 w 174"/>
                <a:gd name="T35" fmla="*/ 36 h 174"/>
                <a:gd name="T36" fmla="*/ 144 w 174"/>
                <a:gd name="T37" fmla="*/ 38 h 174"/>
                <a:gd name="T38" fmla="*/ 145 w 174"/>
                <a:gd name="T39" fmla="*/ 23 h 174"/>
                <a:gd name="T40" fmla="*/ 131 w 174"/>
                <a:gd name="T41" fmla="*/ 25 h 174"/>
                <a:gd name="T42" fmla="*/ 131 w 174"/>
                <a:gd name="T43" fmla="*/ 13 h 174"/>
                <a:gd name="T44" fmla="*/ 122 w 174"/>
                <a:gd name="T45" fmla="*/ 10 h 174"/>
                <a:gd name="T46" fmla="*/ 116 w 174"/>
                <a:gd name="T47" fmla="*/ 8 h 174"/>
                <a:gd name="T48" fmla="*/ 107 w 174"/>
                <a:gd name="T49" fmla="*/ 3 h 174"/>
                <a:gd name="T50" fmla="*/ 99 w 174"/>
                <a:gd name="T51" fmla="*/ 12 h 174"/>
                <a:gd name="T52" fmla="*/ 91 w 174"/>
                <a:gd name="T53" fmla="*/ 0 h 174"/>
                <a:gd name="T54" fmla="*/ 81 w 174"/>
                <a:gd name="T55" fmla="*/ 12 h 174"/>
                <a:gd name="T56" fmla="*/ 74 w 174"/>
                <a:gd name="T57" fmla="*/ 2 h 174"/>
                <a:gd name="T58" fmla="*/ 65 w 174"/>
                <a:gd name="T59" fmla="*/ 6 h 174"/>
                <a:gd name="T60" fmla="*/ 59 w 174"/>
                <a:gd name="T61" fmla="*/ 7 h 174"/>
                <a:gd name="T62" fmla="*/ 49 w 174"/>
                <a:gd name="T63" fmla="*/ 10 h 174"/>
                <a:gd name="T64" fmla="*/ 49 w 174"/>
                <a:gd name="T65" fmla="*/ 22 h 174"/>
                <a:gd name="T66" fmla="*/ 34 w 174"/>
                <a:gd name="T67" fmla="*/ 18 h 174"/>
                <a:gd name="T68" fmla="*/ 34 w 174"/>
                <a:gd name="T69" fmla="*/ 33 h 174"/>
                <a:gd name="T70" fmla="*/ 22 w 174"/>
                <a:gd name="T71" fmla="*/ 30 h 174"/>
                <a:gd name="T72" fmla="*/ 18 w 174"/>
                <a:gd name="T73" fmla="*/ 39 h 174"/>
                <a:gd name="T74" fmla="*/ 14 w 174"/>
                <a:gd name="T75" fmla="*/ 44 h 174"/>
                <a:gd name="T76" fmla="*/ 8 w 174"/>
                <a:gd name="T77" fmla="*/ 52 h 174"/>
                <a:gd name="T78" fmla="*/ 16 w 174"/>
                <a:gd name="T79" fmla="*/ 62 h 174"/>
                <a:gd name="T80" fmla="*/ 2 w 174"/>
                <a:gd name="T81" fmla="*/ 68 h 174"/>
                <a:gd name="T82" fmla="*/ 12 w 174"/>
                <a:gd name="T83" fmla="*/ 80 h 174"/>
                <a:gd name="T84" fmla="*/ 1 w 174"/>
                <a:gd name="T85" fmla="*/ 85 h 174"/>
                <a:gd name="T86" fmla="*/ 3 w 174"/>
                <a:gd name="T87" fmla="*/ 95 h 174"/>
                <a:gd name="T88" fmla="*/ 4 w 174"/>
                <a:gd name="T89" fmla="*/ 101 h 174"/>
                <a:gd name="T90" fmla="*/ 4 w 174"/>
                <a:gd name="T91" fmla="*/ 111 h 174"/>
                <a:gd name="T92" fmla="*/ 16 w 174"/>
                <a:gd name="T93" fmla="*/ 113 h 174"/>
                <a:gd name="T94" fmla="*/ 10 w 174"/>
                <a:gd name="T95" fmla="*/ 127 h 174"/>
                <a:gd name="T96" fmla="*/ 25 w 174"/>
                <a:gd name="T97" fmla="*/ 130 h 174"/>
                <a:gd name="T98" fmla="*/ 20 w 174"/>
                <a:gd name="T99" fmla="*/ 141 h 174"/>
                <a:gd name="T100" fmla="*/ 28 w 174"/>
                <a:gd name="T101" fmla="*/ 147 h 174"/>
                <a:gd name="T102" fmla="*/ 32 w 174"/>
                <a:gd name="T103" fmla="*/ 151 h 174"/>
                <a:gd name="T104" fmla="*/ 39 w 174"/>
                <a:gd name="T105" fmla="*/ 158 h 174"/>
                <a:gd name="T106" fmla="*/ 50 w 174"/>
                <a:gd name="T107" fmla="*/ 152 h 174"/>
                <a:gd name="T108" fmla="*/ 54 w 174"/>
                <a:gd name="T109" fmla="*/ 167 h 174"/>
                <a:gd name="T110" fmla="*/ 67 w 174"/>
                <a:gd name="T111" fmla="*/ 160 h 174"/>
                <a:gd name="T112" fmla="*/ 70 w 174"/>
                <a:gd name="T113" fmla="*/ 171 h 174"/>
                <a:gd name="T114" fmla="*/ 80 w 174"/>
                <a:gd name="T115" fmla="*/ 171 h 174"/>
                <a:gd name="T116" fmla="*/ 86 w 174"/>
                <a:gd name="T117" fmla="*/ 171 h 174"/>
                <a:gd name="T118" fmla="*/ 96 w 174"/>
                <a:gd name="T119" fmla="*/ 172 h 174"/>
                <a:gd name="T120" fmla="*/ 101 w 174"/>
                <a:gd name="T121" fmla="*/ 161 h 174"/>
                <a:gd name="T122" fmla="*/ 113 w 174"/>
                <a:gd name="T123" fmla="*/ 170 h 174"/>
                <a:gd name="T124" fmla="*/ 118 w 174"/>
                <a:gd name="T125" fmla="*/ 15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4" h="174">
                  <a:moveTo>
                    <a:pt x="123" y="163"/>
                  </a:moveTo>
                  <a:cubicBezTo>
                    <a:pt x="124" y="164"/>
                    <a:pt x="124" y="164"/>
                    <a:pt x="125" y="164"/>
                  </a:cubicBezTo>
                  <a:cubicBezTo>
                    <a:pt x="126" y="164"/>
                    <a:pt x="126" y="164"/>
                    <a:pt x="127" y="164"/>
                  </a:cubicBezTo>
                  <a:cubicBezTo>
                    <a:pt x="128" y="163"/>
                    <a:pt x="128" y="163"/>
                    <a:pt x="128" y="162"/>
                  </a:cubicBezTo>
                  <a:cubicBezTo>
                    <a:pt x="129" y="161"/>
                    <a:pt x="129" y="161"/>
                    <a:pt x="128" y="160"/>
                  </a:cubicBezTo>
                  <a:cubicBezTo>
                    <a:pt x="128" y="159"/>
                    <a:pt x="127" y="155"/>
                    <a:pt x="125" y="152"/>
                  </a:cubicBezTo>
                  <a:cubicBezTo>
                    <a:pt x="127" y="151"/>
                    <a:pt x="128" y="150"/>
                    <a:pt x="130" y="149"/>
                  </a:cubicBezTo>
                  <a:cubicBezTo>
                    <a:pt x="132" y="152"/>
                    <a:pt x="135" y="155"/>
                    <a:pt x="136" y="155"/>
                  </a:cubicBezTo>
                  <a:cubicBezTo>
                    <a:pt x="136" y="156"/>
                    <a:pt x="137" y="156"/>
                    <a:pt x="138" y="156"/>
                  </a:cubicBezTo>
                  <a:cubicBezTo>
                    <a:pt x="138" y="156"/>
                    <a:pt x="139" y="156"/>
                    <a:pt x="140" y="156"/>
                  </a:cubicBezTo>
                  <a:cubicBezTo>
                    <a:pt x="140" y="155"/>
                    <a:pt x="141" y="154"/>
                    <a:pt x="141" y="154"/>
                  </a:cubicBezTo>
                  <a:cubicBezTo>
                    <a:pt x="141" y="153"/>
                    <a:pt x="141" y="152"/>
                    <a:pt x="141" y="152"/>
                  </a:cubicBezTo>
                  <a:cubicBezTo>
                    <a:pt x="140" y="151"/>
                    <a:pt x="138" y="147"/>
                    <a:pt x="136" y="144"/>
                  </a:cubicBezTo>
                  <a:cubicBezTo>
                    <a:pt x="137" y="143"/>
                    <a:pt x="139" y="142"/>
                    <a:pt x="140" y="141"/>
                  </a:cubicBezTo>
                  <a:cubicBezTo>
                    <a:pt x="143" y="143"/>
                    <a:pt x="146" y="145"/>
                    <a:pt x="147" y="146"/>
                  </a:cubicBezTo>
                  <a:cubicBezTo>
                    <a:pt x="148" y="146"/>
                    <a:pt x="148" y="146"/>
                    <a:pt x="149" y="146"/>
                  </a:cubicBezTo>
                  <a:cubicBezTo>
                    <a:pt x="150" y="146"/>
                    <a:pt x="150" y="146"/>
                    <a:pt x="151" y="145"/>
                  </a:cubicBezTo>
                  <a:cubicBezTo>
                    <a:pt x="151" y="145"/>
                    <a:pt x="152" y="144"/>
                    <a:pt x="152" y="143"/>
                  </a:cubicBezTo>
                  <a:cubicBezTo>
                    <a:pt x="152" y="143"/>
                    <a:pt x="152" y="142"/>
                    <a:pt x="151" y="141"/>
                  </a:cubicBezTo>
                  <a:cubicBezTo>
                    <a:pt x="150" y="141"/>
                    <a:pt x="148" y="138"/>
                    <a:pt x="145" y="135"/>
                  </a:cubicBezTo>
                  <a:cubicBezTo>
                    <a:pt x="146" y="133"/>
                    <a:pt x="147" y="132"/>
                    <a:pt x="148" y="130"/>
                  </a:cubicBezTo>
                  <a:cubicBezTo>
                    <a:pt x="152" y="132"/>
                    <a:pt x="156" y="134"/>
                    <a:pt x="156" y="134"/>
                  </a:cubicBezTo>
                  <a:cubicBezTo>
                    <a:pt x="157" y="135"/>
                    <a:pt x="158" y="135"/>
                    <a:pt x="158" y="135"/>
                  </a:cubicBezTo>
                  <a:cubicBezTo>
                    <a:pt x="159" y="134"/>
                    <a:pt x="160" y="134"/>
                    <a:pt x="160" y="133"/>
                  </a:cubicBezTo>
                  <a:cubicBezTo>
                    <a:pt x="160" y="133"/>
                    <a:pt x="161" y="132"/>
                    <a:pt x="161" y="131"/>
                  </a:cubicBezTo>
                  <a:cubicBezTo>
                    <a:pt x="160" y="131"/>
                    <a:pt x="160" y="130"/>
                    <a:pt x="160" y="129"/>
                  </a:cubicBezTo>
                  <a:cubicBezTo>
                    <a:pt x="159" y="129"/>
                    <a:pt x="156" y="126"/>
                    <a:pt x="153" y="124"/>
                  </a:cubicBezTo>
                  <a:cubicBezTo>
                    <a:pt x="153" y="122"/>
                    <a:pt x="154" y="121"/>
                    <a:pt x="155" y="119"/>
                  </a:cubicBezTo>
                  <a:cubicBezTo>
                    <a:pt x="159" y="120"/>
                    <a:pt x="163" y="121"/>
                    <a:pt x="164" y="122"/>
                  </a:cubicBezTo>
                  <a:cubicBezTo>
                    <a:pt x="164" y="122"/>
                    <a:pt x="165" y="122"/>
                    <a:pt x="166" y="122"/>
                  </a:cubicBezTo>
                  <a:cubicBezTo>
                    <a:pt x="166" y="121"/>
                    <a:pt x="167" y="121"/>
                    <a:pt x="167" y="120"/>
                  </a:cubicBezTo>
                  <a:cubicBezTo>
                    <a:pt x="167" y="119"/>
                    <a:pt x="167" y="118"/>
                    <a:pt x="167" y="118"/>
                  </a:cubicBezTo>
                  <a:cubicBezTo>
                    <a:pt x="167" y="117"/>
                    <a:pt x="166" y="117"/>
                    <a:pt x="166" y="116"/>
                  </a:cubicBezTo>
                  <a:cubicBezTo>
                    <a:pt x="165" y="116"/>
                    <a:pt x="161" y="114"/>
                    <a:pt x="158" y="112"/>
                  </a:cubicBezTo>
                  <a:cubicBezTo>
                    <a:pt x="159" y="110"/>
                    <a:pt x="159" y="109"/>
                    <a:pt x="160" y="107"/>
                  </a:cubicBezTo>
                  <a:cubicBezTo>
                    <a:pt x="163" y="107"/>
                    <a:pt x="168" y="108"/>
                    <a:pt x="168" y="108"/>
                  </a:cubicBezTo>
                  <a:cubicBezTo>
                    <a:pt x="169" y="108"/>
                    <a:pt x="170" y="108"/>
                    <a:pt x="170" y="107"/>
                  </a:cubicBezTo>
                  <a:cubicBezTo>
                    <a:pt x="171" y="107"/>
                    <a:pt x="171" y="106"/>
                    <a:pt x="172" y="106"/>
                  </a:cubicBezTo>
                  <a:cubicBezTo>
                    <a:pt x="172" y="105"/>
                    <a:pt x="172" y="104"/>
                    <a:pt x="171" y="103"/>
                  </a:cubicBezTo>
                  <a:cubicBezTo>
                    <a:pt x="171" y="103"/>
                    <a:pt x="170" y="102"/>
                    <a:pt x="170" y="102"/>
                  </a:cubicBezTo>
                  <a:cubicBezTo>
                    <a:pt x="169" y="102"/>
                    <a:pt x="165" y="101"/>
                    <a:pt x="161" y="99"/>
                  </a:cubicBezTo>
                  <a:cubicBezTo>
                    <a:pt x="162" y="98"/>
                    <a:pt x="162" y="96"/>
                    <a:pt x="162" y="94"/>
                  </a:cubicBezTo>
                  <a:cubicBezTo>
                    <a:pt x="166" y="94"/>
                    <a:pt x="170" y="93"/>
                    <a:pt x="171" y="93"/>
                  </a:cubicBezTo>
                  <a:cubicBezTo>
                    <a:pt x="172" y="93"/>
                    <a:pt x="172" y="93"/>
                    <a:pt x="173" y="93"/>
                  </a:cubicBezTo>
                  <a:cubicBezTo>
                    <a:pt x="173" y="92"/>
                    <a:pt x="173" y="91"/>
                    <a:pt x="174" y="91"/>
                  </a:cubicBezTo>
                  <a:cubicBezTo>
                    <a:pt x="174" y="90"/>
                    <a:pt x="173" y="89"/>
                    <a:pt x="173" y="89"/>
                  </a:cubicBezTo>
                  <a:cubicBezTo>
                    <a:pt x="172" y="88"/>
                    <a:pt x="172" y="87"/>
                    <a:pt x="171" y="87"/>
                  </a:cubicBezTo>
                  <a:cubicBezTo>
                    <a:pt x="170" y="87"/>
                    <a:pt x="166" y="87"/>
                    <a:pt x="162" y="86"/>
                  </a:cubicBezTo>
                  <a:cubicBezTo>
                    <a:pt x="162" y="84"/>
                    <a:pt x="162" y="83"/>
                    <a:pt x="162" y="81"/>
                  </a:cubicBezTo>
                  <a:cubicBezTo>
                    <a:pt x="166" y="80"/>
                    <a:pt x="170" y="79"/>
                    <a:pt x="171" y="79"/>
                  </a:cubicBezTo>
                  <a:cubicBezTo>
                    <a:pt x="171" y="79"/>
                    <a:pt x="172" y="78"/>
                    <a:pt x="172" y="78"/>
                  </a:cubicBezTo>
                  <a:cubicBezTo>
                    <a:pt x="173" y="77"/>
                    <a:pt x="173" y="76"/>
                    <a:pt x="173" y="75"/>
                  </a:cubicBezTo>
                  <a:cubicBezTo>
                    <a:pt x="173" y="75"/>
                    <a:pt x="172" y="74"/>
                    <a:pt x="172" y="74"/>
                  </a:cubicBezTo>
                  <a:cubicBezTo>
                    <a:pt x="171" y="73"/>
                    <a:pt x="171" y="73"/>
                    <a:pt x="170" y="73"/>
                  </a:cubicBezTo>
                  <a:cubicBezTo>
                    <a:pt x="169" y="73"/>
                    <a:pt x="165" y="73"/>
                    <a:pt x="161" y="73"/>
                  </a:cubicBezTo>
                  <a:cubicBezTo>
                    <a:pt x="161" y="71"/>
                    <a:pt x="160" y="70"/>
                    <a:pt x="160" y="68"/>
                  </a:cubicBezTo>
                  <a:cubicBezTo>
                    <a:pt x="163" y="66"/>
                    <a:pt x="167" y="65"/>
                    <a:pt x="168" y="64"/>
                  </a:cubicBezTo>
                  <a:cubicBezTo>
                    <a:pt x="169" y="64"/>
                    <a:pt x="169" y="63"/>
                    <a:pt x="169" y="63"/>
                  </a:cubicBezTo>
                  <a:cubicBezTo>
                    <a:pt x="170" y="62"/>
                    <a:pt x="170" y="61"/>
                    <a:pt x="170" y="61"/>
                  </a:cubicBezTo>
                  <a:cubicBezTo>
                    <a:pt x="169" y="60"/>
                    <a:pt x="169" y="59"/>
                    <a:pt x="168" y="59"/>
                  </a:cubicBezTo>
                  <a:cubicBezTo>
                    <a:pt x="168" y="59"/>
                    <a:pt x="167" y="58"/>
                    <a:pt x="166" y="59"/>
                  </a:cubicBezTo>
                  <a:cubicBezTo>
                    <a:pt x="165" y="59"/>
                    <a:pt x="161" y="60"/>
                    <a:pt x="158" y="60"/>
                  </a:cubicBezTo>
                  <a:cubicBezTo>
                    <a:pt x="157" y="59"/>
                    <a:pt x="156" y="57"/>
                    <a:pt x="156" y="55"/>
                  </a:cubicBezTo>
                  <a:cubicBezTo>
                    <a:pt x="159" y="53"/>
                    <a:pt x="162" y="51"/>
                    <a:pt x="163" y="51"/>
                  </a:cubicBezTo>
                  <a:cubicBezTo>
                    <a:pt x="164" y="50"/>
                    <a:pt x="164" y="49"/>
                    <a:pt x="164" y="49"/>
                  </a:cubicBezTo>
                  <a:cubicBezTo>
                    <a:pt x="164" y="48"/>
                    <a:pt x="164" y="47"/>
                    <a:pt x="164" y="47"/>
                  </a:cubicBezTo>
                  <a:cubicBezTo>
                    <a:pt x="163" y="46"/>
                    <a:pt x="163" y="46"/>
                    <a:pt x="162" y="45"/>
                  </a:cubicBezTo>
                  <a:cubicBezTo>
                    <a:pt x="162" y="45"/>
                    <a:pt x="161" y="45"/>
                    <a:pt x="160" y="45"/>
                  </a:cubicBezTo>
                  <a:cubicBezTo>
                    <a:pt x="159" y="46"/>
                    <a:pt x="155" y="47"/>
                    <a:pt x="152" y="49"/>
                  </a:cubicBezTo>
                  <a:cubicBezTo>
                    <a:pt x="151" y="47"/>
                    <a:pt x="150" y="45"/>
                    <a:pt x="149" y="44"/>
                  </a:cubicBezTo>
                  <a:cubicBezTo>
                    <a:pt x="152" y="41"/>
                    <a:pt x="155" y="38"/>
                    <a:pt x="155" y="38"/>
                  </a:cubicBezTo>
                  <a:cubicBezTo>
                    <a:pt x="156" y="37"/>
                    <a:pt x="156" y="37"/>
                    <a:pt x="156" y="36"/>
                  </a:cubicBezTo>
                  <a:cubicBezTo>
                    <a:pt x="156" y="35"/>
                    <a:pt x="156" y="35"/>
                    <a:pt x="156" y="34"/>
                  </a:cubicBezTo>
                  <a:cubicBezTo>
                    <a:pt x="155" y="33"/>
                    <a:pt x="155" y="33"/>
                    <a:pt x="154" y="33"/>
                  </a:cubicBezTo>
                  <a:cubicBezTo>
                    <a:pt x="153" y="33"/>
                    <a:pt x="152" y="33"/>
                    <a:pt x="152" y="33"/>
                  </a:cubicBezTo>
                  <a:cubicBezTo>
                    <a:pt x="151" y="34"/>
                    <a:pt x="148" y="36"/>
                    <a:pt x="144" y="38"/>
                  </a:cubicBezTo>
                  <a:cubicBezTo>
                    <a:pt x="143" y="36"/>
                    <a:pt x="142" y="35"/>
                    <a:pt x="141" y="34"/>
                  </a:cubicBezTo>
                  <a:cubicBezTo>
                    <a:pt x="143" y="31"/>
                    <a:pt x="145" y="27"/>
                    <a:pt x="146" y="27"/>
                  </a:cubicBezTo>
                  <a:cubicBezTo>
                    <a:pt x="146" y="26"/>
                    <a:pt x="146" y="25"/>
                    <a:pt x="146" y="25"/>
                  </a:cubicBezTo>
                  <a:cubicBezTo>
                    <a:pt x="146" y="24"/>
                    <a:pt x="146" y="23"/>
                    <a:pt x="145" y="23"/>
                  </a:cubicBezTo>
                  <a:cubicBezTo>
                    <a:pt x="145" y="22"/>
                    <a:pt x="144" y="22"/>
                    <a:pt x="144" y="22"/>
                  </a:cubicBezTo>
                  <a:cubicBezTo>
                    <a:pt x="143" y="22"/>
                    <a:pt x="142" y="22"/>
                    <a:pt x="142" y="23"/>
                  </a:cubicBezTo>
                  <a:cubicBezTo>
                    <a:pt x="141" y="23"/>
                    <a:pt x="138" y="26"/>
                    <a:pt x="135" y="29"/>
                  </a:cubicBezTo>
                  <a:cubicBezTo>
                    <a:pt x="134" y="27"/>
                    <a:pt x="132" y="26"/>
                    <a:pt x="131" y="25"/>
                  </a:cubicBezTo>
                  <a:cubicBezTo>
                    <a:pt x="132" y="22"/>
                    <a:pt x="134" y="18"/>
                    <a:pt x="135" y="17"/>
                  </a:cubicBezTo>
                  <a:cubicBezTo>
                    <a:pt x="135" y="17"/>
                    <a:pt x="135" y="16"/>
                    <a:pt x="135" y="15"/>
                  </a:cubicBezTo>
                  <a:cubicBezTo>
                    <a:pt x="135" y="15"/>
                    <a:pt x="134" y="14"/>
                    <a:pt x="133" y="14"/>
                  </a:cubicBezTo>
                  <a:cubicBezTo>
                    <a:pt x="133" y="13"/>
                    <a:pt x="132" y="13"/>
                    <a:pt x="131" y="13"/>
                  </a:cubicBezTo>
                  <a:cubicBezTo>
                    <a:pt x="131" y="13"/>
                    <a:pt x="130" y="14"/>
                    <a:pt x="130" y="14"/>
                  </a:cubicBezTo>
                  <a:cubicBezTo>
                    <a:pt x="129" y="15"/>
                    <a:pt x="126" y="18"/>
                    <a:pt x="124" y="21"/>
                  </a:cubicBezTo>
                  <a:cubicBezTo>
                    <a:pt x="123" y="20"/>
                    <a:pt x="121" y="19"/>
                    <a:pt x="119" y="19"/>
                  </a:cubicBezTo>
                  <a:cubicBezTo>
                    <a:pt x="120" y="15"/>
                    <a:pt x="122" y="11"/>
                    <a:pt x="122" y="10"/>
                  </a:cubicBezTo>
                  <a:cubicBezTo>
                    <a:pt x="122" y="9"/>
                    <a:pt x="122" y="9"/>
                    <a:pt x="122" y="8"/>
                  </a:cubicBezTo>
                  <a:cubicBezTo>
                    <a:pt x="121" y="7"/>
                    <a:pt x="121" y="7"/>
                    <a:pt x="120" y="7"/>
                  </a:cubicBezTo>
                  <a:cubicBezTo>
                    <a:pt x="119" y="6"/>
                    <a:pt x="119" y="6"/>
                    <a:pt x="118" y="7"/>
                  </a:cubicBezTo>
                  <a:cubicBezTo>
                    <a:pt x="117" y="7"/>
                    <a:pt x="117" y="7"/>
                    <a:pt x="116" y="8"/>
                  </a:cubicBezTo>
                  <a:cubicBezTo>
                    <a:pt x="116" y="9"/>
                    <a:pt x="114" y="12"/>
                    <a:pt x="112" y="16"/>
                  </a:cubicBezTo>
                  <a:cubicBezTo>
                    <a:pt x="110" y="15"/>
                    <a:pt x="109" y="15"/>
                    <a:pt x="107" y="14"/>
                  </a:cubicBezTo>
                  <a:cubicBezTo>
                    <a:pt x="107" y="10"/>
                    <a:pt x="108" y="6"/>
                    <a:pt x="108" y="5"/>
                  </a:cubicBezTo>
                  <a:cubicBezTo>
                    <a:pt x="108" y="4"/>
                    <a:pt x="108" y="4"/>
                    <a:pt x="107" y="3"/>
                  </a:cubicBezTo>
                  <a:cubicBezTo>
                    <a:pt x="107" y="3"/>
                    <a:pt x="106" y="2"/>
                    <a:pt x="106" y="2"/>
                  </a:cubicBezTo>
                  <a:cubicBezTo>
                    <a:pt x="105" y="2"/>
                    <a:pt x="104" y="2"/>
                    <a:pt x="104" y="2"/>
                  </a:cubicBezTo>
                  <a:cubicBezTo>
                    <a:pt x="103" y="3"/>
                    <a:pt x="102" y="3"/>
                    <a:pt x="102" y="4"/>
                  </a:cubicBezTo>
                  <a:cubicBezTo>
                    <a:pt x="102" y="5"/>
                    <a:pt x="101" y="9"/>
                    <a:pt x="99" y="12"/>
                  </a:cubicBezTo>
                  <a:cubicBezTo>
                    <a:pt x="98" y="12"/>
                    <a:pt x="96" y="12"/>
                    <a:pt x="94" y="12"/>
                  </a:cubicBezTo>
                  <a:cubicBezTo>
                    <a:pt x="94" y="8"/>
                    <a:pt x="94" y="4"/>
                    <a:pt x="94" y="3"/>
                  </a:cubicBezTo>
                  <a:cubicBezTo>
                    <a:pt x="94" y="2"/>
                    <a:pt x="93" y="1"/>
                    <a:pt x="93" y="1"/>
                  </a:cubicBezTo>
                  <a:cubicBezTo>
                    <a:pt x="92" y="0"/>
                    <a:pt x="91" y="0"/>
                    <a:pt x="91" y="0"/>
                  </a:cubicBezTo>
                  <a:cubicBezTo>
                    <a:pt x="90" y="0"/>
                    <a:pt x="89" y="0"/>
                    <a:pt x="89" y="1"/>
                  </a:cubicBezTo>
                  <a:cubicBezTo>
                    <a:pt x="88" y="1"/>
                    <a:pt x="88" y="2"/>
                    <a:pt x="88" y="3"/>
                  </a:cubicBezTo>
                  <a:cubicBezTo>
                    <a:pt x="87" y="3"/>
                    <a:pt x="87" y="8"/>
                    <a:pt x="86" y="11"/>
                  </a:cubicBezTo>
                  <a:cubicBezTo>
                    <a:pt x="85" y="11"/>
                    <a:pt x="83" y="11"/>
                    <a:pt x="81" y="12"/>
                  </a:cubicBezTo>
                  <a:cubicBezTo>
                    <a:pt x="80" y="8"/>
                    <a:pt x="79" y="4"/>
                    <a:pt x="79" y="3"/>
                  </a:cubicBezTo>
                  <a:cubicBezTo>
                    <a:pt x="79" y="2"/>
                    <a:pt x="78" y="2"/>
                    <a:pt x="78" y="1"/>
                  </a:cubicBezTo>
                  <a:cubicBezTo>
                    <a:pt x="77" y="1"/>
                    <a:pt x="76" y="1"/>
                    <a:pt x="76" y="1"/>
                  </a:cubicBezTo>
                  <a:cubicBezTo>
                    <a:pt x="75" y="1"/>
                    <a:pt x="74" y="1"/>
                    <a:pt x="74" y="2"/>
                  </a:cubicBezTo>
                  <a:cubicBezTo>
                    <a:pt x="73" y="2"/>
                    <a:pt x="73" y="3"/>
                    <a:pt x="73" y="4"/>
                  </a:cubicBezTo>
                  <a:cubicBezTo>
                    <a:pt x="73" y="5"/>
                    <a:pt x="73" y="9"/>
                    <a:pt x="73" y="12"/>
                  </a:cubicBezTo>
                  <a:cubicBezTo>
                    <a:pt x="71" y="13"/>
                    <a:pt x="70" y="13"/>
                    <a:pt x="68" y="14"/>
                  </a:cubicBezTo>
                  <a:cubicBezTo>
                    <a:pt x="66" y="10"/>
                    <a:pt x="65" y="6"/>
                    <a:pt x="65" y="6"/>
                  </a:cubicBezTo>
                  <a:cubicBezTo>
                    <a:pt x="64" y="5"/>
                    <a:pt x="64" y="4"/>
                    <a:pt x="63" y="4"/>
                  </a:cubicBezTo>
                  <a:cubicBezTo>
                    <a:pt x="62" y="4"/>
                    <a:pt x="62" y="4"/>
                    <a:pt x="61" y="4"/>
                  </a:cubicBezTo>
                  <a:cubicBezTo>
                    <a:pt x="60" y="4"/>
                    <a:pt x="60" y="5"/>
                    <a:pt x="59" y="5"/>
                  </a:cubicBezTo>
                  <a:cubicBezTo>
                    <a:pt x="59" y="6"/>
                    <a:pt x="59" y="7"/>
                    <a:pt x="59" y="7"/>
                  </a:cubicBezTo>
                  <a:cubicBezTo>
                    <a:pt x="59" y="8"/>
                    <a:pt x="60" y="12"/>
                    <a:pt x="61" y="16"/>
                  </a:cubicBezTo>
                  <a:cubicBezTo>
                    <a:pt x="59" y="17"/>
                    <a:pt x="57" y="17"/>
                    <a:pt x="56" y="18"/>
                  </a:cubicBezTo>
                  <a:cubicBezTo>
                    <a:pt x="54" y="15"/>
                    <a:pt x="51" y="11"/>
                    <a:pt x="51" y="11"/>
                  </a:cubicBezTo>
                  <a:cubicBezTo>
                    <a:pt x="50" y="10"/>
                    <a:pt x="50" y="10"/>
                    <a:pt x="49" y="10"/>
                  </a:cubicBezTo>
                  <a:cubicBezTo>
                    <a:pt x="48" y="9"/>
                    <a:pt x="48" y="9"/>
                    <a:pt x="47" y="10"/>
                  </a:cubicBezTo>
                  <a:cubicBezTo>
                    <a:pt x="46" y="10"/>
                    <a:pt x="46" y="11"/>
                    <a:pt x="46" y="11"/>
                  </a:cubicBezTo>
                  <a:cubicBezTo>
                    <a:pt x="45" y="12"/>
                    <a:pt x="45" y="13"/>
                    <a:pt x="46" y="14"/>
                  </a:cubicBezTo>
                  <a:cubicBezTo>
                    <a:pt x="46" y="14"/>
                    <a:pt x="47" y="18"/>
                    <a:pt x="49" y="22"/>
                  </a:cubicBezTo>
                  <a:cubicBezTo>
                    <a:pt x="47" y="23"/>
                    <a:pt x="46" y="24"/>
                    <a:pt x="44" y="25"/>
                  </a:cubicBezTo>
                  <a:cubicBezTo>
                    <a:pt x="42" y="22"/>
                    <a:pt x="39" y="19"/>
                    <a:pt x="38" y="18"/>
                  </a:cubicBezTo>
                  <a:cubicBezTo>
                    <a:pt x="38" y="18"/>
                    <a:pt x="37" y="17"/>
                    <a:pt x="36" y="17"/>
                  </a:cubicBezTo>
                  <a:cubicBezTo>
                    <a:pt x="35" y="17"/>
                    <a:pt x="35" y="18"/>
                    <a:pt x="34" y="18"/>
                  </a:cubicBezTo>
                  <a:cubicBezTo>
                    <a:pt x="34" y="18"/>
                    <a:pt x="33" y="19"/>
                    <a:pt x="33" y="20"/>
                  </a:cubicBezTo>
                  <a:cubicBezTo>
                    <a:pt x="33" y="20"/>
                    <a:pt x="33" y="21"/>
                    <a:pt x="33" y="22"/>
                  </a:cubicBezTo>
                  <a:cubicBezTo>
                    <a:pt x="34" y="23"/>
                    <a:pt x="36" y="26"/>
                    <a:pt x="38" y="29"/>
                  </a:cubicBezTo>
                  <a:cubicBezTo>
                    <a:pt x="37" y="31"/>
                    <a:pt x="35" y="32"/>
                    <a:pt x="34" y="33"/>
                  </a:cubicBezTo>
                  <a:cubicBezTo>
                    <a:pt x="31" y="31"/>
                    <a:pt x="28" y="28"/>
                    <a:pt x="27" y="28"/>
                  </a:cubicBezTo>
                  <a:cubicBezTo>
                    <a:pt x="26" y="27"/>
                    <a:pt x="26" y="27"/>
                    <a:pt x="25" y="27"/>
                  </a:cubicBezTo>
                  <a:cubicBezTo>
                    <a:pt x="24" y="27"/>
                    <a:pt x="24" y="28"/>
                    <a:pt x="23" y="28"/>
                  </a:cubicBezTo>
                  <a:cubicBezTo>
                    <a:pt x="23" y="29"/>
                    <a:pt x="22" y="29"/>
                    <a:pt x="22" y="30"/>
                  </a:cubicBezTo>
                  <a:cubicBezTo>
                    <a:pt x="22" y="31"/>
                    <a:pt x="22" y="32"/>
                    <a:pt x="23" y="32"/>
                  </a:cubicBezTo>
                  <a:cubicBezTo>
                    <a:pt x="24" y="33"/>
                    <a:pt x="26" y="36"/>
                    <a:pt x="29" y="39"/>
                  </a:cubicBezTo>
                  <a:cubicBezTo>
                    <a:pt x="28" y="40"/>
                    <a:pt x="27" y="42"/>
                    <a:pt x="26" y="43"/>
                  </a:cubicBezTo>
                  <a:cubicBezTo>
                    <a:pt x="22" y="41"/>
                    <a:pt x="18" y="39"/>
                    <a:pt x="18" y="39"/>
                  </a:cubicBezTo>
                  <a:cubicBezTo>
                    <a:pt x="17" y="39"/>
                    <a:pt x="16" y="39"/>
                    <a:pt x="16" y="39"/>
                  </a:cubicBezTo>
                  <a:cubicBezTo>
                    <a:pt x="15" y="39"/>
                    <a:pt x="14" y="40"/>
                    <a:pt x="14" y="40"/>
                  </a:cubicBezTo>
                  <a:cubicBezTo>
                    <a:pt x="14" y="41"/>
                    <a:pt x="13" y="42"/>
                    <a:pt x="13" y="42"/>
                  </a:cubicBezTo>
                  <a:cubicBezTo>
                    <a:pt x="14" y="43"/>
                    <a:pt x="14" y="44"/>
                    <a:pt x="14" y="44"/>
                  </a:cubicBezTo>
                  <a:cubicBezTo>
                    <a:pt x="15" y="45"/>
                    <a:pt x="18" y="47"/>
                    <a:pt x="21" y="50"/>
                  </a:cubicBezTo>
                  <a:cubicBezTo>
                    <a:pt x="21" y="51"/>
                    <a:pt x="20" y="53"/>
                    <a:pt x="19" y="54"/>
                  </a:cubicBezTo>
                  <a:cubicBezTo>
                    <a:pt x="15" y="53"/>
                    <a:pt x="11" y="52"/>
                    <a:pt x="10" y="52"/>
                  </a:cubicBezTo>
                  <a:cubicBezTo>
                    <a:pt x="10" y="52"/>
                    <a:pt x="9" y="52"/>
                    <a:pt x="8" y="52"/>
                  </a:cubicBezTo>
                  <a:cubicBezTo>
                    <a:pt x="8" y="52"/>
                    <a:pt x="7" y="53"/>
                    <a:pt x="7" y="54"/>
                  </a:cubicBezTo>
                  <a:cubicBezTo>
                    <a:pt x="7" y="54"/>
                    <a:pt x="7" y="55"/>
                    <a:pt x="7" y="56"/>
                  </a:cubicBezTo>
                  <a:cubicBezTo>
                    <a:pt x="7" y="56"/>
                    <a:pt x="7" y="57"/>
                    <a:pt x="8" y="57"/>
                  </a:cubicBezTo>
                  <a:cubicBezTo>
                    <a:pt x="9" y="58"/>
                    <a:pt x="13" y="60"/>
                    <a:pt x="16" y="62"/>
                  </a:cubicBezTo>
                  <a:cubicBezTo>
                    <a:pt x="15" y="63"/>
                    <a:pt x="15" y="65"/>
                    <a:pt x="14" y="67"/>
                  </a:cubicBezTo>
                  <a:cubicBezTo>
                    <a:pt x="11" y="66"/>
                    <a:pt x="6" y="66"/>
                    <a:pt x="6" y="66"/>
                  </a:cubicBezTo>
                  <a:cubicBezTo>
                    <a:pt x="5" y="66"/>
                    <a:pt x="4" y="66"/>
                    <a:pt x="4" y="66"/>
                  </a:cubicBezTo>
                  <a:cubicBezTo>
                    <a:pt x="3" y="67"/>
                    <a:pt x="3" y="67"/>
                    <a:pt x="2" y="68"/>
                  </a:cubicBezTo>
                  <a:cubicBezTo>
                    <a:pt x="2" y="69"/>
                    <a:pt x="2" y="70"/>
                    <a:pt x="3" y="70"/>
                  </a:cubicBezTo>
                  <a:cubicBezTo>
                    <a:pt x="3" y="71"/>
                    <a:pt x="4" y="71"/>
                    <a:pt x="4" y="71"/>
                  </a:cubicBezTo>
                  <a:cubicBezTo>
                    <a:pt x="5" y="72"/>
                    <a:pt x="9" y="73"/>
                    <a:pt x="13" y="74"/>
                  </a:cubicBezTo>
                  <a:cubicBezTo>
                    <a:pt x="12" y="76"/>
                    <a:pt x="12" y="78"/>
                    <a:pt x="12" y="80"/>
                  </a:cubicBezTo>
                  <a:cubicBezTo>
                    <a:pt x="8" y="80"/>
                    <a:pt x="4" y="80"/>
                    <a:pt x="3" y="80"/>
                  </a:cubicBezTo>
                  <a:cubicBezTo>
                    <a:pt x="2" y="80"/>
                    <a:pt x="2" y="81"/>
                    <a:pt x="1" y="81"/>
                  </a:cubicBezTo>
                  <a:cubicBezTo>
                    <a:pt x="1" y="82"/>
                    <a:pt x="0" y="82"/>
                    <a:pt x="0" y="83"/>
                  </a:cubicBezTo>
                  <a:cubicBezTo>
                    <a:pt x="0" y="84"/>
                    <a:pt x="1" y="85"/>
                    <a:pt x="1" y="85"/>
                  </a:cubicBezTo>
                  <a:cubicBezTo>
                    <a:pt x="2" y="86"/>
                    <a:pt x="2" y="86"/>
                    <a:pt x="3" y="86"/>
                  </a:cubicBezTo>
                  <a:cubicBezTo>
                    <a:pt x="4" y="86"/>
                    <a:pt x="8" y="87"/>
                    <a:pt x="12" y="87"/>
                  </a:cubicBezTo>
                  <a:cubicBezTo>
                    <a:pt x="12" y="89"/>
                    <a:pt x="12" y="91"/>
                    <a:pt x="12" y="93"/>
                  </a:cubicBezTo>
                  <a:cubicBezTo>
                    <a:pt x="8" y="94"/>
                    <a:pt x="4" y="95"/>
                    <a:pt x="3" y="95"/>
                  </a:cubicBezTo>
                  <a:cubicBezTo>
                    <a:pt x="3" y="95"/>
                    <a:pt x="2" y="95"/>
                    <a:pt x="2" y="96"/>
                  </a:cubicBezTo>
                  <a:cubicBezTo>
                    <a:pt x="1" y="97"/>
                    <a:pt x="1" y="97"/>
                    <a:pt x="1" y="98"/>
                  </a:cubicBezTo>
                  <a:cubicBezTo>
                    <a:pt x="1" y="99"/>
                    <a:pt x="2" y="99"/>
                    <a:pt x="2" y="100"/>
                  </a:cubicBezTo>
                  <a:cubicBezTo>
                    <a:pt x="3" y="101"/>
                    <a:pt x="3" y="101"/>
                    <a:pt x="4" y="101"/>
                  </a:cubicBezTo>
                  <a:cubicBezTo>
                    <a:pt x="5" y="101"/>
                    <a:pt x="9" y="101"/>
                    <a:pt x="13" y="100"/>
                  </a:cubicBezTo>
                  <a:cubicBezTo>
                    <a:pt x="13" y="102"/>
                    <a:pt x="14" y="104"/>
                    <a:pt x="14" y="106"/>
                  </a:cubicBezTo>
                  <a:cubicBezTo>
                    <a:pt x="11" y="107"/>
                    <a:pt x="7" y="109"/>
                    <a:pt x="6" y="109"/>
                  </a:cubicBezTo>
                  <a:cubicBezTo>
                    <a:pt x="5" y="110"/>
                    <a:pt x="5" y="110"/>
                    <a:pt x="4" y="111"/>
                  </a:cubicBezTo>
                  <a:cubicBezTo>
                    <a:pt x="4" y="111"/>
                    <a:pt x="4" y="112"/>
                    <a:pt x="4" y="113"/>
                  </a:cubicBezTo>
                  <a:cubicBezTo>
                    <a:pt x="5" y="114"/>
                    <a:pt x="5" y="114"/>
                    <a:pt x="6" y="115"/>
                  </a:cubicBezTo>
                  <a:cubicBezTo>
                    <a:pt x="6" y="115"/>
                    <a:pt x="7" y="115"/>
                    <a:pt x="8" y="115"/>
                  </a:cubicBezTo>
                  <a:cubicBezTo>
                    <a:pt x="9" y="115"/>
                    <a:pt x="13" y="114"/>
                    <a:pt x="16" y="113"/>
                  </a:cubicBezTo>
                  <a:cubicBezTo>
                    <a:pt x="17" y="115"/>
                    <a:pt x="18" y="117"/>
                    <a:pt x="18" y="118"/>
                  </a:cubicBezTo>
                  <a:cubicBezTo>
                    <a:pt x="15" y="120"/>
                    <a:pt x="12" y="123"/>
                    <a:pt x="11" y="123"/>
                  </a:cubicBezTo>
                  <a:cubicBezTo>
                    <a:pt x="10" y="123"/>
                    <a:pt x="10" y="124"/>
                    <a:pt x="10" y="125"/>
                  </a:cubicBezTo>
                  <a:cubicBezTo>
                    <a:pt x="10" y="125"/>
                    <a:pt x="10" y="126"/>
                    <a:pt x="10" y="127"/>
                  </a:cubicBezTo>
                  <a:cubicBezTo>
                    <a:pt x="10" y="127"/>
                    <a:pt x="11" y="128"/>
                    <a:pt x="12" y="128"/>
                  </a:cubicBezTo>
                  <a:cubicBezTo>
                    <a:pt x="12" y="129"/>
                    <a:pt x="13" y="129"/>
                    <a:pt x="14" y="128"/>
                  </a:cubicBezTo>
                  <a:cubicBezTo>
                    <a:pt x="15" y="128"/>
                    <a:pt x="19" y="126"/>
                    <a:pt x="22" y="125"/>
                  </a:cubicBezTo>
                  <a:cubicBezTo>
                    <a:pt x="23" y="127"/>
                    <a:pt x="24" y="128"/>
                    <a:pt x="25" y="130"/>
                  </a:cubicBezTo>
                  <a:cubicBezTo>
                    <a:pt x="22" y="132"/>
                    <a:pt x="19" y="135"/>
                    <a:pt x="19" y="136"/>
                  </a:cubicBezTo>
                  <a:cubicBezTo>
                    <a:pt x="18" y="136"/>
                    <a:pt x="18" y="137"/>
                    <a:pt x="18" y="138"/>
                  </a:cubicBezTo>
                  <a:cubicBezTo>
                    <a:pt x="18" y="138"/>
                    <a:pt x="18" y="139"/>
                    <a:pt x="18" y="140"/>
                  </a:cubicBezTo>
                  <a:cubicBezTo>
                    <a:pt x="19" y="140"/>
                    <a:pt x="19" y="141"/>
                    <a:pt x="20" y="141"/>
                  </a:cubicBezTo>
                  <a:cubicBezTo>
                    <a:pt x="21" y="141"/>
                    <a:pt x="22" y="141"/>
                    <a:pt x="22" y="140"/>
                  </a:cubicBezTo>
                  <a:cubicBezTo>
                    <a:pt x="23" y="140"/>
                    <a:pt x="26" y="138"/>
                    <a:pt x="30" y="136"/>
                  </a:cubicBezTo>
                  <a:cubicBezTo>
                    <a:pt x="31" y="137"/>
                    <a:pt x="32" y="138"/>
                    <a:pt x="33" y="140"/>
                  </a:cubicBezTo>
                  <a:cubicBezTo>
                    <a:pt x="31" y="143"/>
                    <a:pt x="29" y="146"/>
                    <a:pt x="28" y="147"/>
                  </a:cubicBezTo>
                  <a:cubicBezTo>
                    <a:pt x="28" y="147"/>
                    <a:pt x="27" y="148"/>
                    <a:pt x="27" y="149"/>
                  </a:cubicBezTo>
                  <a:cubicBezTo>
                    <a:pt x="28" y="150"/>
                    <a:pt x="28" y="150"/>
                    <a:pt x="29" y="151"/>
                  </a:cubicBezTo>
                  <a:cubicBezTo>
                    <a:pt x="29" y="151"/>
                    <a:pt x="30" y="152"/>
                    <a:pt x="30" y="152"/>
                  </a:cubicBezTo>
                  <a:cubicBezTo>
                    <a:pt x="31" y="152"/>
                    <a:pt x="32" y="151"/>
                    <a:pt x="32" y="151"/>
                  </a:cubicBezTo>
                  <a:cubicBezTo>
                    <a:pt x="33" y="150"/>
                    <a:pt x="36" y="148"/>
                    <a:pt x="39" y="145"/>
                  </a:cubicBezTo>
                  <a:cubicBezTo>
                    <a:pt x="40" y="146"/>
                    <a:pt x="42" y="147"/>
                    <a:pt x="43" y="148"/>
                  </a:cubicBezTo>
                  <a:cubicBezTo>
                    <a:pt x="42" y="152"/>
                    <a:pt x="40" y="155"/>
                    <a:pt x="39" y="156"/>
                  </a:cubicBezTo>
                  <a:cubicBezTo>
                    <a:pt x="39" y="157"/>
                    <a:pt x="39" y="158"/>
                    <a:pt x="39" y="158"/>
                  </a:cubicBezTo>
                  <a:cubicBezTo>
                    <a:pt x="39" y="159"/>
                    <a:pt x="40" y="160"/>
                    <a:pt x="41" y="160"/>
                  </a:cubicBezTo>
                  <a:cubicBezTo>
                    <a:pt x="41" y="160"/>
                    <a:pt x="42" y="161"/>
                    <a:pt x="43" y="160"/>
                  </a:cubicBezTo>
                  <a:cubicBezTo>
                    <a:pt x="43" y="160"/>
                    <a:pt x="44" y="160"/>
                    <a:pt x="44" y="159"/>
                  </a:cubicBezTo>
                  <a:cubicBezTo>
                    <a:pt x="45" y="159"/>
                    <a:pt x="47" y="155"/>
                    <a:pt x="50" y="152"/>
                  </a:cubicBezTo>
                  <a:cubicBezTo>
                    <a:pt x="51" y="153"/>
                    <a:pt x="53" y="154"/>
                    <a:pt x="55" y="155"/>
                  </a:cubicBezTo>
                  <a:cubicBezTo>
                    <a:pt x="54" y="159"/>
                    <a:pt x="52" y="163"/>
                    <a:pt x="52" y="163"/>
                  </a:cubicBezTo>
                  <a:cubicBezTo>
                    <a:pt x="52" y="164"/>
                    <a:pt x="52" y="165"/>
                    <a:pt x="52" y="166"/>
                  </a:cubicBezTo>
                  <a:cubicBezTo>
                    <a:pt x="53" y="166"/>
                    <a:pt x="53" y="167"/>
                    <a:pt x="54" y="167"/>
                  </a:cubicBezTo>
                  <a:cubicBezTo>
                    <a:pt x="55" y="167"/>
                    <a:pt x="55" y="167"/>
                    <a:pt x="56" y="167"/>
                  </a:cubicBezTo>
                  <a:cubicBezTo>
                    <a:pt x="57" y="167"/>
                    <a:pt x="57" y="166"/>
                    <a:pt x="58" y="166"/>
                  </a:cubicBezTo>
                  <a:cubicBezTo>
                    <a:pt x="58" y="165"/>
                    <a:pt x="60" y="161"/>
                    <a:pt x="62" y="158"/>
                  </a:cubicBezTo>
                  <a:cubicBezTo>
                    <a:pt x="63" y="158"/>
                    <a:pt x="65" y="159"/>
                    <a:pt x="67" y="160"/>
                  </a:cubicBezTo>
                  <a:cubicBezTo>
                    <a:pt x="67" y="163"/>
                    <a:pt x="66" y="168"/>
                    <a:pt x="66" y="168"/>
                  </a:cubicBezTo>
                  <a:cubicBezTo>
                    <a:pt x="66" y="169"/>
                    <a:pt x="66" y="170"/>
                    <a:pt x="66" y="170"/>
                  </a:cubicBezTo>
                  <a:cubicBezTo>
                    <a:pt x="67" y="171"/>
                    <a:pt x="67" y="171"/>
                    <a:pt x="68" y="172"/>
                  </a:cubicBezTo>
                  <a:cubicBezTo>
                    <a:pt x="69" y="172"/>
                    <a:pt x="70" y="172"/>
                    <a:pt x="70" y="171"/>
                  </a:cubicBezTo>
                  <a:cubicBezTo>
                    <a:pt x="71" y="171"/>
                    <a:pt x="71" y="170"/>
                    <a:pt x="72" y="170"/>
                  </a:cubicBezTo>
                  <a:cubicBezTo>
                    <a:pt x="72" y="169"/>
                    <a:pt x="73" y="165"/>
                    <a:pt x="74" y="161"/>
                  </a:cubicBezTo>
                  <a:cubicBezTo>
                    <a:pt x="76" y="161"/>
                    <a:pt x="78" y="162"/>
                    <a:pt x="80" y="162"/>
                  </a:cubicBezTo>
                  <a:cubicBezTo>
                    <a:pt x="80" y="166"/>
                    <a:pt x="80" y="170"/>
                    <a:pt x="80" y="171"/>
                  </a:cubicBezTo>
                  <a:cubicBezTo>
                    <a:pt x="80" y="172"/>
                    <a:pt x="81" y="172"/>
                    <a:pt x="81" y="173"/>
                  </a:cubicBezTo>
                  <a:cubicBezTo>
                    <a:pt x="82" y="173"/>
                    <a:pt x="82" y="173"/>
                    <a:pt x="83" y="173"/>
                  </a:cubicBezTo>
                  <a:cubicBezTo>
                    <a:pt x="84" y="174"/>
                    <a:pt x="85" y="173"/>
                    <a:pt x="85" y="173"/>
                  </a:cubicBezTo>
                  <a:cubicBezTo>
                    <a:pt x="86" y="172"/>
                    <a:pt x="86" y="172"/>
                    <a:pt x="86" y="171"/>
                  </a:cubicBezTo>
                  <a:cubicBezTo>
                    <a:pt x="86" y="170"/>
                    <a:pt x="87" y="166"/>
                    <a:pt x="87" y="162"/>
                  </a:cubicBezTo>
                  <a:cubicBezTo>
                    <a:pt x="89" y="162"/>
                    <a:pt x="91" y="162"/>
                    <a:pt x="93" y="162"/>
                  </a:cubicBezTo>
                  <a:cubicBezTo>
                    <a:pt x="94" y="166"/>
                    <a:pt x="95" y="170"/>
                    <a:pt x="95" y="171"/>
                  </a:cubicBezTo>
                  <a:cubicBezTo>
                    <a:pt x="95" y="171"/>
                    <a:pt x="96" y="172"/>
                    <a:pt x="96" y="172"/>
                  </a:cubicBezTo>
                  <a:cubicBezTo>
                    <a:pt x="97" y="173"/>
                    <a:pt x="98" y="173"/>
                    <a:pt x="98" y="173"/>
                  </a:cubicBezTo>
                  <a:cubicBezTo>
                    <a:pt x="99" y="173"/>
                    <a:pt x="100" y="172"/>
                    <a:pt x="100" y="172"/>
                  </a:cubicBezTo>
                  <a:cubicBezTo>
                    <a:pt x="101" y="171"/>
                    <a:pt x="101" y="171"/>
                    <a:pt x="101" y="170"/>
                  </a:cubicBezTo>
                  <a:cubicBezTo>
                    <a:pt x="101" y="169"/>
                    <a:pt x="101" y="165"/>
                    <a:pt x="101" y="161"/>
                  </a:cubicBezTo>
                  <a:cubicBezTo>
                    <a:pt x="102" y="161"/>
                    <a:pt x="104" y="160"/>
                    <a:pt x="106" y="160"/>
                  </a:cubicBezTo>
                  <a:cubicBezTo>
                    <a:pt x="107" y="163"/>
                    <a:pt x="109" y="167"/>
                    <a:pt x="109" y="168"/>
                  </a:cubicBezTo>
                  <a:cubicBezTo>
                    <a:pt x="110" y="169"/>
                    <a:pt x="110" y="169"/>
                    <a:pt x="111" y="169"/>
                  </a:cubicBezTo>
                  <a:cubicBezTo>
                    <a:pt x="112" y="170"/>
                    <a:pt x="112" y="170"/>
                    <a:pt x="113" y="170"/>
                  </a:cubicBezTo>
                  <a:cubicBezTo>
                    <a:pt x="114" y="169"/>
                    <a:pt x="114" y="169"/>
                    <a:pt x="115" y="168"/>
                  </a:cubicBezTo>
                  <a:cubicBezTo>
                    <a:pt x="115" y="168"/>
                    <a:pt x="115" y="167"/>
                    <a:pt x="115" y="166"/>
                  </a:cubicBezTo>
                  <a:cubicBezTo>
                    <a:pt x="115" y="165"/>
                    <a:pt x="114" y="161"/>
                    <a:pt x="113" y="157"/>
                  </a:cubicBezTo>
                  <a:cubicBezTo>
                    <a:pt x="115" y="157"/>
                    <a:pt x="117" y="156"/>
                    <a:pt x="118" y="155"/>
                  </a:cubicBezTo>
                  <a:cubicBezTo>
                    <a:pt x="120" y="159"/>
                    <a:pt x="123" y="162"/>
                    <a:pt x="123" y="163"/>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97" name="Group 979">
              <a:extLst>
                <a:ext uri="{FF2B5EF4-FFF2-40B4-BE49-F238E27FC236}">
                  <a16:creationId xmlns:a16="http://schemas.microsoft.com/office/drawing/2014/main" id="{E58FD306-C1F6-4877-8ADB-1AFC0A2F1C28}"/>
                </a:ext>
              </a:extLst>
            </p:cNvPr>
            <p:cNvGrpSpPr>
              <a:grpSpLocks noChangeAspect="1"/>
            </p:cNvGrpSpPr>
            <p:nvPr/>
          </p:nvGrpSpPr>
          <p:grpSpPr bwMode="auto">
            <a:xfrm>
              <a:off x="2463726" y="4183178"/>
              <a:ext cx="269950" cy="242072"/>
              <a:chOff x="2110" y="4320"/>
              <a:chExt cx="184" cy="165"/>
            </a:xfrm>
            <a:solidFill>
              <a:schemeClr val="tx1"/>
            </a:solidFill>
          </p:grpSpPr>
          <p:sp>
            <p:nvSpPr>
              <p:cNvPr id="198" name="Freeform 981">
                <a:extLst>
                  <a:ext uri="{FF2B5EF4-FFF2-40B4-BE49-F238E27FC236}">
                    <a16:creationId xmlns:a16="http://schemas.microsoft.com/office/drawing/2014/main" id="{2E7BABB6-E6CA-4B3D-9710-E4B64E2D8B0F}"/>
                  </a:ext>
                </a:extLst>
              </p:cNvPr>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199" name="Freeform 982">
                <a:extLst>
                  <a:ext uri="{FF2B5EF4-FFF2-40B4-BE49-F238E27FC236}">
                    <a16:creationId xmlns:a16="http://schemas.microsoft.com/office/drawing/2014/main" id="{A9D18EF7-8038-4B38-A9D3-70EB96DD5138}"/>
                  </a:ext>
                </a:extLst>
              </p:cNvPr>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200" name="Group 199">
            <a:extLst>
              <a:ext uri="{FF2B5EF4-FFF2-40B4-BE49-F238E27FC236}">
                <a16:creationId xmlns:a16="http://schemas.microsoft.com/office/drawing/2014/main" id="{4FA976DB-1E7F-4F53-967C-6415D0F1F66C}"/>
              </a:ext>
            </a:extLst>
          </p:cNvPr>
          <p:cNvGrpSpPr/>
          <p:nvPr/>
        </p:nvGrpSpPr>
        <p:grpSpPr>
          <a:xfrm>
            <a:off x="3532293" y="5906254"/>
            <a:ext cx="417900" cy="420520"/>
            <a:chOff x="1904383" y="4237741"/>
            <a:chExt cx="417900" cy="420520"/>
          </a:xfrm>
        </p:grpSpPr>
        <p:sp>
          <p:nvSpPr>
            <p:cNvPr id="201" name="Freeform 20">
              <a:extLst>
                <a:ext uri="{FF2B5EF4-FFF2-40B4-BE49-F238E27FC236}">
                  <a16:creationId xmlns:a16="http://schemas.microsoft.com/office/drawing/2014/main" id="{A18622FF-D2A0-49F1-AA6B-5D6A9A9FC98C}"/>
                </a:ext>
              </a:extLst>
            </p:cNvPr>
            <p:cNvSpPr>
              <a:spLocks noEditPoints="1"/>
            </p:cNvSpPr>
            <p:nvPr/>
          </p:nvSpPr>
          <p:spPr bwMode="auto">
            <a:xfrm>
              <a:off x="1904383" y="4237741"/>
              <a:ext cx="417900" cy="420520"/>
            </a:xfrm>
            <a:custGeom>
              <a:avLst/>
              <a:gdLst>
                <a:gd name="T0" fmla="*/ 137 w 143"/>
                <a:gd name="T1" fmla="*/ 67 h 144"/>
                <a:gd name="T2" fmla="*/ 137 w 143"/>
                <a:gd name="T3" fmla="*/ 60 h 144"/>
                <a:gd name="T4" fmla="*/ 135 w 143"/>
                <a:gd name="T5" fmla="*/ 53 h 144"/>
                <a:gd name="T6" fmla="*/ 133 w 143"/>
                <a:gd name="T7" fmla="*/ 47 h 144"/>
                <a:gd name="T8" fmla="*/ 130 w 143"/>
                <a:gd name="T9" fmla="*/ 40 h 144"/>
                <a:gd name="T10" fmla="*/ 126 w 143"/>
                <a:gd name="T11" fmla="*/ 35 h 144"/>
                <a:gd name="T12" fmla="*/ 122 w 143"/>
                <a:gd name="T13" fmla="*/ 29 h 144"/>
                <a:gd name="T14" fmla="*/ 117 w 143"/>
                <a:gd name="T15" fmla="*/ 24 h 144"/>
                <a:gd name="T16" fmla="*/ 112 w 143"/>
                <a:gd name="T17" fmla="*/ 20 h 144"/>
                <a:gd name="T18" fmla="*/ 106 w 143"/>
                <a:gd name="T19" fmla="*/ 16 h 144"/>
                <a:gd name="T20" fmla="*/ 100 w 143"/>
                <a:gd name="T21" fmla="*/ 12 h 144"/>
                <a:gd name="T22" fmla="*/ 94 w 143"/>
                <a:gd name="T23" fmla="*/ 10 h 144"/>
                <a:gd name="T24" fmla="*/ 87 w 143"/>
                <a:gd name="T25" fmla="*/ 8 h 144"/>
                <a:gd name="T26" fmla="*/ 80 w 143"/>
                <a:gd name="T27" fmla="*/ 6 h 144"/>
                <a:gd name="T28" fmla="*/ 74 w 143"/>
                <a:gd name="T29" fmla="*/ 6 h 144"/>
                <a:gd name="T30" fmla="*/ 67 w 143"/>
                <a:gd name="T31" fmla="*/ 6 h 144"/>
                <a:gd name="T32" fmla="*/ 60 w 143"/>
                <a:gd name="T33" fmla="*/ 7 h 144"/>
                <a:gd name="T34" fmla="*/ 53 w 143"/>
                <a:gd name="T35" fmla="*/ 8 h 144"/>
                <a:gd name="T36" fmla="*/ 47 w 143"/>
                <a:gd name="T37" fmla="*/ 11 h 144"/>
                <a:gd name="T38" fmla="*/ 40 w 143"/>
                <a:gd name="T39" fmla="*/ 14 h 144"/>
                <a:gd name="T40" fmla="*/ 34 w 143"/>
                <a:gd name="T41" fmla="*/ 17 h 144"/>
                <a:gd name="T42" fmla="*/ 29 w 143"/>
                <a:gd name="T43" fmla="*/ 21 h 144"/>
                <a:gd name="T44" fmla="*/ 24 w 143"/>
                <a:gd name="T45" fmla="*/ 26 h 144"/>
                <a:gd name="T46" fmla="*/ 19 w 143"/>
                <a:gd name="T47" fmla="*/ 31 h 144"/>
                <a:gd name="T48" fmla="*/ 15 w 143"/>
                <a:gd name="T49" fmla="*/ 37 h 144"/>
                <a:gd name="T50" fmla="*/ 12 w 143"/>
                <a:gd name="T51" fmla="*/ 43 h 144"/>
                <a:gd name="T52" fmla="*/ 9 w 143"/>
                <a:gd name="T53" fmla="*/ 50 h 144"/>
                <a:gd name="T54" fmla="*/ 7 w 143"/>
                <a:gd name="T55" fmla="*/ 56 h 144"/>
                <a:gd name="T56" fmla="*/ 6 w 143"/>
                <a:gd name="T57" fmla="*/ 63 h 144"/>
                <a:gd name="T58" fmla="*/ 6 w 143"/>
                <a:gd name="T59" fmla="*/ 70 h 144"/>
                <a:gd name="T60" fmla="*/ 6 w 143"/>
                <a:gd name="T61" fmla="*/ 77 h 144"/>
                <a:gd name="T62" fmla="*/ 7 w 143"/>
                <a:gd name="T63" fmla="*/ 84 h 144"/>
                <a:gd name="T64" fmla="*/ 8 w 143"/>
                <a:gd name="T65" fmla="*/ 90 h 144"/>
                <a:gd name="T66" fmla="*/ 10 w 143"/>
                <a:gd name="T67" fmla="*/ 97 h 144"/>
                <a:gd name="T68" fmla="*/ 13 w 143"/>
                <a:gd name="T69" fmla="*/ 103 h 144"/>
                <a:gd name="T70" fmla="*/ 17 w 143"/>
                <a:gd name="T71" fmla="*/ 109 h 144"/>
                <a:gd name="T72" fmla="*/ 21 w 143"/>
                <a:gd name="T73" fmla="*/ 115 h 144"/>
                <a:gd name="T74" fmla="*/ 26 w 143"/>
                <a:gd name="T75" fmla="*/ 120 h 144"/>
                <a:gd name="T76" fmla="*/ 31 w 143"/>
                <a:gd name="T77" fmla="*/ 124 h 144"/>
                <a:gd name="T78" fmla="*/ 37 w 143"/>
                <a:gd name="T79" fmla="*/ 128 h 144"/>
                <a:gd name="T80" fmla="*/ 43 w 143"/>
                <a:gd name="T81" fmla="*/ 131 h 144"/>
                <a:gd name="T82" fmla="*/ 49 w 143"/>
                <a:gd name="T83" fmla="*/ 134 h 144"/>
                <a:gd name="T84" fmla="*/ 56 w 143"/>
                <a:gd name="T85" fmla="*/ 136 h 144"/>
                <a:gd name="T86" fmla="*/ 63 w 143"/>
                <a:gd name="T87" fmla="*/ 137 h 144"/>
                <a:gd name="T88" fmla="*/ 70 w 143"/>
                <a:gd name="T89" fmla="*/ 138 h 144"/>
                <a:gd name="T90" fmla="*/ 77 w 143"/>
                <a:gd name="T91" fmla="*/ 138 h 144"/>
                <a:gd name="T92" fmla="*/ 83 w 143"/>
                <a:gd name="T93" fmla="*/ 137 h 144"/>
                <a:gd name="T94" fmla="*/ 90 w 143"/>
                <a:gd name="T95" fmla="*/ 135 h 144"/>
                <a:gd name="T96" fmla="*/ 97 w 143"/>
                <a:gd name="T97" fmla="*/ 133 h 144"/>
                <a:gd name="T98" fmla="*/ 103 w 143"/>
                <a:gd name="T99" fmla="*/ 130 h 144"/>
                <a:gd name="T100" fmla="*/ 109 w 143"/>
                <a:gd name="T101" fmla="*/ 127 h 144"/>
                <a:gd name="T102" fmla="*/ 114 w 143"/>
                <a:gd name="T103" fmla="*/ 122 h 144"/>
                <a:gd name="T104" fmla="*/ 119 w 143"/>
                <a:gd name="T105" fmla="*/ 118 h 144"/>
                <a:gd name="T106" fmla="*/ 124 w 143"/>
                <a:gd name="T107" fmla="*/ 112 h 144"/>
                <a:gd name="T108" fmla="*/ 128 w 143"/>
                <a:gd name="T109" fmla="*/ 107 h 144"/>
                <a:gd name="T110" fmla="*/ 131 w 143"/>
                <a:gd name="T111" fmla="*/ 101 h 144"/>
                <a:gd name="T112" fmla="*/ 134 w 143"/>
                <a:gd name="T113" fmla="*/ 94 h 144"/>
                <a:gd name="T114" fmla="*/ 136 w 143"/>
                <a:gd name="T115" fmla="*/ 88 h 144"/>
                <a:gd name="T116" fmla="*/ 137 w 143"/>
                <a:gd name="T117" fmla="*/ 81 h 144"/>
                <a:gd name="T118" fmla="*/ 138 w 143"/>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 h="144">
                  <a:moveTo>
                    <a:pt x="142" y="73"/>
                  </a:moveTo>
                  <a:cubicBezTo>
                    <a:pt x="142" y="73"/>
                    <a:pt x="143" y="73"/>
                    <a:pt x="143" y="73"/>
                  </a:cubicBezTo>
                  <a:cubicBezTo>
                    <a:pt x="143" y="73"/>
                    <a:pt x="143" y="72"/>
                    <a:pt x="143" y="72"/>
                  </a:cubicBezTo>
                  <a:cubicBezTo>
                    <a:pt x="143" y="71"/>
                    <a:pt x="143" y="71"/>
                    <a:pt x="143" y="71"/>
                  </a:cubicBezTo>
                  <a:cubicBezTo>
                    <a:pt x="143" y="71"/>
                    <a:pt x="142" y="70"/>
                    <a:pt x="142" y="70"/>
                  </a:cubicBezTo>
                  <a:cubicBezTo>
                    <a:pt x="142" y="70"/>
                    <a:pt x="139" y="70"/>
                    <a:pt x="138" y="70"/>
                  </a:cubicBezTo>
                  <a:cubicBezTo>
                    <a:pt x="138" y="69"/>
                    <a:pt x="138" y="68"/>
                    <a:pt x="137" y="67"/>
                  </a:cubicBezTo>
                  <a:cubicBezTo>
                    <a:pt x="139" y="67"/>
                    <a:pt x="141" y="66"/>
                    <a:pt x="142" y="66"/>
                  </a:cubicBezTo>
                  <a:cubicBezTo>
                    <a:pt x="142" y="66"/>
                    <a:pt x="142" y="66"/>
                    <a:pt x="143" y="65"/>
                  </a:cubicBezTo>
                  <a:cubicBezTo>
                    <a:pt x="143" y="65"/>
                    <a:pt x="143" y="65"/>
                    <a:pt x="143" y="64"/>
                  </a:cubicBezTo>
                  <a:cubicBezTo>
                    <a:pt x="143" y="64"/>
                    <a:pt x="143" y="64"/>
                    <a:pt x="142" y="63"/>
                  </a:cubicBezTo>
                  <a:cubicBezTo>
                    <a:pt x="142" y="63"/>
                    <a:pt x="142" y="63"/>
                    <a:pt x="141" y="63"/>
                  </a:cubicBezTo>
                  <a:cubicBezTo>
                    <a:pt x="141" y="63"/>
                    <a:pt x="139" y="63"/>
                    <a:pt x="137" y="63"/>
                  </a:cubicBezTo>
                  <a:cubicBezTo>
                    <a:pt x="137" y="62"/>
                    <a:pt x="137" y="61"/>
                    <a:pt x="137" y="60"/>
                  </a:cubicBezTo>
                  <a:cubicBezTo>
                    <a:pt x="138" y="59"/>
                    <a:pt x="140" y="59"/>
                    <a:pt x="141" y="59"/>
                  </a:cubicBezTo>
                  <a:cubicBezTo>
                    <a:pt x="141" y="59"/>
                    <a:pt x="141" y="58"/>
                    <a:pt x="142" y="58"/>
                  </a:cubicBezTo>
                  <a:cubicBezTo>
                    <a:pt x="142" y="58"/>
                    <a:pt x="142" y="57"/>
                    <a:pt x="142" y="57"/>
                  </a:cubicBezTo>
                  <a:cubicBezTo>
                    <a:pt x="142" y="57"/>
                    <a:pt x="142" y="56"/>
                    <a:pt x="141" y="56"/>
                  </a:cubicBezTo>
                  <a:cubicBezTo>
                    <a:pt x="141" y="56"/>
                    <a:pt x="141" y="56"/>
                    <a:pt x="140" y="56"/>
                  </a:cubicBezTo>
                  <a:cubicBezTo>
                    <a:pt x="140" y="56"/>
                    <a:pt x="138" y="56"/>
                    <a:pt x="136" y="56"/>
                  </a:cubicBezTo>
                  <a:cubicBezTo>
                    <a:pt x="135" y="55"/>
                    <a:pt x="135" y="54"/>
                    <a:pt x="135" y="53"/>
                  </a:cubicBezTo>
                  <a:cubicBezTo>
                    <a:pt x="137" y="53"/>
                    <a:pt x="139" y="52"/>
                    <a:pt x="139" y="52"/>
                  </a:cubicBezTo>
                  <a:cubicBezTo>
                    <a:pt x="139" y="51"/>
                    <a:pt x="140" y="51"/>
                    <a:pt x="140" y="51"/>
                  </a:cubicBezTo>
                  <a:cubicBezTo>
                    <a:pt x="140" y="50"/>
                    <a:pt x="140" y="50"/>
                    <a:pt x="140" y="50"/>
                  </a:cubicBezTo>
                  <a:cubicBezTo>
                    <a:pt x="140" y="49"/>
                    <a:pt x="139" y="49"/>
                    <a:pt x="139" y="49"/>
                  </a:cubicBezTo>
                  <a:cubicBezTo>
                    <a:pt x="139" y="49"/>
                    <a:pt x="138" y="48"/>
                    <a:pt x="138" y="49"/>
                  </a:cubicBezTo>
                  <a:cubicBezTo>
                    <a:pt x="138" y="49"/>
                    <a:pt x="136" y="49"/>
                    <a:pt x="134" y="50"/>
                  </a:cubicBezTo>
                  <a:cubicBezTo>
                    <a:pt x="133" y="49"/>
                    <a:pt x="133" y="48"/>
                    <a:pt x="133" y="47"/>
                  </a:cubicBezTo>
                  <a:cubicBezTo>
                    <a:pt x="134" y="46"/>
                    <a:pt x="136" y="45"/>
                    <a:pt x="137" y="45"/>
                  </a:cubicBezTo>
                  <a:cubicBezTo>
                    <a:pt x="137" y="44"/>
                    <a:pt x="137" y="44"/>
                    <a:pt x="137" y="44"/>
                  </a:cubicBezTo>
                  <a:cubicBezTo>
                    <a:pt x="137" y="43"/>
                    <a:pt x="137" y="43"/>
                    <a:pt x="137" y="43"/>
                  </a:cubicBezTo>
                  <a:cubicBezTo>
                    <a:pt x="137" y="42"/>
                    <a:pt x="137" y="42"/>
                    <a:pt x="136" y="42"/>
                  </a:cubicBezTo>
                  <a:cubicBezTo>
                    <a:pt x="136" y="42"/>
                    <a:pt x="136" y="42"/>
                    <a:pt x="135" y="42"/>
                  </a:cubicBezTo>
                  <a:cubicBezTo>
                    <a:pt x="135" y="42"/>
                    <a:pt x="133" y="43"/>
                    <a:pt x="131" y="43"/>
                  </a:cubicBezTo>
                  <a:cubicBezTo>
                    <a:pt x="131" y="42"/>
                    <a:pt x="130" y="41"/>
                    <a:pt x="130" y="40"/>
                  </a:cubicBezTo>
                  <a:cubicBezTo>
                    <a:pt x="131" y="39"/>
                    <a:pt x="133" y="38"/>
                    <a:pt x="133" y="38"/>
                  </a:cubicBezTo>
                  <a:cubicBezTo>
                    <a:pt x="134" y="38"/>
                    <a:pt x="134" y="37"/>
                    <a:pt x="134" y="37"/>
                  </a:cubicBezTo>
                  <a:cubicBezTo>
                    <a:pt x="134" y="37"/>
                    <a:pt x="134" y="36"/>
                    <a:pt x="134" y="36"/>
                  </a:cubicBezTo>
                  <a:cubicBezTo>
                    <a:pt x="134" y="36"/>
                    <a:pt x="133" y="35"/>
                    <a:pt x="133" y="35"/>
                  </a:cubicBezTo>
                  <a:cubicBezTo>
                    <a:pt x="133" y="35"/>
                    <a:pt x="132" y="35"/>
                    <a:pt x="132" y="35"/>
                  </a:cubicBezTo>
                  <a:cubicBezTo>
                    <a:pt x="131" y="35"/>
                    <a:pt x="130" y="36"/>
                    <a:pt x="128" y="37"/>
                  </a:cubicBezTo>
                  <a:cubicBezTo>
                    <a:pt x="127" y="36"/>
                    <a:pt x="127" y="35"/>
                    <a:pt x="126" y="35"/>
                  </a:cubicBezTo>
                  <a:cubicBezTo>
                    <a:pt x="128" y="33"/>
                    <a:pt x="129" y="32"/>
                    <a:pt x="129" y="32"/>
                  </a:cubicBezTo>
                  <a:cubicBezTo>
                    <a:pt x="130" y="31"/>
                    <a:pt x="130" y="31"/>
                    <a:pt x="130" y="31"/>
                  </a:cubicBezTo>
                  <a:cubicBezTo>
                    <a:pt x="130" y="30"/>
                    <a:pt x="130" y="30"/>
                    <a:pt x="130" y="30"/>
                  </a:cubicBezTo>
                  <a:cubicBezTo>
                    <a:pt x="129" y="29"/>
                    <a:pt x="129" y="29"/>
                    <a:pt x="129" y="29"/>
                  </a:cubicBezTo>
                  <a:cubicBezTo>
                    <a:pt x="128" y="29"/>
                    <a:pt x="128" y="29"/>
                    <a:pt x="128" y="29"/>
                  </a:cubicBezTo>
                  <a:cubicBezTo>
                    <a:pt x="127" y="29"/>
                    <a:pt x="125" y="30"/>
                    <a:pt x="124" y="31"/>
                  </a:cubicBezTo>
                  <a:cubicBezTo>
                    <a:pt x="123" y="31"/>
                    <a:pt x="123" y="30"/>
                    <a:pt x="122" y="29"/>
                  </a:cubicBezTo>
                  <a:cubicBezTo>
                    <a:pt x="123" y="28"/>
                    <a:pt x="125" y="26"/>
                    <a:pt x="125" y="26"/>
                  </a:cubicBezTo>
                  <a:cubicBezTo>
                    <a:pt x="125" y="26"/>
                    <a:pt x="125" y="25"/>
                    <a:pt x="125" y="25"/>
                  </a:cubicBezTo>
                  <a:cubicBezTo>
                    <a:pt x="125" y="24"/>
                    <a:pt x="125" y="24"/>
                    <a:pt x="125" y="24"/>
                  </a:cubicBezTo>
                  <a:cubicBezTo>
                    <a:pt x="125" y="23"/>
                    <a:pt x="124" y="23"/>
                    <a:pt x="124" y="23"/>
                  </a:cubicBezTo>
                  <a:cubicBezTo>
                    <a:pt x="124" y="23"/>
                    <a:pt x="123" y="23"/>
                    <a:pt x="123" y="24"/>
                  </a:cubicBezTo>
                  <a:cubicBezTo>
                    <a:pt x="123" y="24"/>
                    <a:pt x="121" y="25"/>
                    <a:pt x="119" y="26"/>
                  </a:cubicBezTo>
                  <a:cubicBezTo>
                    <a:pt x="119" y="26"/>
                    <a:pt x="118" y="25"/>
                    <a:pt x="117" y="24"/>
                  </a:cubicBezTo>
                  <a:cubicBezTo>
                    <a:pt x="118" y="23"/>
                    <a:pt x="120" y="21"/>
                    <a:pt x="120" y="20"/>
                  </a:cubicBezTo>
                  <a:cubicBezTo>
                    <a:pt x="120" y="20"/>
                    <a:pt x="120" y="20"/>
                    <a:pt x="120" y="19"/>
                  </a:cubicBezTo>
                  <a:cubicBezTo>
                    <a:pt x="120" y="19"/>
                    <a:pt x="120" y="19"/>
                    <a:pt x="120" y="18"/>
                  </a:cubicBezTo>
                  <a:cubicBezTo>
                    <a:pt x="119" y="18"/>
                    <a:pt x="119" y="18"/>
                    <a:pt x="119" y="18"/>
                  </a:cubicBezTo>
                  <a:cubicBezTo>
                    <a:pt x="118" y="18"/>
                    <a:pt x="118" y="18"/>
                    <a:pt x="118" y="18"/>
                  </a:cubicBezTo>
                  <a:cubicBezTo>
                    <a:pt x="117" y="19"/>
                    <a:pt x="116" y="20"/>
                    <a:pt x="114" y="21"/>
                  </a:cubicBezTo>
                  <a:cubicBezTo>
                    <a:pt x="114" y="21"/>
                    <a:pt x="113" y="20"/>
                    <a:pt x="112" y="20"/>
                  </a:cubicBezTo>
                  <a:cubicBezTo>
                    <a:pt x="113" y="18"/>
                    <a:pt x="114" y="16"/>
                    <a:pt x="114" y="16"/>
                  </a:cubicBezTo>
                  <a:cubicBezTo>
                    <a:pt x="114" y="15"/>
                    <a:pt x="114" y="15"/>
                    <a:pt x="114" y="15"/>
                  </a:cubicBezTo>
                  <a:cubicBezTo>
                    <a:pt x="114" y="14"/>
                    <a:pt x="114" y="14"/>
                    <a:pt x="114" y="14"/>
                  </a:cubicBezTo>
                  <a:cubicBezTo>
                    <a:pt x="113" y="14"/>
                    <a:pt x="113" y="13"/>
                    <a:pt x="113" y="13"/>
                  </a:cubicBezTo>
                  <a:cubicBezTo>
                    <a:pt x="112" y="13"/>
                    <a:pt x="112" y="14"/>
                    <a:pt x="112" y="14"/>
                  </a:cubicBezTo>
                  <a:cubicBezTo>
                    <a:pt x="111" y="14"/>
                    <a:pt x="110" y="16"/>
                    <a:pt x="109" y="17"/>
                  </a:cubicBezTo>
                  <a:cubicBezTo>
                    <a:pt x="108" y="17"/>
                    <a:pt x="107" y="16"/>
                    <a:pt x="106" y="16"/>
                  </a:cubicBezTo>
                  <a:cubicBezTo>
                    <a:pt x="107" y="14"/>
                    <a:pt x="108" y="12"/>
                    <a:pt x="108" y="12"/>
                  </a:cubicBezTo>
                  <a:cubicBezTo>
                    <a:pt x="108" y="11"/>
                    <a:pt x="108" y="11"/>
                    <a:pt x="108" y="10"/>
                  </a:cubicBezTo>
                  <a:cubicBezTo>
                    <a:pt x="108" y="10"/>
                    <a:pt x="108" y="10"/>
                    <a:pt x="107" y="10"/>
                  </a:cubicBezTo>
                  <a:cubicBezTo>
                    <a:pt x="107" y="9"/>
                    <a:pt x="107" y="9"/>
                    <a:pt x="106" y="9"/>
                  </a:cubicBezTo>
                  <a:cubicBezTo>
                    <a:pt x="106" y="10"/>
                    <a:pt x="106" y="10"/>
                    <a:pt x="105" y="10"/>
                  </a:cubicBezTo>
                  <a:cubicBezTo>
                    <a:pt x="105" y="10"/>
                    <a:pt x="104" y="12"/>
                    <a:pt x="103" y="14"/>
                  </a:cubicBezTo>
                  <a:cubicBezTo>
                    <a:pt x="102" y="13"/>
                    <a:pt x="101" y="13"/>
                    <a:pt x="100" y="12"/>
                  </a:cubicBezTo>
                  <a:cubicBezTo>
                    <a:pt x="101" y="10"/>
                    <a:pt x="102" y="8"/>
                    <a:pt x="102" y="8"/>
                  </a:cubicBezTo>
                  <a:cubicBezTo>
                    <a:pt x="102" y="8"/>
                    <a:pt x="102" y="7"/>
                    <a:pt x="102" y="7"/>
                  </a:cubicBezTo>
                  <a:cubicBezTo>
                    <a:pt x="101" y="7"/>
                    <a:pt x="101" y="6"/>
                    <a:pt x="101" y="6"/>
                  </a:cubicBezTo>
                  <a:cubicBezTo>
                    <a:pt x="100" y="6"/>
                    <a:pt x="100" y="6"/>
                    <a:pt x="100" y="6"/>
                  </a:cubicBezTo>
                  <a:cubicBezTo>
                    <a:pt x="99" y="6"/>
                    <a:pt x="99" y="6"/>
                    <a:pt x="99" y="7"/>
                  </a:cubicBezTo>
                  <a:cubicBezTo>
                    <a:pt x="99" y="7"/>
                    <a:pt x="98" y="9"/>
                    <a:pt x="97" y="11"/>
                  </a:cubicBezTo>
                  <a:cubicBezTo>
                    <a:pt x="96" y="10"/>
                    <a:pt x="95" y="10"/>
                    <a:pt x="94" y="10"/>
                  </a:cubicBezTo>
                  <a:cubicBezTo>
                    <a:pt x="94" y="8"/>
                    <a:pt x="95" y="6"/>
                    <a:pt x="95" y="5"/>
                  </a:cubicBezTo>
                  <a:cubicBezTo>
                    <a:pt x="95" y="5"/>
                    <a:pt x="95" y="4"/>
                    <a:pt x="95" y="4"/>
                  </a:cubicBezTo>
                  <a:cubicBezTo>
                    <a:pt x="94" y="4"/>
                    <a:pt x="94" y="4"/>
                    <a:pt x="94" y="3"/>
                  </a:cubicBezTo>
                  <a:cubicBezTo>
                    <a:pt x="93" y="3"/>
                    <a:pt x="93" y="3"/>
                    <a:pt x="93" y="4"/>
                  </a:cubicBezTo>
                  <a:cubicBezTo>
                    <a:pt x="92" y="4"/>
                    <a:pt x="92" y="4"/>
                    <a:pt x="92" y="4"/>
                  </a:cubicBezTo>
                  <a:cubicBezTo>
                    <a:pt x="92" y="5"/>
                    <a:pt x="91" y="7"/>
                    <a:pt x="90" y="8"/>
                  </a:cubicBezTo>
                  <a:cubicBezTo>
                    <a:pt x="89" y="8"/>
                    <a:pt x="88" y="8"/>
                    <a:pt x="87" y="8"/>
                  </a:cubicBezTo>
                  <a:cubicBezTo>
                    <a:pt x="87" y="6"/>
                    <a:pt x="88" y="4"/>
                    <a:pt x="88" y="3"/>
                  </a:cubicBezTo>
                  <a:cubicBezTo>
                    <a:pt x="88" y="3"/>
                    <a:pt x="88" y="2"/>
                    <a:pt x="87" y="2"/>
                  </a:cubicBezTo>
                  <a:cubicBezTo>
                    <a:pt x="87" y="2"/>
                    <a:pt x="87" y="2"/>
                    <a:pt x="86" y="2"/>
                  </a:cubicBezTo>
                  <a:cubicBezTo>
                    <a:pt x="86" y="2"/>
                    <a:pt x="86" y="2"/>
                    <a:pt x="85" y="2"/>
                  </a:cubicBezTo>
                  <a:cubicBezTo>
                    <a:pt x="85" y="2"/>
                    <a:pt x="85" y="2"/>
                    <a:pt x="85" y="3"/>
                  </a:cubicBezTo>
                  <a:cubicBezTo>
                    <a:pt x="85" y="3"/>
                    <a:pt x="84" y="5"/>
                    <a:pt x="83" y="7"/>
                  </a:cubicBezTo>
                  <a:cubicBezTo>
                    <a:pt x="82" y="7"/>
                    <a:pt x="81" y="6"/>
                    <a:pt x="80" y="6"/>
                  </a:cubicBezTo>
                  <a:cubicBezTo>
                    <a:pt x="81" y="4"/>
                    <a:pt x="81" y="2"/>
                    <a:pt x="81" y="2"/>
                  </a:cubicBezTo>
                  <a:cubicBezTo>
                    <a:pt x="81" y="2"/>
                    <a:pt x="80" y="1"/>
                    <a:pt x="80" y="1"/>
                  </a:cubicBezTo>
                  <a:cubicBezTo>
                    <a:pt x="80" y="1"/>
                    <a:pt x="79" y="0"/>
                    <a:pt x="79" y="0"/>
                  </a:cubicBezTo>
                  <a:cubicBezTo>
                    <a:pt x="79" y="0"/>
                    <a:pt x="78" y="0"/>
                    <a:pt x="78" y="1"/>
                  </a:cubicBezTo>
                  <a:cubicBezTo>
                    <a:pt x="78" y="1"/>
                    <a:pt x="77" y="1"/>
                    <a:pt x="77" y="2"/>
                  </a:cubicBezTo>
                  <a:cubicBezTo>
                    <a:pt x="77" y="2"/>
                    <a:pt x="77" y="4"/>
                    <a:pt x="77" y="6"/>
                  </a:cubicBezTo>
                  <a:cubicBezTo>
                    <a:pt x="75" y="6"/>
                    <a:pt x="75" y="6"/>
                    <a:pt x="74" y="6"/>
                  </a:cubicBezTo>
                  <a:cubicBezTo>
                    <a:pt x="73" y="4"/>
                    <a:pt x="73" y="2"/>
                    <a:pt x="73" y="1"/>
                  </a:cubicBezTo>
                  <a:cubicBezTo>
                    <a:pt x="73" y="1"/>
                    <a:pt x="73" y="1"/>
                    <a:pt x="73" y="0"/>
                  </a:cubicBezTo>
                  <a:cubicBezTo>
                    <a:pt x="72" y="0"/>
                    <a:pt x="72" y="0"/>
                    <a:pt x="72" y="0"/>
                  </a:cubicBezTo>
                  <a:cubicBezTo>
                    <a:pt x="71" y="0"/>
                    <a:pt x="71" y="0"/>
                    <a:pt x="71" y="0"/>
                  </a:cubicBezTo>
                  <a:cubicBezTo>
                    <a:pt x="70" y="1"/>
                    <a:pt x="70" y="1"/>
                    <a:pt x="70" y="1"/>
                  </a:cubicBezTo>
                  <a:cubicBezTo>
                    <a:pt x="70" y="2"/>
                    <a:pt x="70" y="4"/>
                    <a:pt x="70" y="6"/>
                  </a:cubicBezTo>
                  <a:cubicBezTo>
                    <a:pt x="69" y="6"/>
                    <a:pt x="68" y="6"/>
                    <a:pt x="67" y="6"/>
                  </a:cubicBezTo>
                  <a:cubicBezTo>
                    <a:pt x="66" y="4"/>
                    <a:pt x="66" y="2"/>
                    <a:pt x="66" y="2"/>
                  </a:cubicBezTo>
                  <a:cubicBezTo>
                    <a:pt x="66" y="1"/>
                    <a:pt x="65" y="1"/>
                    <a:pt x="65" y="1"/>
                  </a:cubicBezTo>
                  <a:cubicBezTo>
                    <a:pt x="65" y="0"/>
                    <a:pt x="65" y="0"/>
                    <a:pt x="64" y="0"/>
                  </a:cubicBezTo>
                  <a:cubicBezTo>
                    <a:pt x="64" y="0"/>
                    <a:pt x="63" y="1"/>
                    <a:pt x="63" y="1"/>
                  </a:cubicBezTo>
                  <a:cubicBezTo>
                    <a:pt x="63" y="1"/>
                    <a:pt x="63" y="2"/>
                    <a:pt x="63" y="2"/>
                  </a:cubicBezTo>
                  <a:cubicBezTo>
                    <a:pt x="63" y="2"/>
                    <a:pt x="63" y="4"/>
                    <a:pt x="63" y="6"/>
                  </a:cubicBezTo>
                  <a:cubicBezTo>
                    <a:pt x="62" y="6"/>
                    <a:pt x="61" y="7"/>
                    <a:pt x="60" y="7"/>
                  </a:cubicBezTo>
                  <a:cubicBezTo>
                    <a:pt x="59" y="5"/>
                    <a:pt x="59" y="3"/>
                    <a:pt x="58" y="3"/>
                  </a:cubicBezTo>
                  <a:cubicBezTo>
                    <a:pt x="58" y="2"/>
                    <a:pt x="58" y="2"/>
                    <a:pt x="58" y="2"/>
                  </a:cubicBezTo>
                  <a:cubicBezTo>
                    <a:pt x="57" y="2"/>
                    <a:pt x="57" y="2"/>
                    <a:pt x="57" y="2"/>
                  </a:cubicBezTo>
                  <a:cubicBezTo>
                    <a:pt x="56" y="2"/>
                    <a:pt x="56" y="2"/>
                    <a:pt x="56" y="2"/>
                  </a:cubicBezTo>
                  <a:cubicBezTo>
                    <a:pt x="55" y="2"/>
                    <a:pt x="55" y="3"/>
                    <a:pt x="55" y="3"/>
                  </a:cubicBezTo>
                  <a:cubicBezTo>
                    <a:pt x="55" y="4"/>
                    <a:pt x="56" y="6"/>
                    <a:pt x="56" y="8"/>
                  </a:cubicBezTo>
                  <a:cubicBezTo>
                    <a:pt x="55" y="8"/>
                    <a:pt x="54" y="8"/>
                    <a:pt x="53" y="8"/>
                  </a:cubicBezTo>
                  <a:cubicBezTo>
                    <a:pt x="52" y="7"/>
                    <a:pt x="51" y="5"/>
                    <a:pt x="51" y="4"/>
                  </a:cubicBezTo>
                  <a:cubicBezTo>
                    <a:pt x="51" y="4"/>
                    <a:pt x="51" y="4"/>
                    <a:pt x="50" y="4"/>
                  </a:cubicBezTo>
                  <a:cubicBezTo>
                    <a:pt x="50" y="3"/>
                    <a:pt x="50" y="3"/>
                    <a:pt x="49" y="3"/>
                  </a:cubicBezTo>
                  <a:cubicBezTo>
                    <a:pt x="49" y="4"/>
                    <a:pt x="49" y="4"/>
                    <a:pt x="49" y="4"/>
                  </a:cubicBezTo>
                  <a:cubicBezTo>
                    <a:pt x="48" y="4"/>
                    <a:pt x="48" y="5"/>
                    <a:pt x="48" y="5"/>
                  </a:cubicBezTo>
                  <a:cubicBezTo>
                    <a:pt x="48" y="6"/>
                    <a:pt x="49" y="8"/>
                    <a:pt x="49" y="10"/>
                  </a:cubicBezTo>
                  <a:cubicBezTo>
                    <a:pt x="48" y="10"/>
                    <a:pt x="47" y="10"/>
                    <a:pt x="47" y="11"/>
                  </a:cubicBezTo>
                  <a:cubicBezTo>
                    <a:pt x="46" y="9"/>
                    <a:pt x="45" y="7"/>
                    <a:pt x="44" y="7"/>
                  </a:cubicBezTo>
                  <a:cubicBezTo>
                    <a:pt x="44" y="6"/>
                    <a:pt x="44" y="6"/>
                    <a:pt x="43" y="6"/>
                  </a:cubicBezTo>
                  <a:cubicBezTo>
                    <a:pt x="43" y="6"/>
                    <a:pt x="43" y="6"/>
                    <a:pt x="42" y="6"/>
                  </a:cubicBezTo>
                  <a:cubicBezTo>
                    <a:pt x="42" y="6"/>
                    <a:pt x="42" y="7"/>
                    <a:pt x="42" y="7"/>
                  </a:cubicBezTo>
                  <a:cubicBezTo>
                    <a:pt x="41" y="7"/>
                    <a:pt x="41" y="8"/>
                    <a:pt x="42" y="8"/>
                  </a:cubicBezTo>
                  <a:cubicBezTo>
                    <a:pt x="42" y="8"/>
                    <a:pt x="42" y="10"/>
                    <a:pt x="43" y="12"/>
                  </a:cubicBezTo>
                  <a:cubicBezTo>
                    <a:pt x="42" y="13"/>
                    <a:pt x="41" y="13"/>
                    <a:pt x="40" y="14"/>
                  </a:cubicBezTo>
                  <a:cubicBezTo>
                    <a:pt x="39" y="12"/>
                    <a:pt x="38" y="10"/>
                    <a:pt x="38" y="10"/>
                  </a:cubicBezTo>
                  <a:cubicBezTo>
                    <a:pt x="37" y="10"/>
                    <a:pt x="37" y="10"/>
                    <a:pt x="37" y="9"/>
                  </a:cubicBezTo>
                  <a:cubicBezTo>
                    <a:pt x="36" y="9"/>
                    <a:pt x="36" y="9"/>
                    <a:pt x="36" y="10"/>
                  </a:cubicBezTo>
                  <a:cubicBezTo>
                    <a:pt x="35" y="10"/>
                    <a:pt x="35" y="10"/>
                    <a:pt x="35" y="10"/>
                  </a:cubicBezTo>
                  <a:cubicBezTo>
                    <a:pt x="35" y="11"/>
                    <a:pt x="35" y="11"/>
                    <a:pt x="35" y="12"/>
                  </a:cubicBezTo>
                  <a:cubicBezTo>
                    <a:pt x="35" y="12"/>
                    <a:pt x="36" y="14"/>
                    <a:pt x="37" y="16"/>
                  </a:cubicBezTo>
                  <a:cubicBezTo>
                    <a:pt x="36" y="16"/>
                    <a:pt x="35" y="17"/>
                    <a:pt x="34" y="17"/>
                  </a:cubicBezTo>
                  <a:cubicBezTo>
                    <a:pt x="33" y="16"/>
                    <a:pt x="32" y="14"/>
                    <a:pt x="31" y="14"/>
                  </a:cubicBezTo>
                  <a:cubicBezTo>
                    <a:pt x="31" y="14"/>
                    <a:pt x="31" y="13"/>
                    <a:pt x="30" y="13"/>
                  </a:cubicBezTo>
                  <a:cubicBezTo>
                    <a:pt x="30" y="13"/>
                    <a:pt x="30" y="14"/>
                    <a:pt x="29" y="14"/>
                  </a:cubicBezTo>
                  <a:cubicBezTo>
                    <a:pt x="29" y="14"/>
                    <a:pt x="29" y="14"/>
                    <a:pt x="29" y="15"/>
                  </a:cubicBezTo>
                  <a:cubicBezTo>
                    <a:pt x="29" y="15"/>
                    <a:pt x="29" y="15"/>
                    <a:pt x="29" y="16"/>
                  </a:cubicBezTo>
                  <a:cubicBezTo>
                    <a:pt x="29" y="16"/>
                    <a:pt x="30" y="18"/>
                    <a:pt x="31" y="20"/>
                  </a:cubicBezTo>
                  <a:cubicBezTo>
                    <a:pt x="30" y="20"/>
                    <a:pt x="30" y="21"/>
                    <a:pt x="29" y="21"/>
                  </a:cubicBezTo>
                  <a:cubicBezTo>
                    <a:pt x="27" y="20"/>
                    <a:pt x="26" y="19"/>
                    <a:pt x="26" y="18"/>
                  </a:cubicBezTo>
                  <a:cubicBezTo>
                    <a:pt x="25" y="18"/>
                    <a:pt x="25" y="18"/>
                    <a:pt x="24" y="18"/>
                  </a:cubicBezTo>
                  <a:cubicBezTo>
                    <a:pt x="24" y="18"/>
                    <a:pt x="24" y="18"/>
                    <a:pt x="24" y="18"/>
                  </a:cubicBezTo>
                  <a:cubicBezTo>
                    <a:pt x="23" y="19"/>
                    <a:pt x="23" y="19"/>
                    <a:pt x="23" y="19"/>
                  </a:cubicBezTo>
                  <a:cubicBezTo>
                    <a:pt x="23" y="20"/>
                    <a:pt x="23" y="20"/>
                    <a:pt x="23" y="20"/>
                  </a:cubicBezTo>
                  <a:cubicBezTo>
                    <a:pt x="24" y="21"/>
                    <a:pt x="25" y="23"/>
                    <a:pt x="26" y="24"/>
                  </a:cubicBezTo>
                  <a:cubicBezTo>
                    <a:pt x="25" y="25"/>
                    <a:pt x="24" y="26"/>
                    <a:pt x="24" y="26"/>
                  </a:cubicBezTo>
                  <a:cubicBezTo>
                    <a:pt x="22" y="25"/>
                    <a:pt x="21" y="24"/>
                    <a:pt x="20" y="24"/>
                  </a:cubicBezTo>
                  <a:cubicBezTo>
                    <a:pt x="20" y="23"/>
                    <a:pt x="20" y="23"/>
                    <a:pt x="19" y="23"/>
                  </a:cubicBezTo>
                  <a:cubicBezTo>
                    <a:pt x="19" y="23"/>
                    <a:pt x="18" y="23"/>
                    <a:pt x="18" y="24"/>
                  </a:cubicBezTo>
                  <a:cubicBezTo>
                    <a:pt x="18" y="24"/>
                    <a:pt x="18" y="24"/>
                    <a:pt x="18" y="25"/>
                  </a:cubicBezTo>
                  <a:cubicBezTo>
                    <a:pt x="18" y="25"/>
                    <a:pt x="18" y="26"/>
                    <a:pt x="18" y="26"/>
                  </a:cubicBezTo>
                  <a:cubicBezTo>
                    <a:pt x="18" y="26"/>
                    <a:pt x="20" y="28"/>
                    <a:pt x="21" y="29"/>
                  </a:cubicBezTo>
                  <a:cubicBezTo>
                    <a:pt x="21" y="30"/>
                    <a:pt x="20" y="31"/>
                    <a:pt x="19" y="31"/>
                  </a:cubicBezTo>
                  <a:cubicBezTo>
                    <a:pt x="18" y="30"/>
                    <a:pt x="16" y="29"/>
                    <a:pt x="15" y="29"/>
                  </a:cubicBezTo>
                  <a:cubicBezTo>
                    <a:pt x="15" y="29"/>
                    <a:pt x="15" y="29"/>
                    <a:pt x="14" y="29"/>
                  </a:cubicBezTo>
                  <a:cubicBezTo>
                    <a:pt x="14" y="29"/>
                    <a:pt x="14" y="29"/>
                    <a:pt x="14" y="30"/>
                  </a:cubicBezTo>
                  <a:cubicBezTo>
                    <a:pt x="13" y="30"/>
                    <a:pt x="13" y="30"/>
                    <a:pt x="13" y="31"/>
                  </a:cubicBezTo>
                  <a:cubicBezTo>
                    <a:pt x="13" y="31"/>
                    <a:pt x="13" y="31"/>
                    <a:pt x="14" y="32"/>
                  </a:cubicBezTo>
                  <a:cubicBezTo>
                    <a:pt x="14" y="32"/>
                    <a:pt x="16" y="33"/>
                    <a:pt x="17" y="35"/>
                  </a:cubicBezTo>
                  <a:cubicBezTo>
                    <a:pt x="16" y="35"/>
                    <a:pt x="16" y="36"/>
                    <a:pt x="15" y="37"/>
                  </a:cubicBezTo>
                  <a:cubicBezTo>
                    <a:pt x="14" y="36"/>
                    <a:pt x="12" y="35"/>
                    <a:pt x="11" y="35"/>
                  </a:cubicBezTo>
                  <a:cubicBezTo>
                    <a:pt x="11" y="35"/>
                    <a:pt x="11" y="35"/>
                    <a:pt x="10" y="35"/>
                  </a:cubicBezTo>
                  <a:cubicBezTo>
                    <a:pt x="10" y="35"/>
                    <a:pt x="10" y="36"/>
                    <a:pt x="9" y="36"/>
                  </a:cubicBezTo>
                  <a:cubicBezTo>
                    <a:pt x="9" y="36"/>
                    <a:pt x="9" y="37"/>
                    <a:pt x="9" y="37"/>
                  </a:cubicBezTo>
                  <a:cubicBezTo>
                    <a:pt x="9" y="37"/>
                    <a:pt x="10" y="38"/>
                    <a:pt x="10" y="38"/>
                  </a:cubicBezTo>
                  <a:cubicBezTo>
                    <a:pt x="10" y="38"/>
                    <a:pt x="12" y="39"/>
                    <a:pt x="13" y="40"/>
                  </a:cubicBezTo>
                  <a:cubicBezTo>
                    <a:pt x="13" y="41"/>
                    <a:pt x="12" y="42"/>
                    <a:pt x="12" y="43"/>
                  </a:cubicBezTo>
                  <a:cubicBezTo>
                    <a:pt x="10" y="43"/>
                    <a:pt x="8" y="42"/>
                    <a:pt x="8" y="42"/>
                  </a:cubicBezTo>
                  <a:cubicBezTo>
                    <a:pt x="7" y="42"/>
                    <a:pt x="7" y="42"/>
                    <a:pt x="7" y="42"/>
                  </a:cubicBezTo>
                  <a:cubicBezTo>
                    <a:pt x="6" y="42"/>
                    <a:pt x="6" y="42"/>
                    <a:pt x="6" y="43"/>
                  </a:cubicBezTo>
                  <a:cubicBezTo>
                    <a:pt x="6" y="43"/>
                    <a:pt x="6" y="43"/>
                    <a:pt x="6" y="44"/>
                  </a:cubicBezTo>
                  <a:cubicBezTo>
                    <a:pt x="6" y="44"/>
                    <a:pt x="6" y="44"/>
                    <a:pt x="7" y="45"/>
                  </a:cubicBezTo>
                  <a:cubicBezTo>
                    <a:pt x="7" y="45"/>
                    <a:pt x="9" y="46"/>
                    <a:pt x="10" y="47"/>
                  </a:cubicBezTo>
                  <a:cubicBezTo>
                    <a:pt x="10" y="48"/>
                    <a:pt x="10" y="49"/>
                    <a:pt x="9" y="50"/>
                  </a:cubicBezTo>
                  <a:cubicBezTo>
                    <a:pt x="7" y="49"/>
                    <a:pt x="6" y="49"/>
                    <a:pt x="5" y="49"/>
                  </a:cubicBezTo>
                  <a:cubicBezTo>
                    <a:pt x="5" y="48"/>
                    <a:pt x="4" y="49"/>
                    <a:pt x="4" y="49"/>
                  </a:cubicBezTo>
                  <a:cubicBezTo>
                    <a:pt x="4" y="49"/>
                    <a:pt x="3" y="49"/>
                    <a:pt x="3" y="50"/>
                  </a:cubicBezTo>
                  <a:cubicBezTo>
                    <a:pt x="3" y="50"/>
                    <a:pt x="3" y="50"/>
                    <a:pt x="3" y="51"/>
                  </a:cubicBezTo>
                  <a:cubicBezTo>
                    <a:pt x="3" y="51"/>
                    <a:pt x="4" y="51"/>
                    <a:pt x="4" y="52"/>
                  </a:cubicBezTo>
                  <a:cubicBezTo>
                    <a:pt x="4" y="52"/>
                    <a:pt x="6" y="53"/>
                    <a:pt x="8" y="53"/>
                  </a:cubicBezTo>
                  <a:cubicBezTo>
                    <a:pt x="8" y="54"/>
                    <a:pt x="8" y="55"/>
                    <a:pt x="7" y="56"/>
                  </a:cubicBezTo>
                  <a:cubicBezTo>
                    <a:pt x="6" y="56"/>
                    <a:pt x="3" y="56"/>
                    <a:pt x="3" y="56"/>
                  </a:cubicBezTo>
                  <a:cubicBezTo>
                    <a:pt x="3" y="56"/>
                    <a:pt x="2" y="56"/>
                    <a:pt x="2" y="56"/>
                  </a:cubicBezTo>
                  <a:cubicBezTo>
                    <a:pt x="2" y="56"/>
                    <a:pt x="1" y="57"/>
                    <a:pt x="1" y="57"/>
                  </a:cubicBezTo>
                  <a:cubicBezTo>
                    <a:pt x="1" y="57"/>
                    <a:pt x="1" y="58"/>
                    <a:pt x="2" y="58"/>
                  </a:cubicBezTo>
                  <a:cubicBezTo>
                    <a:pt x="2" y="58"/>
                    <a:pt x="2" y="59"/>
                    <a:pt x="2" y="59"/>
                  </a:cubicBezTo>
                  <a:cubicBezTo>
                    <a:pt x="3" y="59"/>
                    <a:pt x="5" y="59"/>
                    <a:pt x="7" y="60"/>
                  </a:cubicBezTo>
                  <a:cubicBezTo>
                    <a:pt x="6" y="61"/>
                    <a:pt x="6" y="62"/>
                    <a:pt x="6" y="63"/>
                  </a:cubicBezTo>
                  <a:cubicBezTo>
                    <a:pt x="4" y="63"/>
                    <a:pt x="2" y="63"/>
                    <a:pt x="2" y="63"/>
                  </a:cubicBezTo>
                  <a:cubicBezTo>
                    <a:pt x="1" y="63"/>
                    <a:pt x="1" y="63"/>
                    <a:pt x="1" y="63"/>
                  </a:cubicBezTo>
                  <a:cubicBezTo>
                    <a:pt x="0" y="64"/>
                    <a:pt x="0" y="64"/>
                    <a:pt x="0" y="64"/>
                  </a:cubicBezTo>
                  <a:cubicBezTo>
                    <a:pt x="0" y="65"/>
                    <a:pt x="0" y="65"/>
                    <a:pt x="0" y="65"/>
                  </a:cubicBezTo>
                  <a:cubicBezTo>
                    <a:pt x="1" y="66"/>
                    <a:pt x="1" y="66"/>
                    <a:pt x="1" y="66"/>
                  </a:cubicBezTo>
                  <a:cubicBezTo>
                    <a:pt x="2" y="66"/>
                    <a:pt x="4" y="67"/>
                    <a:pt x="6" y="67"/>
                  </a:cubicBezTo>
                  <a:cubicBezTo>
                    <a:pt x="6" y="68"/>
                    <a:pt x="6" y="69"/>
                    <a:pt x="6" y="70"/>
                  </a:cubicBezTo>
                  <a:cubicBezTo>
                    <a:pt x="4" y="70"/>
                    <a:pt x="2" y="70"/>
                    <a:pt x="1" y="70"/>
                  </a:cubicBezTo>
                  <a:cubicBezTo>
                    <a:pt x="1" y="70"/>
                    <a:pt x="0" y="71"/>
                    <a:pt x="0" y="71"/>
                  </a:cubicBezTo>
                  <a:cubicBezTo>
                    <a:pt x="0" y="71"/>
                    <a:pt x="0" y="71"/>
                    <a:pt x="0" y="72"/>
                  </a:cubicBezTo>
                  <a:cubicBezTo>
                    <a:pt x="0" y="72"/>
                    <a:pt x="0" y="73"/>
                    <a:pt x="0" y="73"/>
                  </a:cubicBezTo>
                  <a:cubicBezTo>
                    <a:pt x="0" y="73"/>
                    <a:pt x="1" y="73"/>
                    <a:pt x="1" y="73"/>
                  </a:cubicBezTo>
                  <a:cubicBezTo>
                    <a:pt x="2" y="74"/>
                    <a:pt x="4" y="74"/>
                    <a:pt x="6" y="74"/>
                  </a:cubicBezTo>
                  <a:cubicBezTo>
                    <a:pt x="6" y="75"/>
                    <a:pt x="6" y="76"/>
                    <a:pt x="6" y="77"/>
                  </a:cubicBezTo>
                  <a:cubicBezTo>
                    <a:pt x="4" y="77"/>
                    <a:pt x="2" y="78"/>
                    <a:pt x="1" y="78"/>
                  </a:cubicBezTo>
                  <a:cubicBezTo>
                    <a:pt x="1" y="78"/>
                    <a:pt x="1" y="78"/>
                    <a:pt x="0" y="78"/>
                  </a:cubicBezTo>
                  <a:cubicBezTo>
                    <a:pt x="0" y="79"/>
                    <a:pt x="0" y="79"/>
                    <a:pt x="0" y="79"/>
                  </a:cubicBezTo>
                  <a:cubicBezTo>
                    <a:pt x="0" y="80"/>
                    <a:pt x="0" y="80"/>
                    <a:pt x="1" y="80"/>
                  </a:cubicBezTo>
                  <a:cubicBezTo>
                    <a:pt x="1" y="81"/>
                    <a:pt x="1" y="81"/>
                    <a:pt x="2" y="81"/>
                  </a:cubicBezTo>
                  <a:cubicBezTo>
                    <a:pt x="2" y="81"/>
                    <a:pt x="4" y="81"/>
                    <a:pt x="6" y="81"/>
                  </a:cubicBezTo>
                  <a:cubicBezTo>
                    <a:pt x="6" y="82"/>
                    <a:pt x="6" y="83"/>
                    <a:pt x="7" y="84"/>
                  </a:cubicBezTo>
                  <a:cubicBezTo>
                    <a:pt x="5" y="84"/>
                    <a:pt x="3" y="85"/>
                    <a:pt x="2" y="85"/>
                  </a:cubicBezTo>
                  <a:cubicBezTo>
                    <a:pt x="2" y="85"/>
                    <a:pt x="2" y="85"/>
                    <a:pt x="2" y="86"/>
                  </a:cubicBezTo>
                  <a:cubicBezTo>
                    <a:pt x="1" y="86"/>
                    <a:pt x="1" y="86"/>
                    <a:pt x="1" y="87"/>
                  </a:cubicBezTo>
                  <a:cubicBezTo>
                    <a:pt x="1" y="87"/>
                    <a:pt x="2" y="88"/>
                    <a:pt x="2" y="88"/>
                  </a:cubicBezTo>
                  <a:cubicBezTo>
                    <a:pt x="2" y="88"/>
                    <a:pt x="3" y="88"/>
                    <a:pt x="3" y="88"/>
                  </a:cubicBezTo>
                  <a:cubicBezTo>
                    <a:pt x="3" y="88"/>
                    <a:pt x="6" y="88"/>
                    <a:pt x="7" y="88"/>
                  </a:cubicBezTo>
                  <a:cubicBezTo>
                    <a:pt x="8" y="89"/>
                    <a:pt x="8" y="90"/>
                    <a:pt x="8" y="90"/>
                  </a:cubicBezTo>
                  <a:cubicBezTo>
                    <a:pt x="6" y="91"/>
                    <a:pt x="4" y="92"/>
                    <a:pt x="4" y="92"/>
                  </a:cubicBezTo>
                  <a:cubicBezTo>
                    <a:pt x="4" y="92"/>
                    <a:pt x="3" y="93"/>
                    <a:pt x="3" y="93"/>
                  </a:cubicBezTo>
                  <a:cubicBezTo>
                    <a:pt x="3" y="93"/>
                    <a:pt x="3" y="94"/>
                    <a:pt x="3" y="94"/>
                  </a:cubicBezTo>
                  <a:cubicBezTo>
                    <a:pt x="3" y="95"/>
                    <a:pt x="4" y="95"/>
                    <a:pt x="4" y="95"/>
                  </a:cubicBezTo>
                  <a:cubicBezTo>
                    <a:pt x="4" y="95"/>
                    <a:pt x="5" y="95"/>
                    <a:pt x="5" y="95"/>
                  </a:cubicBezTo>
                  <a:cubicBezTo>
                    <a:pt x="6" y="95"/>
                    <a:pt x="7" y="95"/>
                    <a:pt x="9" y="94"/>
                  </a:cubicBezTo>
                  <a:cubicBezTo>
                    <a:pt x="10" y="95"/>
                    <a:pt x="10" y="96"/>
                    <a:pt x="10" y="97"/>
                  </a:cubicBezTo>
                  <a:cubicBezTo>
                    <a:pt x="9" y="98"/>
                    <a:pt x="7" y="99"/>
                    <a:pt x="7" y="99"/>
                  </a:cubicBezTo>
                  <a:cubicBezTo>
                    <a:pt x="6" y="99"/>
                    <a:pt x="6" y="100"/>
                    <a:pt x="6" y="100"/>
                  </a:cubicBezTo>
                  <a:cubicBezTo>
                    <a:pt x="6" y="100"/>
                    <a:pt x="6" y="101"/>
                    <a:pt x="6" y="101"/>
                  </a:cubicBezTo>
                  <a:cubicBezTo>
                    <a:pt x="6" y="102"/>
                    <a:pt x="6" y="102"/>
                    <a:pt x="7" y="102"/>
                  </a:cubicBezTo>
                  <a:cubicBezTo>
                    <a:pt x="7" y="102"/>
                    <a:pt x="7" y="102"/>
                    <a:pt x="8" y="102"/>
                  </a:cubicBezTo>
                  <a:cubicBezTo>
                    <a:pt x="8" y="102"/>
                    <a:pt x="10" y="101"/>
                    <a:pt x="12" y="101"/>
                  </a:cubicBezTo>
                  <a:cubicBezTo>
                    <a:pt x="12" y="102"/>
                    <a:pt x="13" y="102"/>
                    <a:pt x="13" y="103"/>
                  </a:cubicBezTo>
                  <a:cubicBezTo>
                    <a:pt x="12" y="104"/>
                    <a:pt x="10" y="106"/>
                    <a:pt x="10" y="106"/>
                  </a:cubicBezTo>
                  <a:cubicBezTo>
                    <a:pt x="10" y="106"/>
                    <a:pt x="9" y="106"/>
                    <a:pt x="9" y="107"/>
                  </a:cubicBezTo>
                  <a:cubicBezTo>
                    <a:pt x="9" y="107"/>
                    <a:pt x="9" y="107"/>
                    <a:pt x="9" y="108"/>
                  </a:cubicBezTo>
                  <a:cubicBezTo>
                    <a:pt x="10" y="108"/>
                    <a:pt x="10" y="109"/>
                    <a:pt x="10" y="109"/>
                  </a:cubicBezTo>
                  <a:cubicBezTo>
                    <a:pt x="11" y="109"/>
                    <a:pt x="11" y="109"/>
                    <a:pt x="11" y="109"/>
                  </a:cubicBezTo>
                  <a:cubicBezTo>
                    <a:pt x="12" y="108"/>
                    <a:pt x="14" y="107"/>
                    <a:pt x="15" y="107"/>
                  </a:cubicBezTo>
                  <a:cubicBezTo>
                    <a:pt x="16" y="107"/>
                    <a:pt x="16" y="108"/>
                    <a:pt x="17" y="109"/>
                  </a:cubicBezTo>
                  <a:cubicBezTo>
                    <a:pt x="16" y="110"/>
                    <a:pt x="14" y="112"/>
                    <a:pt x="14" y="112"/>
                  </a:cubicBezTo>
                  <a:cubicBezTo>
                    <a:pt x="13" y="112"/>
                    <a:pt x="13" y="113"/>
                    <a:pt x="13" y="113"/>
                  </a:cubicBezTo>
                  <a:cubicBezTo>
                    <a:pt x="13" y="114"/>
                    <a:pt x="13" y="114"/>
                    <a:pt x="14" y="114"/>
                  </a:cubicBezTo>
                  <a:cubicBezTo>
                    <a:pt x="14" y="114"/>
                    <a:pt x="14" y="115"/>
                    <a:pt x="14" y="115"/>
                  </a:cubicBezTo>
                  <a:cubicBezTo>
                    <a:pt x="15" y="115"/>
                    <a:pt x="15" y="115"/>
                    <a:pt x="15" y="115"/>
                  </a:cubicBezTo>
                  <a:cubicBezTo>
                    <a:pt x="16" y="114"/>
                    <a:pt x="18" y="113"/>
                    <a:pt x="19" y="112"/>
                  </a:cubicBezTo>
                  <a:cubicBezTo>
                    <a:pt x="20" y="113"/>
                    <a:pt x="21" y="114"/>
                    <a:pt x="21" y="115"/>
                  </a:cubicBezTo>
                  <a:cubicBezTo>
                    <a:pt x="20" y="116"/>
                    <a:pt x="18" y="118"/>
                    <a:pt x="18" y="118"/>
                  </a:cubicBezTo>
                  <a:cubicBezTo>
                    <a:pt x="18" y="118"/>
                    <a:pt x="18" y="119"/>
                    <a:pt x="18" y="119"/>
                  </a:cubicBezTo>
                  <a:cubicBezTo>
                    <a:pt x="18" y="119"/>
                    <a:pt x="18" y="120"/>
                    <a:pt x="18" y="120"/>
                  </a:cubicBezTo>
                  <a:cubicBezTo>
                    <a:pt x="18" y="120"/>
                    <a:pt x="19" y="121"/>
                    <a:pt x="19" y="121"/>
                  </a:cubicBezTo>
                  <a:cubicBezTo>
                    <a:pt x="20" y="121"/>
                    <a:pt x="20" y="121"/>
                    <a:pt x="20" y="120"/>
                  </a:cubicBezTo>
                  <a:cubicBezTo>
                    <a:pt x="21" y="120"/>
                    <a:pt x="22" y="119"/>
                    <a:pt x="24" y="118"/>
                  </a:cubicBezTo>
                  <a:cubicBezTo>
                    <a:pt x="24" y="118"/>
                    <a:pt x="25" y="119"/>
                    <a:pt x="26" y="120"/>
                  </a:cubicBezTo>
                  <a:cubicBezTo>
                    <a:pt x="25" y="121"/>
                    <a:pt x="24" y="123"/>
                    <a:pt x="23" y="123"/>
                  </a:cubicBezTo>
                  <a:cubicBezTo>
                    <a:pt x="23" y="124"/>
                    <a:pt x="23" y="124"/>
                    <a:pt x="23" y="124"/>
                  </a:cubicBezTo>
                  <a:cubicBezTo>
                    <a:pt x="23" y="125"/>
                    <a:pt x="23" y="125"/>
                    <a:pt x="24" y="125"/>
                  </a:cubicBezTo>
                  <a:cubicBezTo>
                    <a:pt x="24" y="126"/>
                    <a:pt x="24" y="126"/>
                    <a:pt x="24" y="126"/>
                  </a:cubicBezTo>
                  <a:cubicBezTo>
                    <a:pt x="25" y="126"/>
                    <a:pt x="25" y="126"/>
                    <a:pt x="26" y="125"/>
                  </a:cubicBezTo>
                  <a:cubicBezTo>
                    <a:pt x="26" y="125"/>
                    <a:pt x="27" y="124"/>
                    <a:pt x="29" y="122"/>
                  </a:cubicBezTo>
                  <a:cubicBezTo>
                    <a:pt x="30" y="123"/>
                    <a:pt x="30" y="124"/>
                    <a:pt x="31" y="124"/>
                  </a:cubicBezTo>
                  <a:cubicBezTo>
                    <a:pt x="30" y="126"/>
                    <a:pt x="29" y="128"/>
                    <a:pt x="29" y="128"/>
                  </a:cubicBezTo>
                  <a:cubicBezTo>
                    <a:pt x="29" y="128"/>
                    <a:pt x="29" y="129"/>
                    <a:pt x="29" y="129"/>
                  </a:cubicBezTo>
                  <a:cubicBezTo>
                    <a:pt x="29" y="130"/>
                    <a:pt x="29" y="130"/>
                    <a:pt x="29" y="130"/>
                  </a:cubicBezTo>
                  <a:cubicBezTo>
                    <a:pt x="30" y="130"/>
                    <a:pt x="30" y="130"/>
                    <a:pt x="30" y="130"/>
                  </a:cubicBezTo>
                  <a:cubicBezTo>
                    <a:pt x="31" y="130"/>
                    <a:pt x="31" y="130"/>
                    <a:pt x="31" y="130"/>
                  </a:cubicBezTo>
                  <a:cubicBezTo>
                    <a:pt x="32" y="130"/>
                    <a:pt x="33" y="128"/>
                    <a:pt x="34" y="127"/>
                  </a:cubicBezTo>
                  <a:cubicBezTo>
                    <a:pt x="35" y="127"/>
                    <a:pt x="36" y="128"/>
                    <a:pt x="37" y="128"/>
                  </a:cubicBezTo>
                  <a:cubicBezTo>
                    <a:pt x="36" y="130"/>
                    <a:pt x="35" y="132"/>
                    <a:pt x="35" y="132"/>
                  </a:cubicBezTo>
                  <a:cubicBezTo>
                    <a:pt x="35" y="133"/>
                    <a:pt x="35" y="133"/>
                    <a:pt x="35" y="133"/>
                  </a:cubicBezTo>
                  <a:cubicBezTo>
                    <a:pt x="35" y="134"/>
                    <a:pt x="35" y="134"/>
                    <a:pt x="36" y="134"/>
                  </a:cubicBezTo>
                  <a:cubicBezTo>
                    <a:pt x="36" y="134"/>
                    <a:pt x="36" y="134"/>
                    <a:pt x="37" y="134"/>
                  </a:cubicBezTo>
                  <a:cubicBezTo>
                    <a:pt x="37" y="134"/>
                    <a:pt x="37" y="134"/>
                    <a:pt x="38" y="134"/>
                  </a:cubicBezTo>
                  <a:cubicBezTo>
                    <a:pt x="38" y="133"/>
                    <a:pt x="39" y="132"/>
                    <a:pt x="40" y="130"/>
                  </a:cubicBezTo>
                  <a:cubicBezTo>
                    <a:pt x="41" y="131"/>
                    <a:pt x="42" y="131"/>
                    <a:pt x="43" y="131"/>
                  </a:cubicBezTo>
                  <a:cubicBezTo>
                    <a:pt x="42" y="133"/>
                    <a:pt x="42" y="135"/>
                    <a:pt x="42" y="136"/>
                  </a:cubicBezTo>
                  <a:cubicBezTo>
                    <a:pt x="41" y="136"/>
                    <a:pt x="41" y="137"/>
                    <a:pt x="42" y="137"/>
                  </a:cubicBezTo>
                  <a:cubicBezTo>
                    <a:pt x="42" y="137"/>
                    <a:pt x="42" y="137"/>
                    <a:pt x="42" y="138"/>
                  </a:cubicBezTo>
                  <a:cubicBezTo>
                    <a:pt x="43" y="138"/>
                    <a:pt x="43" y="138"/>
                    <a:pt x="43" y="138"/>
                  </a:cubicBezTo>
                  <a:cubicBezTo>
                    <a:pt x="44" y="138"/>
                    <a:pt x="44" y="137"/>
                    <a:pt x="44" y="137"/>
                  </a:cubicBezTo>
                  <a:cubicBezTo>
                    <a:pt x="45" y="137"/>
                    <a:pt x="46" y="135"/>
                    <a:pt x="47" y="133"/>
                  </a:cubicBezTo>
                  <a:cubicBezTo>
                    <a:pt x="47" y="134"/>
                    <a:pt x="48" y="134"/>
                    <a:pt x="49" y="134"/>
                  </a:cubicBezTo>
                  <a:cubicBezTo>
                    <a:pt x="49" y="136"/>
                    <a:pt x="48" y="138"/>
                    <a:pt x="48" y="139"/>
                  </a:cubicBezTo>
                  <a:cubicBezTo>
                    <a:pt x="48" y="139"/>
                    <a:pt x="48" y="139"/>
                    <a:pt x="49" y="140"/>
                  </a:cubicBezTo>
                  <a:cubicBezTo>
                    <a:pt x="49" y="140"/>
                    <a:pt x="49" y="140"/>
                    <a:pt x="49" y="140"/>
                  </a:cubicBezTo>
                  <a:cubicBezTo>
                    <a:pt x="50" y="140"/>
                    <a:pt x="50" y="140"/>
                    <a:pt x="50" y="140"/>
                  </a:cubicBezTo>
                  <a:cubicBezTo>
                    <a:pt x="51" y="140"/>
                    <a:pt x="51" y="140"/>
                    <a:pt x="51" y="139"/>
                  </a:cubicBezTo>
                  <a:cubicBezTo>
                    <a:pt x="51" y="139"/>
                    <a:pt x="52" y="137"/>
                    <a:pt x="53" y="135"/>
                  </a:cubicBezTo>
                  <a:cubicBezTo>
                    <a:pt x="54" y="136"/>
                    <a:pt x="55" y="136"/>
                    <a:pt x="56" y="136"/>
                  </a:cubicBezTo>
                  <a:cubicBezTo>
                    <a:pt x="56" y="138"/>
                    <a:pt x="55" y="140"/>
                    <a:pt x="55" y="141"/>
                  </a:cubicBezTo>
                  <a:cubicBezTo>
                    <a:pt x="55" y="141"/>
                    <a:pt x="55" y="141"/>
                    <a:pt x="56" y="142"/>
                  </a:cubicBezTo>
                  <a:cubicBezTo>
                    <a:pt x="56" y="142"/>
                    <a:pt x="56" y="142"/>
                    <a:pt x="57" y="142"/>
                  </a:cubicBezTo>
                  <a:cubicBezTo>
                    <a:pt x="57" y="142"/>
                    <a:pt x="57" y="142"/>
                    <a:pt x="58" y="142"/>
                  </a:cubicBezTo>
                  <a:cubicBezTo>
                    <a:pt x="58" y="142"/>
                    <a:pt x="58" y="142"/>
                    <a:pt x="58" y="141"/>
                  </a:cubicBezTo>
                  <a:cubicBezTo>
                    <a:pt x="59" y="141"/>
                    <a:pt x="59" y="139"/>
                    <a:pt x="60" y="137"/>
                  </a:cubicBezTo>
                  <a:cubicBezTo>
                    <a:pt x="61" y="137"/>
                    <a:pt x="62" y="137"/>
                    <a:pt x="63" y="137"/>
                  </a:cubicBezTo>
                  <a:cubicBezTo>
                    <a:pt x="63" y="139"/>
                    <a:pt x="63" y="142"/>
                    <a:pt x="63" y="142"/>
                  </a:cubicBezTo>
                  <a:cubicBezTo>
                    <a:pt x="63" y="142"/>
                    <a:pt x="63" y="143"/>
                    <a:pt x="63" y="143"/>
                  </a:cubicBezTo>
                  <a:cubicBezTo>
                    <a:pt x="63" y="143"/>
                    <a:pt x="64" y="143"/>
                    <a:pt x="64" y="143"/>
                  </a:cubicBezTo>
                  <a:cubicBezTo>
                    <a:pt x="65" y="143"/>
                    <a:pt x="65" y="143"/>
                    <a:pt x="65" y="143"/>
                  </a:cubicBezTo>
                  <a:cubicBezTo>
                    <a:pt x="65" y="143"/>
                    <a:pt x="66" y="143"/>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4"/>
                    <a:pt x="71" y="144"/>
                    <a:pt x="72" y="144"/>
                  </a:cubicBezTo>
                  <a:cubicBezTo>
                    <a:pt x="72" y="144"/>
                    <a:pt x="72" y="144"/>
                    <a:pt x="73" y="143"/>
                  </a:cubicBezTo>
                  <a:cubicBezTo>
                    <a:pt x="73" y="143"/>
                    <a:pt x="73" y="143"/>
                    <a:pt x="73" y="142"/>
                  </a:cubicBezTo>
                  <a:cubicBezTo>
                    <a:pt x="73" y="142"/>
                    <a:pt x="73" y="140"/>
                    <a:pt x="74" y="138"/>
                  </a:cubicBezTo>
                  <a:cubicBezTo>
                    <a:pt x="75" y="138"/>
                    <a:pt x="75" y="138"/>
                    <a:pt x="77" y="138"/>
                  </a:cubicBezTo>
                  <a:cubicBezTo>
                    <a:pt x="77" y="140"/>
                    <a:pt x="77" y="142"/>
                    <a:pt x="77" y="142"/>
                  </a:cubicBezTo>
                  <a:cubicBezTo>
                    <a:pt x="77" y="143"/>
                    <a:pt x="78" y="143"/>
                    <a:pt x="78" y="143"/>
                  </a:cubicBezTo>
                  <a:cubicBezTo>
                    <a:pt x="78" y="143"/>
                    <a:pt x="79" y="143"/>
                    <a:pt x="79" y="143"/>
                  </a:cubicBezTo>
                  <a:cubicBezTo>
                    <a:pt x="79" y="143"/>
                    <a:pt x="80" y="143"/>
                    <a:pt x="80" y="143"/>
                  </a:cubicBezTo>
                  <a:cubicBezTo>
                    <a:pt x="80" y="143"/>
                    <a:pt x="81" y="142"/>
                    <a:pt x="81" y="142"/>
                  </a:cubicBezTo>
                  <a:cubicBezTo>
                    <a:pt x="81" y="142"/>
                    <a:pt x="81" y="139"/>
                    <a:pt x="80" y="137"/>
                  </a:cubicBezTo>
                  <a:cubicBezTo>
                    <a:pt x="81" y="137"/>
                    <a:pt x="82" y="137"/>
                    <a:pt x="83" y="137"/>
                  </a:cubicBezTo>
                  <a:cubicBezTo>
                    <a:pt x="84" y="139"/>
                    <a:pt x="85" y="141"/>
                    <a:pt x="85" y="141"/>
                  </a:cubicBezTo>
                  <a:cubicBezTo>
                    <a:pt x="85" y="142"/>
                    <a:pt x="85" y="142"/>
                    <a:pt x="85" y="142"/>
                  </a:cubicBezTo>
                  <a:cubicBezTo>
                    <a:pt x="86" y="142"/>
                    <a:pt x="86" y="142"/>
                    <a:pt x="86" y="142"/>
                  </a:cubicBezTo>
                  <a:cubicBezTo>
                    <a:pt x="87" y="142"/>
                    <a:pt x="87" y="142"/>
                    <a:pt x="87" y="142"/>
                  </a:cubicBezTo>
                  <a:cubicBezTo>
                    <a:pt x="88" y="141"/>
                    <a:pt x="88" y="141"/>
                    <a:pt x="88" y="141"/>
                  </a:cubicBezTo>
                  <a:cubicBezTo>
                    <a:pt x="88" y="140"/>
                    <a:pt x="87" y="138"/>
                    <a:pt x="87" y="136"/>
                  </a:cubicBezTo>
                  <a:cubicBezTo>
                    <a:pt x="88" y="136"/>
                    <a:pt x="89" y="136"/>
                    <a:pt x="90" y="135"/>
                  </a:cubicBezTo>
                  <a:cubicBezTo>
                    <a:pt x="91" y="137"/>
                    <a:pt x="92" y="139"/>
                    <a:pt x="92" y="139"/>
                  </a:cubicBezTo>
                  <a:cubicBezTo>
                    <a:pt x="92" y="140"/>
                    <a:pt x="92" y="140"/>
                    <a:pt x="93" y="140"/>
                  </a:cubicBezTo>
                  <a:cubicBezTo>
                    <a:pt x="93" y="140"/>
                    <a:pt x="93" y="140"/>
                    <a:pt x="94" y="140"/>
                  </a:cubicBezTo>
                  <a:cubicBezTo>
                    <a:pt x="94" y="140"/>
                    <a:pt x="94" y="140"/>
                    <a:pt x="95" y="140"/>
                  </a:cubicBezTo>
                  <a:cubicBezTo>
                    <a:pt x="95" y="139"/>
                    <a:pt x="95" y="139"/>
                    <a:pt x="95" y="139"/>
                  </a:cubicBezTo>
                  <a:cubicBezTo>
                    <a:pt x="95" y="138"/>
                    <a:pt x="94" y="136"/>
                    <a:pt x="94" y="134"/>
                  </a:cubicBezTo>
                  <a:cubicBezTo>
                    <a:pt x="95" y="134"/>
                    <a:pt x="96" y="134"/>
                    <a:pt x="97" y="133"/>
                  </a:cubicBezTo>
                  <a:cubicBezTo>
                    <a:pt x="98" y="135"/>
                    <a:pt x="99" y="137"/>
                    <a:pt x="99" y="137"/>
                  </a:cubicBezTo>
                  <a:cubicBezTo>
                    <a:pt x="99" y="137"/>
                    <a:pt x="99" y="138"/>
                    <a:pt x="100" y="138"/>
                  </a:cubicBezTo>
                  <a:cubicBezTo>
                    <a:pt x="100" y="138"/>
                    <a:pt x="100" y="138"/>
                    <a:pt x="101" y="138"/>
                  </a:cubicBezTo>
                  <a:cubicBezTo>
                    <a:pt x="101" y="137"/>
                    <a:pt x="101" y="137"/>
                    <a:pt x="102" y="137"/>
                  </a:cubicBezTo>
                  <a:cubicBezTo>
                    <a:pt x="102" y="137"/>
                    <a:pt x="102" y="136"/>
                    <a:pt x="102" y="136"/>
                  </a:cubicBezTo>
                  <a:cubicBezTo>
                    <a:pt x="102" y="135"/>
                    <a:pt x="101" y="133"/>
                    <a:pt x="100" y="131"/>
                  </a:cubicBezTo>
                  <a:cubicBezTo>
                    <a:pt x="101" y="131"/>
                    <a:pt x="102" y="131"/>
                    <a:pt x="103" y="130"/>
                  </a:cubicBezTo>
                  <a:cubicBezTo>
                    <a:pt x="104" y="132"/>
                    <a:pt x="105" y="133"/>
                    <a:pt x="105" y="134"/>
                  </a:cubicBezTo>
                  <a:cubicBezTo>
                    <a:pt x="106" y="134"/>
                    <a:pt x="106" y="134"/>
                    <a:pt x="106" y="134"/>
                  </a:cubicBezTo>
                  <a:cubicBezTo>
                    <a:pt x="107" y="134"/>
                    <a:pt x="107" y="134"/>
                    <a:pt x="107" y="134"/>
                  </a:cubicBezTo>
                  <a:cubicBezTo>
                    <a:pt x="108" y="134"/>
                    <a:pt x="108" y="134"/>
                    <a:pt x="108" y="133"/>
                  </a:cubicBezTo>
                  <a:cubicBezTo>
                    <a:pt x="108" y="133"/>
                    <a:pt x="108" y="133"/>
                    <a:pt x="108" y="132"/>
                  </a:cubicBezTo>
                  <a:cubicBezTo>
                    <a:pt x="108" y="132"/>
                    <a:pt x="107" y="130"/>
                    <a:pt x="106" y="128"/>
                  </a:cubicBezTo>
                  <a:cubicBezTo>
                    <a:pt x="107" y="128"/>
                    <a:pt x="108" y="127"/>
                    <a:pt x="109" y="127"/>
                  </a:cubicBezTo>
                  <a:cubicBezTo>
                    <a:pt x="110" y="128"/>
                    <a:pt x="111" y="130"/>
                    <a:pt x="112" y="130"/>
                  </a:cubicBezTo>
                  <a:cubicBezTo>
                    <a:pt x="112" y="130"/>
                    <a:pt x="112" y="130"/>
                    <a:pt x="113" y="130"/>
                  </a:cubicBezTo>
                  <a:cubicBezTo>
                    <a:pt x="113" y="130"/>
                    <a:pt x="113" y="130"/>
                    <a:pt x="114" y="130"/>
                  </a:cubicBezTo>
                  <a:cubicBezTo>
                    <a:pt x="114" y="130"/>
                    <a:pt x="114" y="130"/>
                    <a:pt x="114" y="129"/>
                  </a:cubicBezTo>
                  <a:cubicBezTo>
                    <a:pt x="114" y="129"/>
                    <a:pt x="114" y="128"/>
                    <a:pt x="114" y="128"/>
                  </a:cubicBezTo>
                  <a:cubicBezTo>
                    <a:pt x="114" y="128"/>
                    <a:pt x="113" y="126"/>
                    <a:pt x="112" y="124"/>
                  </a:cubicBezTo>
                  <a:cubicBezTo>
                    <a:pt x="113" y="124"/>
                    <a:pt x="114" y="123"/>
                    <a:pt x="114" y="122"/>
                  </a:cubicBezTo>
                  <a:cubicBezTo>
                    <a:pt x="116" y="124"/>
                    <a:pt x="117" y="125"/>
                    <a:pt x="118" y="125"/>
                  </a:cubicBezTo>
                  <a:cubicBezTo>
                    <a:pt x="118" y="126"/>
                    <a:pt x="118" y="126"/>
                    <a:pt x="119" y="126"/>
                  </a:cubicBezTo>
                  <a:cubicBezTo>
                    <a:pt x="119" y="126"/>
                    <a:pt x="119" y="126"/>
                    <a:pt x="120" y="125"/>
                  </a:cubicBezTo>
                  <a:cubicBezTo>
                    <a:pt x="120" y="125"/>
                    <a:pt x="120" y="125"/>
                    <a:pt x="120" y="124"/>
                  </a:cubicBezTo>
                  <a:cubicBezTo>
                    <a:pt x="120" y="124"/>
                    <a:pt x="120" y="124"/>
                    <a:pt x="120" y="123"/>
                  </a:cubicBezTo>
                  <a:cubicBezTo>
                    <a:pt x="120" y="123"/>
                    <a:pt x="118" y="121"/>
                    <a:pt x="117" y="120"/>
                  </a:cubicBezTo>
                  <a:cubicBezTo>
                    <a:pt x="118" y="119"/>
                    <a:pt x="119" y="118"/>
                    <a:pt x="119" y="118"/>
                  </a:cubicBezTo>
                  <a:cubicBezTo>
                    <a:pt x="121" y="119"/>
                    <a:pt x="123" y="120"/>
                    <a:pt x="123" y="120"/>
                  </a:cubicBezTo>
                  <a:cubicBezTo>
                    <a:pt x="123" y="121"/>
                    <a:pt x="124" y="121"/>
                    <a:pt x="124" y="121"/>
                  </a:cubicBezTo>
                  <a:cubicBezTo>
                    <a:pt x="124" y="121"/>
                    <a:pt x="125" y="120"/>
                    <a:pt x="125" y="120"/>
                  </a:cubicBezTo>
                  <a:cubicBezTo>
                    <a:pt x="125" y="120"/>
                    <a:pt x="125" y="119"/>
                    <a:pt x="125" y="119"/>
                  </a:cubicBezTo>
                  <a:cubicBezTo>
                    <a:pt x="125" y="119"/>
                    <a:pt x="125" y="118"/>
                    <a:pt x="125" y="118"/>
                  </a:cubicBezTo>
                  <a:cubicBezTo>
                    <a:pt x="125" y="118"/>
                    <a:pt x="123" y="116"/>
                    <a:pt x="122" y="115"/>
                  </a:cubicBezTo>
                  <a:cubicBezTo>
                    <a:pt x="123" y="114"/>
                    <a:pt x="123" y="113"/>
                    <a:pt x="124" y="112"/>
                  </a:cubicBezTo>
                  <a:cubicBezTo>
                    <a:pt x="125" y="113"/>
                    <a:pt x="127" y="114"/>
                    <a:pt x="128" y="115"/>
                  </a:cubicBezTo>
                  <a:cubicBezTo>
                    <a:pt x="128" y="115"/>
                    <a:pt x="128" y="115"/>
                    <a:pt x="129" y="115"/>
                  </a:cubicBezTo>
                  <a:cubicBezTo>
                    <a:pt x="129" y="115"/>
                    <a:pt x="129" y="114"/>
                    <a:pt x="130" y="114"/>
                  </a:cubicBezTo>
                  <a:cubicBezTo>
                    <a:pt x="130" y="114"/>
                    <a:pt x="130" y="114"/>
                    <a:pt x="130" y="113"/>
                  </a:cubicBezTo>
                  <a:cubicBezTo>
                    <a:pt x="130" y="113"/>
                    <a:pt x="130" y="112"/>
                    <a:pt x="129" y="112"/>
                  </a:cubicBezTo>
                  <a:cubicBezTo>
                    <a:pt x="129" y="112"/>
                    <a:pt x="128" y="110"/>
                    <a:pt x="126" y="109"/>
                  </a:cubicBezTo>
                  <a:cubicBezTo>
                    <a:pt x="127" y="108"/>
                    <a:pt x="127" y="107"/>
                    <a:pt x="128" y="107"/>
                  </a:cubicBezTo>
                  <a:cubicBezTo>
                    <a:pt x="130" y="107"/>
                    <a:pt x="131" y="108"/>
                    <a:pt x="132" y="109"/>
                  </a:cubicBezTo>
                  <a:cubicBezTo>
                    <a:pt x="132" y="109"/>
                    <a:pt x="133" y="109"/>
                    <a:pt x="133" y="109"/>
                  </a:cubicBezTo>
                  <a:cubicBezTo>
                    <a:pt x="133" y="109"/>
                    <a:pt x="134" y="108"/>
                    <a:pt x="134" y="108"/>
                  </a:cubicBezTo>
                  <a:cubicBezTo>
                    <a:pt x="134" y="107"/>
                    <a:pt x="134" y="107"/>
                    <a:pt x="134" y="107"/>
                  </a:cubicBezTo>
                  <a:cubicBezTo>
                    <a:pt x="134" y="106"/>
                    <a:pt x="134" y="106"/>
                    <a:pt x="133" y="106"/>
                  </a:cubicBezTo>
                  <a:cubicBezTo>
                    <a:pt x="133" y="106"/>
                    <a:pt x="131" y="104"/>
                    <a:pt x="130" y="103"/>
                  </a:cubicBezTo>
                  <a:cubicBezTo>
                    <a:pt x="130" y="102"/>
                    <a:pt x="131" y="102"/>
                    <a:pt x="131" y="101"/>
                  </a:cubicBezTo>
                  <a:cubicBezTo>
                    <a:pt x="133" y="101"/>
                    <a:pt x="135" y="102"/>
                    <a:pt x="135" y="102"/>
                  </a:cubicBezTo>
                  <a:cubicBezTo>
                    <a:pt x="136" y="102"/>
                    <a:pt x="136" y="102"/>
                    <a:pt x="136" y="102"/>
                  </a:cubicBezTo>
                  <a:cubicBezTo>
                    <a:pt x="137" y="102"/>
                    <a:pt x="137" y="102"/>
                    <a:pt x="137" y="101"/>
                  </a:cubicBezTo>
                  <a:cubicBezTo>
                    <a:pt x="137" y="101"/>
                    <a:pt x="137" y="100"/>
                    <a:pt x="137" y="100"/>
                  </a:cubicBezTo>
                  <a:cubicBezTo>
                    <a:pt x="137" y="100"/>
                    <a:pt x="137" y="99"/>
                    <a:pt x="137" y="99"/>
                  </a:cubicBezTo>
                  <a:cubicBezTo>
                    <a:pt x="136" y="99"/>
                    <a:pt x="134" y="98"/>
                    <a:pt x="133" y="97"/>
                  </a:cubicBezTo>
                  <a:cubicBezTo>
                    <a:pt x="133" y="96"/>
                    <a:pt x="133" y="95"/>
                    <a:pt x="134" y="94"/>
                  </a:cubicBezTo>
                  <a:cubicBezTo>
                    <a:pt x="136" y="95"/>
                    <a:pt x="138" y="95"/>
                    <a:pt x="138" y="95"/>
                  </a:cubicBezTo>
                  <a:cubicBezTo>
                    <a:pt x="138" y="95"/>
                    <a:pt x="139" y="95"/>
                    <a:pt x="139" y="95"/>
                  </a:cubicBezTo>
                  <a:cubicBezTo>
                    <a:pt x="139" y="95"/>
                    <a:pt x="140" y="95"/>
                    <a:pt x="140" y="94"/>
                  </a:cubicBezTo>
                  <a:cubicBezTo>
                    <a:pt x="140" y="94"/>
                    <a:pt x="140" y="93"/>
                    <a:pt x="140" y="93"/>
                  </a:cubicBezTo>
                  <a:cubicBezTo>
                    <a:pt x="140" y="93"/>
                    <a:pt x="139" y="92"/>
                    <a:pt x="139" y="92"/>
                  </a:cubicBezTo>
                  <a:cubicBezTo>
                    <a:pt x="139" y="92"/>
                    <a:pt x="137" y="91"/>
                    <a:pt x="135" y="90"/>
                  </a:cubicBezTo>
                  <a:cubicBezTo>
                    <a:pt x="135" y="90"/>
                    <a:pt x="135" y="89"/>
                    <a:pt x="136" y="88"/>
                  </a:cubicBezTo>
                  <a:cubicBezTo>
                    <a:pt x="138" y="88"/>
                    <a:pt x="140" y="88"/>
                    <a:pt x="140" y="88"/>
                  </a:cubicBezTo>
                  <a:cubicBezTo>
                    <a:pt x="141" y="88"/>
                    <a:pt x="141" y="88"/>
                    <a:pt x="141" y="88"/>
                  </a:cubicBezTo>
                  <a:cubicBezTo>
                    <a:pt x="142" y="88"/>
                    <a:pt x="142" y="87"/>
                    <a:pt x="142" y="87"/>
                  </a:cubicBezTo>
                  <a:cubicBezTo>
                    <a:pt x="142" y="86"/>
                    <a:pt x="142" y="86"/>
                    <a:pt x="142" y="86"/>
                  </a:cubicBezTo>
                  <a:cubicBezTo>
                    <a:pt x="141" y="85"/>
                    <a:pt x="141" y="85"/>
                    <a:pt x="141" y="85"/>
                  </a:cubicBezTo>
                  <a:cubicBezTo>
                    <a:pt x="140" y="85"/>
                    <a:pt x="138" y="84"/>
                    <a:pt x="137" y="84"/>
                  </a:cubicBezTo>
                  <a:cubicBezTo>
                    <a:pt x="137" y="83"/>
                    <a:pt x="137" y="82"/>
                    <a:pt x="137" y="81"/>
                  </a:cubicBezTo>
                  <a:cubicBezTo>
                    <a:pt x="139" y="81"/>
                    <a:pt x="141" y="81"/>
                    <a:pt x="141" y="81"/>
                  </a:cubicBezTo>
                  <a:cubicBezTo>
                    <a:pt x="142" y="81"/>
                    <a:pt x="142" y="81"/>
                    <a:pt x="142" y="80"/>
                  </a:cubicBezTo>
                  <a:cubicBezTo>
                    <a:pt x="143" y="80"/>
                    <a:pt x="143" y="80"/>
                    <a:pt x="143" y="79"/>
                  </a:cubicBezTo>
                  <a:cubicBezTo>
                    <a:pt x="143" y="79"/>
                    <a:pt x="143" y="79"/>
                    <a:pt x="143" y="78"/>
                  </a:cubicBezTo>
                  <a:cubicBezTo>
                    <a:pt x="142" y="78"/>
                    <a:pt x="142" y="78"/>
                    <a:pt x="142" y="78"/>
                  </a:cubicBezTo>
                  <a:cubicBezTo>
                    <a:pt x="141" y="78"/>
                    <a:pt x="139" y="77"/>
                    <a:pt x="137" y="77"/>
                  </a:cubicBezTo>
                  <a:cubicBezTo>
                    <a:pt x="138" y="76"/>
                    <a:pt x="138" y="75"/>
                    <a:pt x="138" y="74"/>
                  </a:cubicBezTo>
                  <a:cubicBezTo>
                    <a:pt x="139" y="74"/>
                    <a:pt x="142" y="74"/>
                    <a:pt x="142" y="73"/>
                  </a:cubicBezTo>
                  <a:close/>
                  <a:moveTo>
                    <a:pt x="72" y="129"/>
                  </a:moveTo>
                  <a:cubicBezTo>
                    <a:pt x="40" y="129"/>
                    <a:pt x="14" y="104"/>
                    <a:pt x="14" y="72"/>
                  </a:cubicBezTo>
                  <a:cubicBezTo>
                    <a:pt x="14" y="40"/>
                    <a:pt x="40" y="15"/>
                    <a:pt x="72" y="15"/>
                  </a:cubicBezTo>
                  <a:cubicBezTo>
                    <a:pt x="103" y="15"/>
                    <a:pt x="129" y="40"/>
                    <a:pt x="129" y="72"/>
                  </a:cubicBezTo>
                  <a:cubicBezTo>
                    <a:pt x="129" y="104"/>
                    <a:pt x="103" y="129"/>
                    <a:pt x="72" y="1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2" name="Freeform 361">
              <a:extLst>
                <a:ext uri="{FF2B5EF4-FFF2-40B4-BE49-F238E27FC236}">
                  <a16:creationId xmlns:a16="http://schemas.microsoft.com/office/drawing/2014/main" id="{B7256914-545A-4D10-A06C-1F849CD3DE60}"/>
                </a:ext>
              </a:extLst>
            </p:cNvPr>
            <p:cNvSpPr>
              <a:spLocks noEditPoints="1"/>
            </p:cNvSpPr>
            <p:nvPr/>
          </p:nvSpPr>
          <p:spPr bwMode="auto">
            <a:xfrm>
              <a:off x="2041483" y="4347511"/>
              <a:ext cx="147592" cy="200574"/>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03" name="Group 202">
            <a:extLst>
              <a:ext uri="{FF2B5EF4-FFF2-40B4-BE49-F238E27FC236}">
                <a16:creationId xmlns:a16="http://schemas.microsoft.com/office/drawing/2014/main" id="{CE031144-9F1C-489E-88EF-C2AF6EB92646}"/>
              </a:ext>
            </a:extLst>
          </p:cNvPr>
          <p:cNvGrpSpPr/>
          <p:nvPr/>
        </p:nvGrpSpPr>
        <p:grpSpPr>
          <a:xfrm>
            <a:off x="2297060" y="5456624"/>
            <a:ext cx="505672" cy="504362"/>
            <a:chOff x="2524706" y="5617563"/>
            <a:chExt cx="505672" cy="504362"/>
          </a:xfrm>
        </p:grpSpPr>
        <p:sp>
          <p:nvSpPr>
            <p:cNvPr id="204" name="Freeform 7">
              <a:extLst>
                <a:ext uri="{FF2B5EF4-FFF2-40B4-BE49-F238E27FC236}">
                  <a16:creationId xmlns:a16="http://schemas.microsoft.com/office/drawing/2014/main" id="{5E708DA3-137A-4953-AB12-EA8CD196D247}"/>
                </a:ext>
              </a:extLst>
            </p:cNvPr>
            <p:cNvSpPr>
              <a:spLocks/>
            </p:cNvSpPr>
            <p:nvPr/>
          </p:nvSpPr>
          <p:spPr bwMode="auto">
            <a:xfrm>
              <a:off x="2524706" y="5617563"/>
              <a:ext cx="505672" cy="504362"/>
            </a:xfrm>
            <a:custGeom>
              <a:avLst/>
              <a:gdLst>
                <a:gd name="T0" fmla="*/ 128 w 173"/>
                <a:gd name="T1" fmla="*/ 162 h 173"/>
                <a:gd name="T2" fmla="*/ 135 w 173"/>
                <a:gd name="T3" fmla="*/ 155 h 173"/>
                <a:gd name="T4" fmla="*/ 140 w 173"/>
                <a:gd name="T5" fmla="*/ 151 h 173"/>
                <a:gd name="T6" fmla="*/ 148 w 173"/>
                <a:gd name="T7" fmla="*/ 146 h 173"/>
                <a:gd name="T8" fmla="*/ 144 w 173"/>
                <a:gd name="T9" fmla="*/ 135 h 173"/>
                <a:gd name="T10" fmla="*/ 159 w 173"/>
                <a:gd name="T11" fmla="*/ 133 h 173"/>
                <a:gd name="T12" fmla="*/ 154 w 173"/>
                <a:gd name="T13" fmla="*/ 119 h 173"/>
                <a:gd name="T14" fmla="*/ 166 w 173"/>
                <a:gd name="T15" fmla="*/ 118 h 173"/>
                <a:gd name="T16" fmla="*/ 168 w 173"/>
                <a:gd name="T17" fmla="*/ 108 h 173"/>
                <a:gd name="T18" fmla="*/ 169 w 173"/>
                <a:gd name="T19" fmla="*/ 102 h 173"/>
                <a:gd name="T20" fmla="*/ 172 w 173"/>
                <a:gd name="T21" fmla="*/ 92 h 173"/>
                <a:gd name="T22" fmla="*/ 162 w 173"/>
                <a:gd name="T23" fmla="*/ 86 h 173"/>
                <a:gd name="T24" fmla="*/ 172 w 173"/>
                <a:gd name="T25" fmla="*/ 75 h 173"/>
                <a:gd name="T26" fmla="*/ 159 w 173"/>
                <a:gd name="T27" fmla="*/ 68 h 173"/>
                <a:gd name="T28" fmla="*/ 167 w 173"/>
                <a:gd name="T29" fmla="*/ 59 h 173"/>
                <a:gd name="T30" fmla="*/ 162 w 173"/>
                <a:gd name="T31" fmla="*/ 50 h 173"/>
                <a:gd name="T32" fmla="*/ 159 w 173"/>
                <a:gd name="T33" fmla="*/ 45 h 173"/>
                <a:gd name="T34" fmla="*/ 155 w 173"/>
                <a:gd name="T35" fmla="*/ 36 h 173"/>
                <a:gd name="T36" fmla="*/ 144 w 173"/>
                <a:gd name="T37" fmla="*/ 38 h 173"/>
                <a:gd name="T38" fmla="*/ 145 w 173"/>
                <a:gd name="T39" fmla="*/ 22 h 173"/>
                <a:gd name="T40" fmla="*/ 130 w 173"/>
                <a:gd name="T41" fmla="*/ 25 h 173"/>
                <a:gd name="T42" fmla="*/ 131 w 173"/>
                <a:gd name="T43" fmla="*/ 13 h 173"/>
                <a:gd name="T44" fmla="*/ 121 w 173"/>
                <a:gd name="T45" fmla="*/ 10 h 173"/>
                <a:gd name="T46" fmla="*/ 116 w 173"/>
                <a:gd name="T47" fmla="*/ 8 h 173"/>
                <a:gd name="T48" fmla="*/ 107 w 173"/>
                <a:gd name="T49" fmla="*/ 3 h 173"/>
                <a:gd name="T50" fmla="*/ 99 w 173"/>
                <a:gd name="T51" fmla="*/ 12 h 173"/>
                <a:gd name="T52" fmla="*/ 90 w 173"/>
                <a:gd name="T53" fmla="*/ 0 h 173"/>
                <a:gd name="T54" fmla="*/ 80 w 173"/>
                <a:gd name="T55" fmla="*/ 11 h 173"/>
                <a:gd name="T56" fmla="*/ 73 w 173"/>
                <a:gd name="T57" fmla="*/ 1 h 173"/>
                <a:gd name="T58" fmla="*/ 64 w 173"/>
                <a:gd name="T59" fmla="*/ 5 h 173"/>
                <a:gd name="T60" fmla="*/ 58 w 173"/>
                <a:gd name="T61" fmla="*/ 7 h 173"/>
                <a:gd name="T62" fmla="*/ 48 w 173"/>
                <a:gd name="T63" fmla="*/ 9 h 173"/>
                <a:gd name="T64" fmla="*/ 48 w 173"/>
                <a:gd name="T65" fmla="*/ 21 h 173"/>
                <a:gd name="T66" fmla="*/ 33 w 173"/>
                <a:gd name="T67" fmla="*/ 18 h 173"/>
                <a:gd name="T68" fmla="*/ 33 w 173"/>
                <a:gd name="T69" fmla="*/ 33 h 173"/>
                <a:gd name="T70" fmla="*/ 22 w 173"/>
                <a:gd name="T71" fmla="*/ 30 h 173"/>
                <a:gd name="T72" fmla="*/ 17 w 173"/>
                <a:gd name="T73" fmla="*/ 39 h 173"/>
                <a:gd name="T74" fmla="*/ 14 w 173"/>
                <a:gd name="T75" fmla="*/ 44 h 173"/>
                <a:gd name="T76" fmla="*/ 8 w 173"/>
                <a:gd name="T77" fmla="*/ 52 h 173"/>
                <a:gd name="T78" fmla="*/ 15 w 173"/>
                <a:gd name="T79" fmla="*/ 61 h 173"/>
                <a:gd name="T80" fmla="*/ 2 w 173"/>
                <a:gd name="T81" fmla="*/ 68 h 173"/>
                <a:gd name="T82" fmla="*/ 11 w 173"/>
                <a:gd name="T83" fmla="*/ 79 h 173"/>
                <a:gd name="T84" fmla="*/ 0 w 173"/>
                <a:gd name="T85" fmla="*/ 85 h 173"/>
                <a:gd name="T86" fmla="*/ 3 w 173"/>
                <a:gd name="T87" fmla="*/ 95 h 173"/>
                <a:gd name="T88" fmla="*/ 3 w 173"/>
                <a:gd name="T89" fmla="*/ 101 h 173"/>
                <a:gd name="T90" fmla="*/ 4 w 173"/>
                <a:gd name="T91" fmla="*/ 111 h 173"/>
                <a:gd name="T92" fmla="*/ 16 w 173"/>
                <a:gd name="T93" fmla="*/ 113 h 173"/>
                <a:gd name="T94" fmla="*/ 9 w 173"/>
                <a:gd name="T95" fmla="*/ 127 h 173"/>
                <a:gd name="T96" fmla="*/ 24 w 173"/>
                <a:gd name="T97" fmla="*/ 129 h 173"/>
                <a:gd name="T98" fmla="*/ 19 w 173"/>
                <a:gd name="T99" fmla="*/ 140 h 173"/>
                <a:gd name="T100" fmla="*/ 27 w 173"/>
                <a:gd name="T101" fmla="*/ 147 h 173"/>
                <a:gd name="T102" fmla="*/ 32 w 173"/>
                <a:gd name="T103" fmla="*/ 151 h 173"/>
                <a:gd name="T104" fmla="*/ 38 w 173"/>
                <a:gd name="T105" fmla="*/ 158 h 173"/>
                <a:gd name="T106" fmla="*/ 49 w 173"/>
                <a:gd name="T107" fmla="*/ 152 h 173"/>
                <a:gd name="T108" fmla="*/ 53 w 173"/>
                <a:gd name="T109" fmla="*/ 167 h 173"/>
                <a:gd name="T110" fmla="*/ 66 w 173"/>
                <a:gd name="T111" fmla="*/ 159 h 173"/>
                <a:gd name="T112" fmla="*/ 70 w 173"/>
                <a:gd name="T113" fmla="*/ 171 h 173"/>
                <a:gd name="T114" fmla="*/ 80 w 173"/>
                <a:gd name="T115" fmla="*/ 171 h 173"/>
                <a:gd name="T116" fmla="*/ 86 w 173"/>
                <a:gd name="T117" fmla="*/ 171 h 173"/>
                <a:gd name="T118" fmla="*/ 95 w 173"/>
                <a:gd name="T119" fmla="*/ 172 h 173"/>
                <a:gd name="T120" fmla="*/ 100 w 173"/>
                <a:gd name="T121" fmla="*/ 161 h 173"/>
                <a:gd name="T122" fmla="*/ 112 w 173"/>
                <a:gd name="T123" fmla="*/ 169 h 173"/>
                <a:gd name="T124" fmla="*/ 118 w 173"/>
                <a:gd name="T125" fmla="*/ 15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73">
                  <a:moveTo>
                    <a:pt x="122" y="163"/>
                  </a:moveTo>
                  <a:cubicBezTo>
                    <a:pt x="123" y="163"/>
                    <a:pt x="123" y="164"/>
                    <a:pt x="124" y="164"/>
                  </a:cubicBezTo>
                  <a:cubicBezTo>
                    <a:pt x="125" y="164"/>
                    <a:pt x="126" y="164"/>
                    <a:pt x="126" y="163"/>
                  </a:cubicBezTo>
                  <a:cubicBezTo>
                    <a:pt x="127" y="163"/>
                    <a:pt x="127" y="163"/>
                    <a:pt x="128" y="162"/>
                  </a:cubicBezTo>
                  <a:cubicBezTo>
                    <a:pt x="128" y="161"/>
                    <a:pt x="128" y="160"/>
                    <a:pt x="128" y="160"/>
                  </a:cubicBezTo>
                  <a:cubicBezTo>
                    <a:pt x="127" y="159"/>
                    <a:pt x="126" y="155"/>
                    <a:pt x="124" y="152"/>
                  </a:cubicBezTo>
                  <a:cubicBezTo>
                    <a:pt x="126" y="151"/>
                    <a:pt x="127" y="150"/>
                    <a:pt x="129" y="149"/>
                  </a:cubicBezTo>
                  <a:cubicBezTo>
                    <a:pt x="132" y="151"/>
                    <a:pt x="134" y="155"/>
                    <a:pt x="135" y="155"/>
                  </a:cubicBezTo>
                  <a:cubicBezTo>
                    <a:pt x="135" y="156"/>
                    <a:pt x="136" y="156"/>
                    <a:pt x="137" y="156"/>
                  </a:cubicBezTo>
                  <a:cubicBezTo>
                    <a:pt x="138" y="156"/>
                    <a:pt x="138" y="156"/>
                    <a:pt x="139" y="155"/>
                  </a:cubicBezTo>
                  <a:cubicBezTo>
                    <a:pt x="140" y="155"/>
                    <a:pt x="140" y="154"/>
                    <a:pt x="140" y="154"/>
                  </a:cubicBezTo>
                  <a:cubicBezTo>
                    <a:pt x="140" y="153"/>
                    <a:pt x="140" y="152"/>
                    <a:pt x="140" y="151"/>
                  </a:cubicBezTo>
                  <a:cubicBezTo>
                    <a:pt x="139" y="151"/>
                    <a:pt x="137" y="147"/>
                    <a:pt x="135" y="144"/>
                  </a:cubicBezTo>
                  <a:cubicBezTo>
                    <a:pt x="137" y="143"/>
                    <a:pt x="138" y="141"/>
                    <a:pt x="139" y="140"/>
                  </a:cubicBezTo>
                  <a:cubicBezTo>
                    <a:pt x="142" y="143"/>
                    <a:pt x="145" y="145"/>
                    <a:pt x="146" y="146"/>
                  </a:cubicBezTo>
                  <a:cubicBezTo>
                    <a:pt x="147" y="146"/>
                    <a:pt x="147" y="146"/>
                    <a:pt x="148" y="146"/>
                  </a:cubicBezTo>
                  <a:cubicBezTo>
                    <a:pt x="149" y="146"/>
                    <a:pt x="150" y="146"/>
                    <a:pt x="150" y="145"/>
                  </a:cubicBezTo>
                  <a:cubicBezTo>
                    <a:pt x="151" y="145"/>
                    <a:pt x="151" y="144"/>
                    <a:pt x="151" y="143"/>
                  </a:cubicBezTo>
                  <a:cubicBezTo>
                    <a:pt x="151" y="142"/>
                    <a:pt x="151" y="142"/>
                    <a:pt x="150" y="141"/>
                  </a:cubicBezTo>
                  <a:cubicBezTo>
                    <a:pt x="150" y="141"/>
                    <a:pt x="147" y="137"/>
                    <a:pt x="144" y="135"/>
                  </a:cubicBezTo>
                  <a:cubicBezTo>
                    <a:pt x="145" y="133"/>
                    <a:pt x="147" y="132"/>
                    <a:pt x="148" y="130"/>
                  </a:cubicBezTo>
                  <a:cubicBezTo>
                    <a:pt x="151" y="132"/>
                    <a:pt x="155" y="134"/>
                    <a:pt x="155" y="134"/>
                  </a:cubicBezTo>
                  <a:cubicBezTo>
                    <a:pt x="156" y="135"/>
                    <a:pt x="157" y="135"/>
                    <a:pt x="158" y="134"/>
                  </a:cubicBezTo>
                  <a:cubicBezTo>
                    <a:pt x="158" y="134"/>
                    <a:pt x="159" y="134"/>
                    <a:pt x="159" y="133"/>
                  </a:cubicBezTo>
                  <a:cubicBezTo>
                    <a:pt x="160" y="132"/>
                    <a:pt x="160" y="132"/>
                    <a:pt x="160" y="131"/>
                  </a:cubicBezTo>
                  <a:cubicBezTo>
                    <a:pt x="160" y="130"/>
                    <a:pt x="159" y="130"/>
                    <a:pt x="159" y="129"/>
                  </a:cubicBezTo>
                  <a:cubicBezTo>
                    <a:pt x="158" y="129"/>
                    <a:pt x="155" y="126"/>
                    <a:pt x="152" y="124"/>
                  </a:cubicBezTo>
                  <a:cubicBezTo>
                    <a:pt x="153" y="122"/>
                    <a:pt x="153" y="121"/>
                    <a:pt x="154" y="119"/>
                  </a:cubicBezTo>
                  <a:cubicBezTo>
                    <a:pt x="158" y="120"/>
                    <a:pt x="162" y="121"/>
                    <a:pt x="163" y="121"/>
                  </a:cubicBezTo>
                  <a:cubicBezTo>
                    <a:pt x="163" y="122"/>
                    <a:pt x="164" y="122"/>
                    <a:pt x="165" y="121"/>
                  </a:cubicBezTo>
                  <a:cubicBezTo>
                    <a:pt x="165" y="121"/>
                    <a:pt x="166" y="120"/>
                    <a:pt x="166" y="120"/>
                  </a:cubicBezTo>
                  <a:cubicBezTo>
                    <a:pt x="167" y="119"/>
                    <a:pt x="167" y="118"/>
                    <a:pt x="166" y="118"/>
                  </a:cubicBezTo>
                  <a:cubicBezTo>
                    <a:pt x="166" y="117"/>
                    <a:pt x="166" y="116"/>
                    <a:pt x="165" y="116"/>
                  </a:cubicBezTo>
                  <a:cubicBezTo>
                    <a:pt x="164" y="116"/>
                    <a:pt x="161" y="114"/>
                    <a:pt x="157" y="112"/>
                  </a:cubicBezTo>
                  <a:cubicBezTo>
                    <a:pt x="158" y="110"/>
                    <a:pt x="158" y="108"/>
                    <a:pt x="159" y="107"/>
                  </a:cubicBezTo>
                  <a:cubicBezTo>
                    <a:pt x="163" y="107"/>
                    <a:pt x="167" y="108"/>
                    <a:pt x="168" y="108"/>
                  </a:cubicBezTo>
                  <a:cubicBezTo>
                    <a:pt x="168" y="108"/>
                    <a:pt x="169" y="108"/>
                    <a:pt x="170" y="107"/>
                  </a:cubicBezTo>
                  <a:cubicBezTo>
                    <a:pt x="170" y="107"/>
                    <a:pt x="171" y="106"/>
                    <a:pt x="171" y="105"/>
                  </a:cubicBezTo>
                  <a:cubicBezTo>
                    <a:pt x="171" y="105"/>
                    <a:pt x="171" y="104"/>
                    <a:pt x="170" y="103"/>
                  </a:cubicBezTo>
                  <a:cubicBezTo>
                    <a:pt x="170" y="103"/>
                    <a:pt x="170" y="102"/>
                    <a:pt x="169" y="102"/>
                  </a:cubicBezTo>
                  <a:cubicBezTo>
                    <a:pt x="168" y="101"/>
                    <a:pt x="164" y="100"/>
                    <a:pt x="161" y="99"/>
                  </a:cubicBezTo>
                  <a:cubicBezTo>
                    <a:pt x="161" y="97"/>
                    <a:pt x="161" y="95"/>
                    <a:pt x="161" y="94"/>
                  </a:cubicBezTo>
                  <a:cubicBezTo>
                    <a:pt x="165" y="93"/>
                    <a:pt x="169" y="93"/>
                    <a:pt x="170" y="93"/>
                  </a:cubicBezTo>
                  <a:cubicBezTo>
                    <a:pt x="171" y="93"/>
                    <a:pt x="171" y="93"/>
                    <a:pt x="172" y="92"/>
                  </a:cubicBezTo>
                  <a:cubicBezTo>
                    <a:pt x="172" y="92"/>
                    <a:pt x="173" y="91"/>
                    <a:pt x="173" y="90"/>
                  </a:cubicBezTo>
                  <a:cubicBezTo>
                    <a:pt x="173" y="89"/>
                    <a:pt x="173" y="89"/>
                    <a:pt x="172" y="88"/>
                  </a:cubicBezTo>
                  <a:cubicBezTo>
                    <a:pt x="172" y="88"/>
                    <a:pt x="171" y="87"/>
                    <a:pt x="170" y="87"/>
                  </a:cubicBezTo>
                  <a:cubicBezTo>
                    <a:pt x="169" y="87"/>
                    <a:pt x="165" y="87"/>
                    <a:pt x="162" y="86"/>
                  </a:cubicBezTo>
                  <a:cubicBezTo>
                    <a:pt x="162" y="84"/>
                    <a:pt x="161" y="82"/>
                    <a:pt x="161" y="80"/>
                  </a:cubicBezTo>
                  <a:cubicBezTo>
                    <a:pt x="165" y="80"/>
                    <a:pt x="169" y="79"/>
                    <a:pt x="170" y="79"/>
                  </a:cubicBezTo>
                  <a:cubicBezTo>
                    <a:pt x="171" y="78"/>
                    <a:pt x="171" y="78"/>
                    <a:pt x="172" y="77"/>
                  </a:cubicBezTo>
                  <a:cubicBezTo>
                    <a:pt x="172" y="77"/>
                    <a:pt x="172" y="76"/>
                    <a:pt x="172" y="75"/>
                  </a:cubicBezTo>
                  <a:cubicBezTo>
                    <a:pt x="172" y="74"/>
                    <a:pt x="172" y="74"/>
                    <a:pt x="171" y="73"/>
                  </a:cubicBezTo>
                  <a:cubicBezTo>
                    <a:pt x="171" y="73"/>
                    <a:pt x="170" y="72"/>
                    <a:pt x="169" y="73"/>
                  </a:cubicBezTo>
                  <a:cubicBezTo>
                    <a:pt x="168" y="73"/>
                    <a:pt x="164" y="73"/>
                    <a:pt x="160" y="73"/>
                  </a:cubicBezTo>
                  <a:cubicBezTo>
                    <a:pt x="160" y="71"/>
                    <a:pt x="160" y="69"/>
                    <a:pt x="159" y="68"/>
                  </a:cubicBezTo>
                  <a:cubicBezTo>
                    <a:pt x="163" y="66"/>
                    <a:pt x="166" y="64"/>
                    <a:pt x="167" y="64"/>
                  </a:cubicBezTo>
                  <a:cubicBezTo>
                    <a:pt x="168" y="64"/>
                    <a:pt x="168" y="63"/>
                    <a:pt x="169" y="63"/>
                  </a:cubicBezTo>
                  <a:cubicBezTo>
                    <a:pt x="169" y="62"/>
                    <a:pt x="169" y="61"/>
                    <a:pt x="169" y="60"/>
                  </a:cubicBezTo>
                  <a:cubicBezTo>
                    <a:pt x="169" y="60"/>
                    <a:pt x="168" y="59"/>
                    <a:pt x="167" y="59"/>
                  </a:cubicBezTo>
                  <a:cubicBezTo>
                    <a:pt x="167" y="58"/>
                    <a:pt x="166" y="58"/>
                    <a:pt x="165" y="58"/>
                  </a:cubicBezTo>
                  <a:cubicBezTo>
                    <a:pt x="165" y="59"/>
                    <a:pt x="161" y="59"/>
                    <a:pt x="157" y="60"/>
                  </a:cubicBezTo>
                  <a:cubicBezTo>
                    <a:pt x="156" y="59"/>
                    <a:pt x="155" y="57"/>
                    <a:pt x="155" y="55"/>
                  </a:cubicBezTo>
                  <a:cubicBezTo>
                    <a:pt x="158" y="53"/>
                    <a:pt x="161" y="51"/>
                    <a:pt x="162" y="50"/>
                  </a:cubicBezTo>
                  <a:cubicBezTo>
                    <a:pt x="163" y="50"/>
                    <a:pt x="163" y="49"/>
                    <a:pt x="163" y="49"/>
                  </a:cubicBezTo>
                  <a:cubicBezTo>
                    <a:pt x="163" y="48"/>
                    <a:pt x="163" y="47"/>
                    <a:pt x="163" y="46"/>
                  </a:cubicBezTo>
                  <a:cubicBezTo>
                    <a:pt x="163" y="46"/>
                    <a:pt x="162" y="45"/>
                    <a:pt x="161" y="45"/>
                  </a:cubicBezTo>
                  <a:cubicBezTo>
                    <a:pt x="161" y="45"/>
                    <a:pt x="160" y="45"/>
                    <a:pt x="159" y="45"/>
                  </a:cubicBezTo>
                  <a:cubicBezTo>
                    <a:pt x="159" y="45"/>
                    <a:pt x="155" y="47"/>
                    <a:pt x="151" y="48"/>
                  </a:cubicBezTo>
                  <a:cubicBezTo>
                    <a:pt x="150" y="47"/>
                    <a:pt x="149" y="45"/>
                    <a:pt x="148" y="44"/>
                  </a:cubicBezTo>
                  <a:cubicBezTo>
                    <a:pt x="151" y="41"/>
                    <a:pt x="154" y="38"/>
                    <a:pt x="155" y="38"/>
                  </a:cubicBezTo>
                  <a:cubicBezTo>
                    <a:pt x="155" y="37"/>
                    <a:pt x="155" y="36"/>
                    <a:pt x="155" y="36"/>
                  </a:cubicBezTo>
                  <a:cubicBezTo>
                    <a:pt x="156" y="35"/>
                    <a:pt x="155" y="34"/>
                    <a:pt x="155" y="34"/>
                  </a:cubicBezTo>
                  <a:cubicBezTo>
                    <a:pt x="154" y="33"/>
                    <a:pt x="154" y="33"/>
                    <a:pt x="153" y="33"/>
                  </a:cubicBezTo>
                  <a:cubicBezTo>
                    <a:pt x="152" y="32"/>
                    <a:pt x="152" y="32"/>
                    <a:pt x="151" y="33"/>
                  </a:cubicBezTo>
                  <a:cubicBezTo>
                    <a:pt x="150" y="33"/>
                    <a:pt x="147" y="36"/>
                    <a:pt x="144" y="38"/>
                  </a:cubicBezTo>
                  <a:cubicBezTo>
                    <a:pt x="142" y="36"/>
                    <a:pt x="141" y="35"/>
                    <a:pt x="140" y="33"/>
                  </a:cubicBezTo>
                  <a:cubicBezTo>
                    <a:pt x="142" y="30"/>
                    <a:pt x="145" y="27"/>
                    <a:pt x="145" y="26"/>
                  </a:cubicBezTo>
                  <a:cubicBezTo>
                    <a:pt x="146" y="26"/>
                    <a:pt x="146" y="25"/>
                    <a:pt x="146" y="24"/>
                  </a:cubicBezTo>
                  <a:cubicBezTo>
                    <a:pt x="146" y="24"/>
                    <a:pt x="145" y="23"/>
                    <a:pt x="145" y="22"/>
                  </a:cubicBezTo>
                  <a:cubicBezTo>
                    <a:pt x="144" y="22"/>
                    <a:pt x="143" y="22"/>
                    <a:pt x="143" y="22"/>
                  </a:cubicBezTo>
                  <a:cubicBezTo>
                    <a:pt x="142" y="22"/>
                    <a:pt x="141" y="22"/>
                    <a:pt x="141" y="22"/>
                  </a:cubicBezTo>
                  <a:cubicBezTo>
                    <a:pt x="140" y="23"/>
                    <a:pt x="137" y="26"/>
                    <a:pt x="134" y="28"/>
                  </a:cubicBezTo>
                  <a:cubicBezTo>
                    <a:pt x="133" y="27"/>
                    <a:pt x="131" y="26"/>
                    <a:pt x="130" y="25"/>
                  </a:cubicBezTo>
                  <a:cubicBezTo>
                    <a:pt x="132" y="22"/>
                    <a:pt x="133" y="18"/>
                    <a:pt x="134" y="17"/>
                  </a:cubicBezTo>
                  <a:cubicBezTo>
                    <a:pt x="134" y="16"/>
                    <a:pt x="134" y="16"/>
                    <a:pt x="134" y="15"/>
                  </a:cubicBezTo>
                  <a:cubicBezTo>
                    <a:pt x="134" y="14"/>
                    <a:pt x="133" y="14"/>
                    <a:pt x="133" y="13"/>
                  </a:cubicBezTo>
                  <a:cubicBezTo>
                    <a:pt x="132" y="13"/>
                    <a:pt x="131" y="13"/>
                    <a:pt x="131" y="13"/>
                  </a:cubicBezTo>
                  <a:cubicBezTo>
                    <a:pt x="130" y="13"/>
                    <a:pt x="129" y="13"/>
                    <a:pt x="129" y="14"/>
                  </a:cubicBezTo>
                  <a:cubicBezTo>
                    <a:pt x="128" y="15"/>
                    <a:pt x="126" y="18"/>
                    <a:pt x="123" y="21"/>
                  </a:cubicBezTo>
                  <a:cubicBezTo>
                    <a:pt x="122" y="20"/>
                    <a:pt x="120" y="19"/>
                    <a:pt x="118" y="18"/>
                  </a:cubicBezTo>
                  <a:cubicBezTo>
                    <a:pt x="120" y="15"/>
                    <a:pt x="121" y="11"/>
                    <a:pt x="121" y="10"/>
                  </a:cubicBezTo>
                  <a:cubicBezTo>
                    <a:pt x="121" y="9"/>
                    <a:pt x="121" y="8"/>
                    <a:pt x="121" y="8"/>
                  </a:cubicBezTo>
                  <a:cubicBezTo>
                    <a:pt x="121" y="7"/>
                    <a:pt x="120" y="7"/>
                    <a:pt x="119" y="6"/>
                  </a:cubicBezTo>
                  <a:cubicBezTo>
                    <a:pt x="119" y="6"/>
                    <a:pt x="118" y="6"/>
                    <a:pt x="117" y="6"/>
                  </a:cubicBezTo>
                  <a:cubicBezTo>
                    <a:pt x="117" y="6"/>
                    <a:pt x="116" y="7"/>
                    <a:pt x="116" y="8"/>
                  </a:cubicBezTo>
                  <a:cubicBezTo>
                    <a:pt x="115" y="8"/>
                    <a:pt x="113" y="12"/>
                    <a:pt x="111" y="15"/>
                  </a:cubicBezTo>
                  <a:cubicBezTo>
                    <a:pt x="110" y="15"/>
                    <a:pt x="108" y="14"/>
                    <a:pt x="106" y="14"/>
                  </a:cubicBezTo>
                  <a:cubicBezTo>
                    <a:pt x="107" y="10"/>
                    <a:pt x="107" y="6"/>
                    <a:pt x="107" y="5"/>
                  </a:cubicBezTo>
                  <a:cubicBezTo>
                    <a:pt x="107" y="4"/>
                    <a:pt x="107" y="4"/>
                    <a:pt x="107" y="3"/>
                  </a:cubicBezTo>
                  <a:cubicBezTo>
                    <a:pt x="106" y="2"/>
                    <a:pt x="106" y="2"/>
                    <a:pt x="105" y="2"/>
                  </a:cubicBezTo>
                  <a:cubicBezTo>
                    <a:pt x="104" y="2"/>
                    <a:pt x="103" y="2"/>
                    <a:pt x="103" y="2"/>
                  </a:cubicBezTo>
                  <a:cubicBezTo>
                    <a:pt x="102" y="2"/>
                    <a:pt x="102" y="3"/>
                    <a:pt x="101" y="4"/>
                  </a:cubicBezTo>
                  <a:cubicBezTo>
                    <a:pt x="101" y="5"/>
                    <a:pt x="100" y="9"/>
                    <a:pt x="99" y="12"/>
                  </a:cubicBezTo>
                  <a:cubicBezTo>
                    <a:pt x="97" y="12"/>
                    <a:pt x="95" y="12"/>
                    <a:pt x="93" y="11"/>
                  </a:cubicBezTo>
                  <a:cubicBezTo>
                    <a:pt x="93" y="8"/>
                    <a:pt x="93" y="3"/>
                    <a:pt x="93" y="3"/>
                  </a:cubicBezTo>
                  <a:cubicBezTo>
                    <a:pt x="93" y="2"/>
                    <a:pt x="92" y="1"/>
                    <a:pt x="92" y="1"/>
                  </a:cubicBezTo>
                  <a:cubicBezTo>
                    <a:pt x="91" y="0"/>
                    <a:pt x="91" y="0"/>
                    <a:pt x="90" y="0"/>
                  </a:cubicBezTo>
                  <a:cubicBezTo>
                    <a:pt x="89" y="0"/>
                    <a:pt x="88" y="0"/>
                    <a:pt x="88" y="0"/>
                  </a:cubicBezTo>
                  <a:cubicBezTo>
                    <a:pt x="87" y="1"/>
                    <a:pt x="87" y="2"/>
                    <a:pt x="87" y="2"/>
                  </a:cubicBezTo>
                  <a:cubicBezTo>
                    <a:pt x="87" y="3"/>
                    <a:pt x="86" y="7"/>
                    <a:pt x="86" y="11"/>
                  </a:cubicBezTo>
                  <a:cubicBezTo>
                    <a:pt x="84" y="11"/>
                    <a:pt x="82" y="11"/>
                    <a:pt x="80" y="11"/>
                  </a:cubicBezTo>
                  <a:cubicBezTo>
                    <a:pt x="79" y="8"/>
                    <a:pt x="78" y="4"/>
                    <a:pt x="78" y="3"/>
                  </a:cubicBezTo>
                  <a:cubicBezTo>
                    <a:pt x="78" y="2"/>
                    <a:pt x="78" y="1"/>
                    <a:pt x="77" y="1"/>
                  </a:cubicBezTo>
                  <a:cubicBezTo>
                    <a:pt x="76" y="1"/>
                    <a:pt x="76" y="0"/>
                    <a:pt x="75" y="1"/>
                  </a:cubicBezTo>
                  <a:cubicBezTo>
                    <a:pt x="74" y="1"/>
                    <a:pt x="73" y="1"/>
                    <a:pt x="73" y="1"/>
                  </a:cubicBezTo>
                  <a:cubicBezTo>
                    <a:pt x="72" y="2"/>
                    <a:pt x="72" y="3"/>
                    <a:pt x="72" y="3"/>
                  </a:cubicBezTo>
                  <a:cubicBezTo>
                    <a:pt x="72" y="4"/>
                    <a:pt x="72" y="9"/>
                    <a:pt x="72" y="12"/>
                  </a:cubicBezTo>
                  <a:cubicBezTo>
                    <a:pt x="71" y="13"/>
                    <a:pt x="69" y="13"/>
                    <a:pt x="67" y="13"/>
                  </a:cubicBezTo>
                  <a:cubicBezTo>
                    <a:pt x="66" y="10"/>
                    <a:pt x="64" y="6"/>
                    <a:pt x="64" y="5"/>
                  </a:cubicBezTo>
                  <a:cubicBezTo>
                    <a:pt x="63" y="5"/>
                    <a:pt x="63" y="4"/>
                    <a:pt x="62" y="4"/>
                  </a:cubicBezTo>
                  <a:cubicBezTo>
                    <a:pt x="62" y="4"/>
                    <a:pt x="61" y="4"/>
                    <a:pt x="60" y="4"/>
                  </a:cubicBezTo>
                  <a:cubicBezTo>
                    <a:pt x="59" y="4"/>
                    <a:pt x="59" y="4"/>
                    <a:pt x="58" y="5"/>
                  </a:cubicBezTo>
                  <a:cubicBezTo>
                    <a:pt x="58" y="6"/>
                    <a:pt x="58" y="6"/>
                    <a:pt x="58" y="7"/>
                  </a:cubicBezTo>
                  <a:cubicBezTo>
                    <a:pt x="58" y="8"/>
                    <a:pt x="59" y="12"/>
                    <a:pt x="60" y="16"/>
                  </a:cubicBezTo>
                  <a:cubicBezTo>
                    <a:pt x="58" y="16"/>
                    <a:pt x="56" y="17"/>
                    <a:pt x="55" y="18"/>
                  </a:cubicBezTo>
                  <a:cubicBezTo>
                    <a:pt x="53" y="15"/>
                    <a:pt x="50" y="11"/>
                    <a:pt x="50" y="10"/>
                  </a:cubicBezTo>
                  <a:cubicBezTo>
                    <a:pt x="50" y="10"/>
                    <a:pt x="49" y="9"/>
                    <a:pt x="48" y="9"/>
                  </a:cubicBezTo>
                  <a:cubicBezTo>
                    <a:pt x="48" y="9"/>
                    <a:pt x="47" y="9"/>
                    <a:pt x="46" y="10"/>
                  </a:cubicBezTo>
                  <a:cubicBezTo>
                    <a:pt x="46" y="10"/>
                    <a:pt x="45" y="10"/>
                    <a:pt x="45" y="11"/>
                  </a:cubicBezTo>
                  <a:cubicBezTo>
                    <a:pt x="44" y="12"/>
                    <a:pt x="44" y="13"/>
                    <a:pt x="45" y="13"/>
                  </a:cubicBezTo>
                  <a:cubicBezTo>
                    <a:pt x="45" y="14"/>
                    <a:pt x="47" y="18"/>
                    <a:pt x="48" y="21"/>
                  </a:cubicBezTo>
                  <a:cubicBezTo>
                    <a:pt x="46" y="22"/>
                    <a:pt x="45" y="23"/>
                    <a:pt x="43" y="24"/>
                  </a:cubicBezTo>
                  <a:cubicBezTo>
                    <a:pt x="41" y="22"/>
                    <a:pt x="38" y="19"/>
                    <a:pt x="37" y="18"/>
                  </a:cubicBezTo>
                  <a:cubicBezTo>
                    <a:pt x="37" y="17"/>
                    <a:pt x="36" y="17"/>
                    <a:pt x="35" y="17"/>
                  </a:cubicBezTo>
                  <a:cubicBezTo>
                    <a:pt x="35" y="17"/>
                    <a:pt x="34" y="17"/>
                    <a:pt x="33" y="18"/>
                  </a:cubicBezTo>
                  <a:cubicBezTo>
                    <a:pt x="33" y="18"/>
                    <a:pt x="32" y="19"/>
                    <a:pt x="32" y="20"/>
                  </a:cubicBezTo>
                  <a:cubicBezTo>
                    <a:pt x="32" y="20"/>
                    <a:pt x="32" y="21"/>
                    <a:pt x="33" y="22"/>
                  </a:cubicBezTo>
                  <a:cubicBezTo>
                    <a:pt x="33" y="22"/>
                    <a:pt x="35" y="26"/>
                    <a:pt x="37" y="29"/>
                  </a:cubicBezTo>
                  <a:cubicBezTo>
                    <a:pt x="36" y="30"/>
                    <a:pt x="35" y="32"/>
                    <a:pt x="33" y="33"/>
                  </a:cubicBezTo>
                  <a:cubicBezTo>
                    <a:pt x="30" y="30"/>
                    <a:pt x="27" y="28"/>
                    <a:pt x="26" y="27"/>
                  </a:cubicBezTo>
                  <a:cubicBezTo>
                    <a:pt x="26" y="27"/>
                    <a:pt x="25" y="27"/>
                    <a:pt x="24" y="27"/>
                  </a:cubicBezTo>
                  <a:cubicBezTo>
                    <a:pt x="23" y="27"/>
                    <a:pt x="23" y="27"/>
                    <a:pt x="22" y="28"/>
                  </a:cubicBezTo>
                  <a:cubicBezTo>
                    <a:pt x="22" y="28"/>
                    <a:pt x="22" y="29"/>
                    <a:pt x="22" y="30"/>
                  </a:cubicBezTo>
                  <a:cubicBezTo>
                    <a:pt x="22" y="31"/>
                    <a:pt x="22" y="31"/>
                    <a:pt x="22" y="32"/>
                  </a:cubicBezTo>
                  <a:cubicBezTo>
                    <a:pt x="23" y="33"/>
                    <a:pt x="26" y="36"/>
                    <a:pt x="28" y="38"/>
                  </a:cubicBezTo>
                  <a:cubicBezTo>
                    <a:pt x="27" y="40"/>
                    <a:pt x="26" y="41"/>
                    <a:pt x="25" y="43"/>
                  </a:cubicBezTo>
                  <a:cubicBezTo>
                    <a:pt x="21" y="41"/>
                    <a:pt x="18" y="39"/>
                    <a:pt x="17" y="39"/>
                  </a:cubicBezTo>
                  <a:cubicBezTo>
                    <a:pt x="16" y="38"/>
                    <a:pt x="15" y="38"/>
                    <a:pt x="15" y="39"/>
                  </a:cubicBezTo>
                  <a:cubicBezTo>
                    <a:pt x="14" y="39"/>
                    <a:pt x="14" y="39"/>
                    <a:pt x="13" y="40"/>
                  </a:cubicBezTo>
                  <a:cubicBezTo>
                    <a:pt x="13" y="41"/>
                    <a:pt x="13" y="41"/>
                    <a:pt x="13" y="42"/>
                  </a:cubicBezTo>
                  <a:cubicBezTo>
                    <a:pt x="13" y="43"/>
                    <a:pt x="13" y="43"/>
                    <a:pt x="14" y="44"/>
                  </a:cubicBezTo>
                  <a:cubicBezTo>
                    <a:pt x="14" y="44"/>
                    <a:pt x="18" y="47"/>
                    <a:pt x="21" y="49"/>
                  </a:cubicBezTo>
                  <a:cubicBezTo>
                    <a:pt x="20" y="51"/>
                    <a:pt x="19" y="53"/>
                    <a:pt x="18" y="54"/>
                  </a:cubicBezTo>
                  <a:cubicBezTo>
                    <a:pt x="15" y="53"/>
                    <a:pt x="11" y="52"/>
                    <a:pt x="10" y="52"/>
                  </a:cubicBezTo>
                  <a:cubicBezTo>
                    <a:pt x="9" y="51"/>
                    <a:pt x="8" y="51"/>
                    <a:pt x="8" y="52"/>
                  </a:cubicBezTo>
                  <a:cubicBezTo>
                    <a:pt x="7" y="52"/>
                    <a:pt x="6" y="53"/>
                    <a:pt x="6" y="53"/>
                  </a:cubicBezTo>
                  <a:cubicBezTo>
                    <a:pt x="6" y="54"/>
                    <a:pt x="6" y="55"/>
                    <a:pt x="6" y="55"/>
                  </a:cubicBezTo>
                  <a:cubicBezTo>
                    <a:pt x="6" y="56"/>
                    <a:pt x="7" y="57"/>
                    <a:pt x="7" y="57"/>
                  </a:cubicBezTo>
                  <a:cubicBezTo>
                    <a:pt x="8" y="57"/>
                    <a:pt x="12" y="60"/>
                    <a:pt x="15" y="61"/>
                  </a:cubicBezTo>
                  <a:cubicBezTo>
                    <a:pt x="15" y="63"/>
                    <a:pt x="14" y="65"/>
                    <a:pt x="14" y="67"/>
                  </a:cubicBezTo>
                  <a:cubicBezTo>
                    <a:pt x="10" y="66"/>
                    <a:pt x="6" y="65"/>
                    <a:pt x="5" y="65"/>
                  </a:cubicBezTo>
                  <a:cubicBezTo>
                    <a:pt x="4" y="65"/>
                    <a:pt x="3" y="66"/>
                    <a:pt x="3" y="66"/>
                  </a:cubicBezTo>
                  <a:cubicBezTo>
                    <a:pt x="2" y="66"/>
                    <a:pt x="2" y="67"/>
                    <a:pt x="2" y="68"/>
                  </a:cubicBezTo>
                  <a:cubicBezTo>
                    <a:pt x="1" y="69"/>
                    <a:pt x="2" y="69"/>
                    <a:pt x="2" y="70"/>
                  </a:cubicBezTo>
                  <a:cubicBezTo>
                    <a:pt x="2" y="71"/>
                    <a:pt x="3" y="71"/>
                    <a:pt x="3" y="71"/>
                  </a:cubicBezTo>
                  <a:cubicBezTo>
                    <a:pt x="4" y="72"/>
                    <a:pt x="8" y="73"/>
                    <a:pt x="12" y="74"/>
                  </a:cubicBezTo>
                  <a:cubicBezTo>
                    <a:pt x="12" y="76"/>
                    <a:pt x="11" y="78"/>
                    <a:pt x="11" y="79"/>
                  </a:cubicBezTo>
                  <a:cubicBezTo>
                    <a:pt x="7" y="80"/>
                    <a:pt x="3" y="80"/>
                    <a:pt x="2" y="80"/>
                  </a:cubicBezTo>
                  <a:cubicBezTo>
                    <a:pt x="2" y="80"/>
                    <a:pt x="1" y="80"/>
                    <a:pt x="0" y="81"/>
                  </a:cubicBezTo>
                  <a:cubicBezTo>
                    <a:pt x="0" y="81"/>
                    <a:pt x="0" y="82"/>
                    <a:pt x="0" y="83"/>
                  </a:cubicBezTo>
                  <a:cubicBezTo>
                    <a:pt x="0" y="84"/>
                    <a:pt x="0" y="84"/>
                    <a:pt x="0" y="85"/>
                  </a:cubicBezTo>
                  <a:cubicBezTo>
                    <a:pt x="1" y="85"/>
                    <a:pt x="1" y="86"/>
                    <a:pt x="2" y="86"/>
                  </a:cubicBezTo>
                  <a:cubicBezTo>
                    <a:pt x="3" y="86"/>
                    <a:pt x="7" y="87"/>
                    <a:pt x="11" y="87"/>
                  </a:cubicBezTo>
                  <a:cubicBezTo>
                    <a:pt x="11" y="89"/>
                    <a:pt x="11" y="91"/>
                    <a:pt x="11" y="93"/>
                  </a:cubicBezTo>
                  <a:cubicBezTo>
                    <a:pt x="7" y="93"/>
                    <a:pt x="3" y="94"/>
                    <a:pt x="3" y="95"/>
                  </a:cubicBezTo>
                  <a:cubicBezTo>
                    <a:pt x="2" y="95"/>
                    <a:pt x="1" y="95"/>
                    <a:pt x="1" y="96"/>
                  </a:cubicBezTo>
                  <a:cubicBezTo>
                    <a:pt x="0" y="96"/>
                    <a:pt x="0" y="97"/>
                    <a:pt x="0" y="98"/>
                  </a:cubicBezTo>
                  <a:cubicBezTo>
                    <a:pt x="0" y="99"/>
                    <a:pt x="1" y="99"/>
                    <a:pt x="1" y="100"/>
                  </a:cubicBezTo>
                  <a:cubicBezTo>
                    <a:pt x="2" y="100"/>
                    <a:pt x="3" y="101"/>
                    <a:pt x="3" y="101"/>
                  </a:cubicBezTo>
                  <a:cubicBezTo>
                    <a:pt x="4" y="100"/>
                    <a:pt x="8" y="100"/>
                    <a:pt x="12" y="100"/>
                  </a:cubicBezTo>
                  <a:cubicBezTo>
                    <a:pt x="12" y="102"/>
                    <a:pt x="13" y="104"/>
                    <a:pt x="13" y="106"/>
                  </a:cubicBezTo>
                  <a:cubicBezTo>
                    <a:pt x="10" y="107"/>
                    <a:pt x="6" y="109"/>
                    <a:pt x="5" y="109"/>
                  </a:cubicBezTo>
                  <a:cubicBezTo>
                    <a:pt x="4" y="109"/>
                    <a:pt x="4" y="110"/>
                    <a:pt x="4" y="111"/>
                  </a:cubicBezTo>
                  <a:cubicBezTo>
                    <a:pt x="3" y="111"/>
                    <a:pt x="3" y="112"/>
                    <a:pt x="4" y="113"/>
                  </a:cubicBezTo>
                  <a:cubicBezTo>
                    <a:pt x="4" y="113"/>
                    <a:pt x="4" y="114"/>
                    <a:pt x="5" y="114"/>
                  </a:cubicBezTo>
                  <a:cubicBezTo>
                    <a:pt x="6" y="115"/>
                    <a:pt x="6" y="115"/>
                    <a:pt x="7" y="115"/>
                  </a:cubicBezTo>
                  <a:cubicBezTo>
                    <a:pt x="8" y="115"/>
                    <a:pt x="12" y="114"/>
                    <a:pt x="16" y="113"/>
                  </a:cubicBezTo>
                  <a:cubicBezTo>
                    <a:pt x="16" y="115"/>
                    <a:pt x="17" y="116"/>
                    <a:pt x="18" y="118"/>
                  </a:cubicBezTo>
                  <a:cubicBezTo>
                    <a:pt x="15" y="120"/>
                    <a:pt x="11" y="122"/>
                    <a:pt x="10" y="123"/>
                  </a:cubicBezTo>
                  <a:cubicBezTo>
                    <a:pt x="10" y="123"/>
                    <a:pt x="9" y="124"/>
                    <a:pt x="9" y="124"/>
                  </a:cubicBezTo>
                  <a:cubicBezTo>
                    <a:pt x="9" y="125"/>
                    <a:pt x="9" y="126"/>
                    <a:pt x="9" y="127"/>
                  </a:cubicBezTo>
                  <a:cubicBezTo>
                    <a:pt x="10" y="127"/>
                    <a:pt x="10" y="128"/>
                    <a:pt x="11" y="128"/>
                  </a:cubicBezTo>
                  <a:cubicBezTo>
                    <a:pt x="12" y="128"/>
                    <a:pt x="12" y="128"/>
                    <a:pt x="13" y="128"/>
                  </a:cubicBezTo>
                  <a:cubicBezTo>
                    <a:pt x="14" y="128"/>
                    <a:pt x="18" y="126"/>
                    <a:pt x="21" y="125"/>
                  </a:cubicBezTo>
                  <a:cubicBezTo>
                    <a:pt x="22" y="126"/>
                    <a:pt x="23" y="128"/>
                    <a:pt x="24" y="129"/>
                  </a:cubicBezTo>
                  <a:cubicBezTo>
                    <a:pt x="21" y="132"/>
                    <a:pt x="18" y="135"/>
                    <a:pt x="18" y="135"/>
                  </a:cubicBezTo>
                  <a:cubicBezTo>
                    <a:pt x="17" y="136"/>
                    <a:pt x="17" y="137"/>
                    <a:pt x="17" y="137"/>
                  </a:cubicBezTo>
                  <a:cubicBezTo>
                    <a:pt x="17" y="138"/>
                    <a:pt x="17" y="139"/>
                    <a:pt x="18" y="139"/>
                  </a:cubicBezTo>
                  <a:cubicBezTo>
                    <a:pt x="18" y="140"/>
                    <a:pt x="19" y="140"/>
                    <a:pt x="19" y="140"/>
                  </a:cubicBezTo>
                  <a:cubicBezTo>
                    <a:pt x="20" y="141"/>
                    <a:pt x="21" y="141"/>
                    <a:pt x="21" y="140"/>
                  </a:cubicBezTo>
                  <a:cubicBezTo>
                    <a:pt x="22" y="140"/>
                    <a:pt x="26" y="137"/>
                    <a:pt x="29" y="135"/>
                  </a:cubicBezTo>
                  <a:cubicBezTo>
                    <a:pt x="30" y="137"/>
                    <a:pt x="31" y="138"/>
                    <a:pt x="33" y="140"/>
                  </a:cubicBezTo>
                  <a:cubicBezTo>
                    <a:pt x="30" y="143"/>
                    <a:pt x="28" y="146"/>
                    <a:pt x="27" y="147"/>
                  </a:cubicBezTo>
                  <a:cubicBezTo>
                    <a:pt x="27" y="147"/>
                    <a:pt x="27" y="148"/>
                    <a:pt x="27" y="149"/>
                  </a:cubicBezTo>
                  <a:cubicBezTo>
                    <a:pt x="27" y="149"/>
                    <a:pt x="27" y="150"/>
                    <a:pt x="28" y="151"/>
                  </a:cubicBezTo>
                  <a:cubicBezTo>
                    <a:pt x="28" y="151"/>
                    <a:pt x="29" y="151"/>
                    <a:pt x="30" y="151"/>
                  </a:cubicBezTo>
                  <a:cubicBezTo>
                    <a:pt x="30" y="151"/>
                    <a:pt x="31" y="151"/>
                    <a:pt x="32" y="151"/>
                  </a:cubicBezTo>
                  <a:cubicBezTo>
                    <a:pt x="32" y="150"/>
                    <a:pt x="35" y="147"/>
                    <a:pt x="38" y="145"/>
                  </a:cubicBezTo>
                  <a:cubicBezTo>
                    <a:pt x="40" y="146"/>
                    <a:pt x="41" y="147"/>
                    <a:pt x="43" y="148"/>
                  </a:cubicBezTo>
                  <a:cubicBezTo>
                    <a:pt x="41" y="151"/>
                    <a:pt x="39" y="155"/>
                    <a:pt x="39" y="156"/>
                  </a:cubicBezTo>
                  <a:cubicBezTo>
                    <a:pt x="38" y="157"/>
                    <a:pt x="38" y="157"/>
                    <a:pt x="38" y="158"/>
                  </a:cubicBezTo>
                  <a:cubicBezTo>
                    <a:pt x="39" y="159"/>
                    <a:pt x="39" y="159"/>
                    <a:pt x="40" y="160"/>
                  </a:cubicBezTo>
                  <a:cubicBezTo>
                    <a:pt x="40" y="160"/>
                    <a:pt x="41" y="160"/>
                    <a:pt x="42" y="160"/>
                  </a:cubicBezTo>
                  <a:cubicBezTo>
                    <a:pt x="42" y="160"/>
                    <a:pt x="43" y="160"/>
                    <a:pt x="44" y="159"/>
                  </a:cubicBezTo>
                  <a:cubicBezTo>
                    <a:pt x="44" y="159"/>
                    <a:pt x="47" y="155"/>
                    <a:pt x="49" y="152"/>
                  </a:cubicBezTo>
                  <a:cubicBezTo>
                    <a:pt x="51" y="153"/>
                    <a:pt x="52" y="154"/>
                    <a:pt x="54" y="155"/>
                  </a:cubicBezTo>
                  <a:cubicBezTo>
                    <a:pt x="53" y="158"/>
                    <a:pt x="52" y="162"/>
                    <a:pt x="51" y="163"/>
                  </a:cubicBezTo>
                  <a:cubicBezTo>
                    <a:pt x="51" y="164"/>
                    <a:pt x="51" y="165"/>
                    <a:pt x="52" y="165"/>
                  </a:cubicBezTo>
                  <a:cubicBezTo>
                    <a:pt x="52" y="166"/>
                    <a:pt x="52" y="166"/>
                    <a:pt x="53" y="167"/>
                  </a:cubicBezTo>
                  <a:cubicBezTo>
                    <a:pt x="54" y="167"/>
                    <a:pt x="55" y="167"/>
                    <a:pt x="55" y="167"/>
                  </a:cubicBezTo>
                  <a:cubicBezTo>
                    <a:pt x="56" y="167"/>
                    <a:pt x="56" y="166"/>
                    <a:pt x="57" y="166"/>
                  </a:cubicBezTo>
                  <a:cubicBezTo>
                    <a:pt x="57" y="165"/>
                    <a:pt x="59" y="161"/>
                    <a:pt x="61" y="158"/>
                  </a:cubicBezTo>
                  <a:cubicBezTo>
                    <a:pt x="63" y="158"/>
                    <a:pt x="64" y="159"/>
                    <a:pt x="66" y="159"/>
                  </a:cubicBezTo>
                  <a:cubicBezTo>
                    <a:pt x="66" y="163"/>
                    <a:pt x="65" y="167"/>
                    <a:pt x="65" y="168"/>
                  </a:cubicBezTo>
                  <a:cubicBezTo>
                    <a:pt x="65" y="169"/>
                    <a:pt x="65" y="170"/>
                    <a:pt x="66" y="170"/>
                  </a:cubicBezTo>
                  <a:cubicBezTo>
                    <a:pt x="66" y="171"/>
                    <a:pt x="67" y="171"/>
                    <a:pt x="67" y="171"/>
                  </a:cubicBezTo>
                  <a:cubicBezTo>
                    <a:pt x="68" y="171"/>
                    <a:pt x="69" y="171"/>
                    <a:pt x="70" y="171"/>
                  </a:cubicBezTo>
                  <a:cubicBezTo>
                    <a:pt x="70" y="171"/>
                    <a:pt x="71" y="170"/>
                    <a:pt x="71" y="169"/>
                  </a:cubicBezTo>
                  <a:cubicBezTo>
                    <a:pt x="71" y="169"/>
                    <a:pt x="72" y="165"/>
                    <a:pt x="74" y="161"/>
                  </a:cubicBezTo>
                  <a:cubicBezTo>
                    <a:pt x="75" y="161"/>
                    <a:pt x="77" y="162"/>
                    <a:pt x="79" y="162"/>
                  </a:cubicBezTo>
                  <a:cubicBezTo>
                    <a:pt x="79" y="166"/>
                    <a:pt x="80" y="170"/>
                    <a:pt x="80" y="171"/>
                  </a:cubicBezTo>
                  <a:cubicBezTo>
                    <a:pt x="80" y="171"/>
                    <a:pt x="80" y="172"/>
                    <a:pt x="80" y="172"/>
                  </a:cubicBezTo>
                  <a:cubicBezTo>
                    <a:pt x="81" y="173"/>
                    <a:pt x="82" y="173"/>
                    <a:pt x="82" y="173"/>
                  </a:cubicBezTo>
                  <a:cubicBezTo>
                    <a:pt x="83" y="173"/>
                    <a:pt x="84" y="173"/>
                    <a:pt x="84" y="173"/>
                  </a:cubicBezTo>
                  <a:cubicBezTo>
                    <a:pt x="85" y="172"/>
                    <a:pt x="85" y="172"/>
                    <a:pt x="86" y="171"/>
                  </a:cubicBezTo>
                  <a:cubicBezTo>
                    <a:pt x="86" y="170"/>
                    <a:pt x="86" y="166"/>
                    <a:pt x="87" y="162"/>
                  </a:cubicBezTo>
                  <a:cubicBezTo>
                    <a:pt x="89" y="162"/>
                    <a:pt x="90" y="162"/>
                    <a:pt x="92" y="162"/>
                  </a:cubicBezTo>
                  <a:cubicBezTo>
                    <a:pt x="93" y="166"/>
                    <a:pt x="94" y="170"/>
                    <a:pt x="94" y="170"/>
                  </a:cubicBezTo>
                  <a:cubicBezTo>
                    <a:pt x="94" y="171"/>
                    <a:pt x="95" y="172"/>
                    <a:pt x="95" y="172"/>
                  </a:cubicBezTo>
                  <a:cubicBezTo>
                    <a:pt x="96" y="172"/>
                    <a:pt x="97" y="173"/>
                    <a:pt x="98" y="173"/>
                  </a:cubicBezTo>
                  <a:cubicBezTo>
                    <a:pt x="98" y="172"/>
                    <a:pt x="99" y="172"/>
                    <a:pt x="99" y="172"/>
                  </a:cubicBezTo>
                  <a:cubicBezTo>
                    <a:pt x="100" y="171"/>
                    <a:pt x="100" y="170"/>
                    <a:pt x="100" y="170"/>
                  </a:cubicBezTo>
                  <a:cubicBezTo>
                    <a:pt x="100" y="169"/>
                    <a:pt x="100" y="165"/>
                    <a:pt x="100" y="161"/>
                  </a:cubicBezTo>
                  <a:cubicBezTo>
                    <a:pt x="102" y="160"/>
                    <a:pt x="103" y="160"/>
                    <a:pt x="105" y="160"/>
                  </a:cubicBezTo>
                  <a:cubicBezTo>
                    <a:pt x="107" y="163"/>
                    <a:pt x="108" y="167"/>
                    <a:pt x="109" y="168"/>
                  </a:cubicBezTo>
                  <a:cubicBezTo>
                    <a:pt x="109" y="168"/>
                    <a:pt x="110" y="169"/>
                    <a:pt x="110" y="169"/>
                  </a:cubicBezTo>
                  <a:cubicBezTo>
                    <a:pt x="111" y="170"/>
                    <a:pt x="112" y="170"/>
                    <a:pt x="112" y="169"/>
                  </a:cubicBezTo>
                  <a:cubicBezTo>
                    <a:pt x="113" y="169"/>
                    <a:pt x="114" y="169"/>
                    <a:pt x="114" y="168"/>
                  </a:cubicBezTo>
                  <a:cubicBezTo>
                    <a:pt x="114" y="167"/>
                    <a:pt x="115" y="167"/>
                    <a:pt x="114" y="166"/>
                  </a:cubicBezTo>
                  <a:cubicBezTo>
                    <a:pt x="114" y="165"/>
                    <a:pt x="113" y="161"/>
                    <a:pt x="113" y="157"/>
                  </a:cubicBezTo>
                  <a:cubicBezTo>
                    <a:pt x="114" y="157"/>
                    <a:pt x="116" y="156"/>
                    <a:pt x="118" y="155"/>
                  </a:cubicBezTo>
                  <a:cubicBezTo>
                    <a:pt x="120" y="158"/>
                    <a:pt x="122" y="162"/>
                    <a:pt x="122" y="163"/>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5" name="Freeform 579">
              <a:extLst>
                <a:ext uri="{FF2B5EF4-FFF2-40B4-BE49-F238E27FC236}">
                  <a16:creationId xmlns:a16="http://schemas.microsoft.com/office/drawing/2014/main" id="{DDD332AD-55B5-42C7-897E-1EC6948514A7}"/>
                </a:ext>
              </a:extLst>
            </p:cNvPr>
            <p:cNvSpPr>
              <a:spLocks noEditPoints="1"/>
            </p:cNvSpPr>
            <p:nvPr/>
          </p:nvSpPr>
          <p:spPr bwMode="auto">
            <a:xfrm>
              <a:off x="2626925" y="5731803"/>
              <a:ext cx="301234" cy="275882"/>
            </a:xfrm>
            <a:custGeom>
              <a:avLst/>
              <a:gdLst>
                <a:gd name="T0" fmla="*/ 298 w 304"/>
                <a:gd name="T1" fmla="*/ 160 h 278"/>
                <a:gd name="T2" fmla="*/ 234 w 304"/>
                <a:gd name="T3" fmla="*/ 96 h 278"/>
                <a:gd name="T4" fmla="*/ 196 w 304"/>
                <a:gd name="T5" fmla="*/ 96 h 278"/>
                <a:gd name="T6" fmla="*/ 213 w 304"/>
                <a:gd name="T7" fmla="*/ 46 h 278"/>
                <a:gd name="T8" fmla="*/ 199 w 304"/>
                <a:gd name="T9" fmla="*/ 3 h 278"/>
                <a:gd name="T10" fmla="*/ 191 w 304"/>
                <a:gd name="T11" fmla="*/ 0 h 278"/>
                <a:gd name="T12" fmla="*/ 184 w 304"/>
                <a:gd name="T13" fmla="*/ 4 h 278"/>
                <a:gd name="T14" fmla="*/ 89 w 304"/>
                <a:gd name="T15" fmla="*/ 112 h 278"/>
                <a:gd name="T16" fmla="*/ 88 w 304"/>
                <a:gd name="T17" fmla="*/ 114 h 278"/>
                <a:gd name="T18" fmla="*/ 79 w 304"/>
                <a:gd name="T19" fmla="*/ 128 h 278"/>
                <a:gd name="T20" fmla="*/ 10 w 304"/>
                <a:gd name="T21" fmla="*/ 128 h 278"/>
                <a:gd name="T22" fmla="*/ 0 w 304"/>
                <a:gd name="T23" fmla="*/ 139 h 278"/>
                <a:gd name="T24" fmla="*/ 0 w 304"/>
                <a:gd name="T25" fmla="*/ 256 h 278"/>
                <a:gd name="T26" fmla="*/ 10 w 304"/>
                <a:gd name="T27" fmla="*/ 267 h 278"/>
                <a:gd name="T28" fmla="*/ 95 w 304"/>
                <a:gd name="T29" fmla="*/ 267 h 278"/>
                <a:gd name="T30" fmla="*/ 128 w 304"/>
                <a:gd name="T31" fmla="*/ 278 h 278"/>
                <a:gd name="T32" fmla="*/ 224 w 304"/>
                <a:gd name="T33" fmla="*/ 278 h 278"/>
                <a:gd name="T34" fmla="*/ 274 w 304"/>
                <a:gd name="T35" fmla="*/ 256 h 278"/>
                <a:gd name="T36" fmla="*/ 298 w 304"/>
                <a:gd name="T37" fmla="*/ 160 h 278"/>
                <a:gd name="T38" fmla="*/ 21 w 304"/>
                <a:gd name="T39" fmla="*/ 150 h 278"/>
                <a:gd name="T40" fmla="*/ 74 w 304"/>
                <a:gd name="T41" fmla="*/ 150 h 278"/>
                <a:gd name="T42" fmla="*/ 74 w 304"/>
                <a:gd name="T43" fmla="*/ 150 h 278"/>
                <a:gd name="T44" fmla="*/ 74 w 304"/>
                <a:gd name="T45" fmla="*/ 224 h 278"/>
                <a:gd name="T46" fmla="*/ 78 w 304"/>
                <a:gd name="T47" fmla="*/ 246 h 278"/>
                <a:gd name="T48" fmla="*/ 21 w 304"/>
                <a:gd name="T49" fmla="*/ 246 h 278"/>
                <a:gd name="T50" fmla="*/ 21 w 304"/>
                <a:gd name="T51" fmla="*/ 150 h 278"/>
                <a:gd name="T52" fmla="*/ 258 w 304"/>
                <a:gd name="T53" fmla="*/ 242 h 278"/>
                <a:gd name="T54" fmla="*/ 224 w 304"/>
                <a:gd name="T55" fmla="*/ 256 h 278"/>
                <a:gd name="T56" fmla="*/ 128 w 304"/>
                <a:gd name="T57" fmla="*/ 256 h 278"/>
                <a:gd name="T58" fmla="*/ 96 w 304"/>
                <a:gd name="T59" fmla="*/ 224 h 278"/>
                <a:gd name="T60" fmla="*/ 96 w 304"/>
                <a:gd name="T61" fmla="*/ 150 h 278"/>
                <a:gd name="T62" fmla="*/ 104 w 304"/>
                <a:gd name="T63" fmla="*/ 127 h 278"/>
                <a:gd name="T64" fmla="*/ 105 w 304"/>
                <a:gd name="T65" fmla="*/ 127 h 278"/>
                <a:gd name="T66" fmla="*/ 191 w 304"/>
                <a:gd name="T67" fmla="*/ 28 h 278"/>
                <a:gd name="T68" fmla="*/ 192 w 304"/>
                <a:gd name="T69" fmla="*/ 40 h 278"/>
                <a:gd name="T70" fmla="*/ 171 w 304"/>
                <a:gd name="T71" fmla="*/ 104 h 278"/>
                <a:gd name="T72" fmla="*/ 171 w 304"/>
                <a:gd name="T73" fmla="*/ 104 h 278"/>
                <a:gd name="T74" fmla="*/ 170 w 304"/>
                <a:gd name="T75" fmla="*/ 107 h 278"/>
                <a:gd name="T76" fmla="*/ 181 w 304"/>
                <a:gd name="T77" fmla="*/ 118 h 278"/>
                <a:gd name="T78" fmla="*/ 234 w 304"/>
                <a:gd name="T79" fmla="*/ 118 h 278"/>
                <a:gd name="T80" fmla="*/ 277 w 304"/>
                <a:gd name="T81" fmla="*/ 161 h 278"/>
                <a:gd name="T82" fmla="*/ 258 w 304"/>
                <a:gd name="T8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278">
                  <a:moveTo>
                    <a:pt x="298" y="160"/>
                  </a:moveTo>
                  <a:cubicBezTo>
                    <a:pt x="298" y="129"/>
                    <a:pt x="265" y="96"/>
                    <a:pt x="234" y="96"/>
                  </a:cubicBezTo>
                  <a:cubicBezTo>
                    <a:pt x="196" y="96"/>
                    <a:pt x="196" y="96"/>
                    <a:pt x="196" y="96"/>
                  </a:cubicBezTo>
                  <a:cubicBezTo>
                    <a:pt x="213" y="46"/>
                    <a:pt x="213" y="46"/>
                    <a:pt x="213" y="46"/>
                  </a:cubicBezTo>
                  <a:cubicBezTo>
                    <a:pt x="219" y="23"/>
                    <a:pt x="200" y="4"/>
                    <a:pt x="199" y="3"/>
                  </a:cubicBezTo>
                  <a:cubicBezTo>
                    <a:pt x="197" y="1"/>
                    <a:pt x="194" y="0"/>
                    <a:pt x="191" y="0"/>
                  </a:cubicBezTo>
                  <a:cubicBezTo>
                    <a:pt x="188" y="0"/>
                    <a:pt x="186" y="2"/>
                    <a:pt x="184" y="4"/>
                  </a:cubicBezTo>
                  <a:cubicBezTo>
                    <a:pt x="89" y="112"/>
                    <a:pt x="89" y="112"/>
                    <a:pt x="89" y="112"/>
                  </a:cubicBezTo>
                  <a:cubicBezTo>
                    <a:pt x="89" y="112"/>
                    <a:pt x="89" y="112"/>
                    <a:pt x="88" y="114"/>
                  </a:cubicBezTo>
                  <a:cubicBezTo>
                    <a:pt x="84" y="118"/>
                    <a:pt x="81" y="123"/>
                    <a:pt x="79" y="128"/>
                  </a:cubicBezTo>
                  <a:cubicBezTo>
                    <a:pt x="10" y="128"/>
                    <a:pt x="10" y="128"/>
                    <a:pt x="10" y="128"/>
                  </a:cubicBezTo>
                  <a:cubicBezTo>
                    <a:pt x="4" y="128"/>
                    <a:pt x="0" y="133"/>
                    <a:pt x="0" y="139"/>
                  </a:cubicBezTo>
                  <a:cubicBezTo>
                    <a:pt x="0" y="256"/>
                    <a:pt x="0" y="256"/>
                    <a:pt x="0" y="256"/>
                  </a:cubicBezTo>
                  <a:cubicBezTo>
                    <a:pt x="0" y="262"/>
                    <a:pt x="4" y="267"/>
                    <a:pt x="10" y="267"/>
                  </a:cubicBezTo>
                  <a:cubicBezTo>
                    <a:pt x="95" y="267"/>
                    <a:pt x="95" y="267"/>
                    <a:pt x="95" y="267"/>
                  </a:cubicBezTo>
                  <a:cubicBezTo>
                    <a:pt x="104" y="274"/>
                    <a:pt x="115" y="278"/>
                    <a:pt x="128" y="278"/>
                  </a:cubicBezTo>
                  <a:cubicBezTo>
                    <a:pt x="224" y="278"/>
                    <a:pt x="224" y="278"/>
                    <a:pt x="224" y="278"/>
                  </a:cubicBezTo>
                  <a:cubicBezTo>
                    <a:pt x="244" y="278"/>
                    <a:pt x="261" y="271"/>
                    <a:pt x="274" y="256"/>
                  </a:cubicBezTo>
                  <a:cubicBezTo>
                    <a:pt x="304" y="223"/>
                    <a:pt x="299" y="162"/>
                    <a:pt x="298" y="160"/>
                  </a:cubicBezTo>
                  <a:close/>
                  <a:moveTo>
                    <a:pt x="21" y="150"/>
                  </a:moveTo>
                  <a:cubicBezTo>
                    <a:pt x="74" y="150"/>
                    <a:pt x="74" y="150"/>
                    <a:pt x="74" y="150"/>
                  </a:cubicBezTo>
                  <a:cubicBezTo>
                    <a:pt x="74" y="150"/>
                    <a:pt x="74" y="150"/>
                    <a:pt x="74" y="150"/>
                  </a:cubicBezTo>
                  <a:cubicBezTo>
                    <a:pt x="74" y="224"/>
                    <a:pt x="74" y="224"/>
                    <a:pt x="74" y="224"/>
                  </a:cubicBezTo>
                  <a:cubicBezTo>
                    <a:pt x="74" y="232"/>
                    <a:pt x="76" y="239"/>
                    <a:pt x="78" y="246"/>
                  </a:cubicBezTo>
                  <a:cubicBezTo>
                    <a:pt x="21" y="246"/>
                    <a:pt x="21" y="246"/>
                    <a:pt x="21" y="246"/>
                  </a:cubicBezTo>
                  <a:lnTo>
                    <a:pt x="21" y="150"/>
                  </a:lnTo>
                  <a:close/>
                  <a:moveTo>
                    <a:pt x="258" y="242"/>
                  </a:moveTo>
                  <a:cubicBezTo>
                    <a:pt x="250" y="252"/>
                    <a:pt x="238" y="256"/>
                    <a:pt x="224" y="256"/>
                  </a:cubicBezTo>
                  <a:cubicBezTo>
                    <a:pt x="128" y="256"/>
                    <a:pt x="128" y="256"/>
                    <a:pt x="128" y="256"/>
                  </a:cubicBezTo>
                  <a:cubicBezTo>
                    <a:pt x="109" y="256"/>
                    <a:pt x="96" y="243"/>
                    <a:pt x="96" y="224"/>
                  </a:cubicBezTo>
                  <a:cubicBezTo>
                    <a:pt x="96" y="150"/>
                    <a:pt x="96" y="150"/>
                    <a:pt x="96" y="150"/>
                  </a:cubicBezTo>
                  <a:cubicBezTo>
                    <a:pt x="96" y="142"/>
                    <a:pt x="99" y="134"/>
                    <a:pt x="104" y="127"/>
                  </a:cubicBezTo>
                  <a:cubicBezTo>
                    <a:pt x="105" y="127"/>
                    <a:pt x="105" y="127"/>
                    <a:pt x="105" y="127"/>
                  </a:cubicBezTo>
                  <a:cubicBezTo>
                    <a:pt x="191" y="28"/>
                    <a:pt x="191" y="28"/>
                    <a:pt x="191" y="28"/>
                  </a:cubicBezTo>
                  <a:cubicBezTo>
                    <a:pt x="192" y="32"/>
                    <a:pt x="193" y="36"/>
                    <a:pt x="192" y="40"/>
                  </a:cubicBezTo>
                  <a:cubicBezTo>
                    <a:pt x="171" y="104"/>
                    <a:pt x="171" y="104"/>
                    <a:pt x="171" y="104"/>
                  </a:cubicBezTo>
                  <a:cubicBezTo>
                    <a:pt x="171" y="104"/>
                    <a:pt x="171" y="104"/>
                    <a:pt x="171" y="104"/>
                  </a:cubicBezTo>
                  <a:cubicBezTo>
                    <a:pt x="171" y="105"/>
                    <a:pt x="170" y="106"/>
                    <a:pt x="170" y="107"/>
                  </a:cubicBezTo>
                  <a:cubicBezTo>
                    <a:pt x="170" y="113"/>
                    <a:pt x="175" y="118"/>
                    <a:pt x="181" y="118"/>
                  </a:cubicBezTo>
                  <a:cubicBezTo>
                    <a:pt x="234" y="118"/>
                    <a:pt x="234" y="118"/>
                    <a:pt x="234" y="118"/>
                  </a:cubicBezTo>
                  <a:cubicBezTo>
                    <a:pt x="253" y="118"/>
                    <a:pt x="277" y="141"/>
                    <a:pt x="277" y="161"/>
                  </a:cubicBezTo>
                  <a:cubicBezTo>
                    <a:pt x="277" y="162"/>
                    <a:pt x="282" y="216"/>
                    <a:pt x="258" y="24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06" name="Group 205">
            <a:extLst>
              <a:ext uri="{FF2B5EF4-FFF2-40B4-BE49-F238E27FC236}">
                <a16:creationId xmlns:a16="http://schemas.microsoft.com/office/drawing/2014/main" id="{ABC305B1-341D-4BD2-8FAB-4AA56D91611B}"/>
              </a:ext>
            </a:extLst>
          </p:cNvPr>
          <p:cNvGrpSpPr/>
          <p:nvPr/>
        </p:nvGrpSpPr>
        <p:grpSpPr>
          <a:xfrm>
            <a:off x="1791646" y="4832175"/>
            <a:ext cx="651085" cy="653705"/>
            <a:chOff x="469901" y="1705453"/>
            <a:chExt cx="651085" cy="653705"/>
          </a:xfrm>
        </p:grpSpPr>
        <p:sp>
          <p:nvSpPr>
            <p:cNvPr id="207" name="Freeform 13">
              <a:extLst>
                <a:ext uri="{FF2B5EF4-FFF2-40B4-BE49-F238E27FC236}">
                  <a16:creationId xmlns:a16="http://schemas.microsoft.com/office/drawing/2014/main" id="{AA1FD408-7BAC-4657-A1BE-D6FD0977FD31}"/>
                </a:ext>
              </a:extLst>
            </p:cNvPr>
            <p:cNvSpPr>
              <a:spLocks/>
            </p:cNvSpPr>
            <p:nvPr/>
          </p:nvSpPr>
          <p:spPr bwMode="auto">
            <a:xfrm>
              <a:off x="469901" y="1705453"/>
              <a:ext cx="651085" cy="653705"/>
            </a:xfrm>
            <a:custGeom>
              <a:avLst/>
              <a:gdLst>
                <a:gd name="T0" fmla="*/ 165 w 223"/>
                <a:gd name="T1" fmla="*/ 209 h 224"/>
                <a:gd name="T2" fmla="*/ 175 w 223"/>
                <a:gd name="T3" fmla="*/ 200 h 224"/>
                <a:gd name="T4" fmla="*/ 181 w 223"/>
                <a:gd name="T5" fmla="*/ 196 h 224"/>
                <a:gd name="T6" fmla="*/ 191 w 223"/>
                <a:gd name="T7" fmla="*/ 189 h 224"/>
                <a:gd name="T8" fmla="*/ 186 w 223"/>
                <a:gd name="T9" fmla="*/ 174 h 224"/>
                <a:gd name="T10" fmla="*/ 206 w 223"/>
                <a:gd name="T11" fmla="*/ 172 h 224"/>
                <a:gd name="T12" fmla="*/ 199 w 223"/>
                <a:gd name="T13" fmla="*/ 154 h 224"/>
                <a:gd name="T14" fmla="*/ 215 w 223"/>
                <a:gd name="T15" fmla="*/ 152 h 224"/>
                <a:gd name="T16" fmla="*/ 216 w 223"/>
                <a:gd name="T17" fmla="*/ 139 h 224"/>
                <a:gd name="T18" fmla="*/ 218 w 223"/>
                <a:gd name="T19" fmla="*/ 132 h 224"/>
                <a:gd name="T20" fmla="*/ 222 w 223"/>
                <a:gd name="T21" fmla="*/ 119 h 224"/>
                <a:gd name="T22" fmla="*/ 209 w 223"/>
                <a:gd name="T23" fmla="*/ 111 h 224"/>
                <a:gd name="T24" fmla="*/ 222 w 223"/>
                <a:gd name="T25" fmla="*/ 98 h 224"/>
                <a:gd name="T26" fmla="*/ 205 w 223"/>
                <a:gd name="T27" fmla="*/ 88 h 224"/>
                <a:gd name="T28" fmla="*/ 216 w 223"/>
                <a:gd name="T29" fmla="*/ 76 h 224"/>
                <a:gd name="T30" fmla="*/ 209 w 223"/>
                <a:gd name="T31" fmla="*/ 66 h 224"/>
                <a:gd name="T32" fmla="*/ 206 w 223"/>
                <a:gd name="T33" fmla="*/ 59 h 224"/>
                <a:gd name="T34" fmla="*/ 201 w 223"/>
                <a:gd name="T35" fmla="*/ 47 h 224"/>
                <a:gd name="T36" fmla="*/ 185 w 223"/>
                <a:gd name="T37" fmla="*/ 49 h 224"/>
                <a:gd name="T38" fmla="*/ 187 w 223"/>
                <a:gd name="T39" fmla="*/ 30 h 224"/>
                <a:gd name="T40" fmla="*/ 168 w 223"/>
                <a:gd name="T41" fmla="*/ 33 h 224"/>
                <a:gd name="T42" fmla="*/ 169 w 223"/>
                <a:gd name="T43" fmla="*/ 17 h 224"/>
                <a:gd name="T44" fmla="*/ 157 w 223"/>
                <a:gd name="T45" fmla="*/ 14 h 224"/>
                <a:gd name="T46" fmla="*/ 149 w 223"/>
                <a:gd name="T47" fmla="*/ 11 h 224"/>
                <a:gd name="T48" fmla="*/ 138 w 223"/>
                <a:gd name="T49" fmla="*/ 4 h 224"/>
                <a:gd name="T50" fmla="*/ 128 w 223"/>
                <a:gd name="T51" fmla="*/ 16 h 224"/>
                <a:gd name="T52" fmla="*/ 116 w 223"/>
                <a:gd name="T53" fmla="*/ 0 h 224"/>
                <a:gd name="T54" fmla="*/ 104 w 223"/>
                <a:gd name="T55" fmla="*/ 15 h 224"/>
                <a:gd name="T56" fmla="*/ 95 w 223"/>
                <a:gd name="T57" fmla="*/ 3 h 224"/>
                <a:gd name="T58" fmla="*/ 83 w 223"/>
                <a:gd name="T59" fmla="*/ 8 h 224"/>
                <a:gd name="T60" fmla="*/ 75 w 223"/>
                <a:gd name="T61" fmla="*/ 10 h 224"/>
                <a:gd name="T62" fmla="*/ 63 w 223"/>
                <a:gd name="T63" fmla="*/ 13 h 224"/>
                <a:gd name="T64" fmla="*/ 62 w 223"/>
                <a:gd name="T65" fmla="*/ 28 h 224"/>
                <a:gd name="T66" fmla="*/ 44 w 223"/>
                <a:gd name="T67" fmla="*/ 24 h 224"/>
                <a:gd name="T68" fmla="*/ 44 w 223"/>
                <a:gd name="T69" fmla="*/ 43 h 224"/>
                <a:gd name="T70" fmla="*/ 28 w 223"/>
                <a:gd name="T71" fmla="*/ 39 h 224"/>
                <a:gd name="T72" fmla="*/ 22 w 223"/>
                <a:gd name="T73" fmla="*/ 51 h 224"/>
                <a:gd name="T74" fmla="*/ 18 w 223"/>
                <a:gd name="T75" fmla="*/ 57 h 224"/>
                <a:gd name="T76" fmla="*/ 10 w 223"/>
                <a:gd name="T77" fmla="*/ 67 h 224"/>
                <a:gd name="T78" fmla="*/ 20 w 223"/>
                <a:gd name="T79" fmla="*/ 80 h 224"/>
                <a:gd name="T80" fmla="*/ 3 w 223"/>
                <a:gd name="T81" fmla="*/ 88 h 224"/>
                <a:gd name="T82" fmla="*/ 15 w 223"/>
                <a:gd name="T83" fmla="*/ 103 h 224"/>
                <a:gd name="T84" fmla="*/ 1 w 223"/>
                <a:gd name="T85" fmla="*/ 110 h 224"/>
                <a:gd name="T86" fmla="*/ 4 w 223"/>
                <a:gd name="T87" fmla="*/ 123 h 224"/>
                <a:gd name="T88" fmla="*/ 5 w 223"/>
                <a:gd name="T89" fmla="*/ 130 h 224"/>
                <a:gd name="T90" fmla="*/ 5 w 223"/>
                <a:gd name="T91" fmla="*/ 143 h 224"/>
                <a:gd name="T92" fmla="*/ 21 w 223"/>
                <a:gd name="T93" fmla="*/ 146 h 224"/>
                <a:gd name="T94" fmla="*/ 13 w 223"/>
                <a:gd name="T95" fmla="*/ 164 h 224"/>
                <a:gd name="T96" fmla="*/ 32 w 223"/>
                <a:gd name="T97" fmla="*/ 167 h 224"/>
                <a:gd name="T98" fmla="*/ 25 w 223"/>
                <a:gd name="T99" fmla="*/ 182 h 224"/>
                <a:gd name="T100" fmla="*/ 36 w 223"/>
                <a:gd name="T101" fmla="*/ 189 h 224"/>
                <a:gd name="T102" fmla="*/ 41 w 223"/>
                <a:gd name="T103" fmla="*/ 195 h 224"/>
                <a:gd name="T104" fmla="*/ 50 w 223"/>
                <a:gd name="T105" fmla="*/ 204 h 224"/>
                <a:gd name="T106" fmla="*/ 64 w 223"/>
                <a:gd name="T107" fmla="*/ 197 h 224"/>
                <a:gd name="T108" fmla="*/ 69 w 223"/>
                <a:gd name="T109" fmla="*/ 215 h 224"/>
                <a:gd name="T110" fmla="*/ 86 w 223"/>
                <a:gd name="T111" fmla="*/ 206 h 224"/>
                <a:gd name="T112" fmla="*/ 90 w 223"/>
                <a:gd name="T113" fmla="*/ 221 h 224"/>
                <a:gd name="T114" fmla="*/ 103 w 223"/>
                <a:gd name="T115" fmla="*/ 220 h 224"/>
                <a:gd name="T116" fmla="*/ 111 w 223"/>
                <a:gd name="T117" fmla="*/ 221 h 224"/>
                <a:gd name="T118" fmla="*/ 124 w 223"/>
                <a:gd name="T119" fmla="*/ 222 h 224"/>
                <a:gd name="T120" fmla="*/ 129 w 223"/>
                <a:gd name="T121" fmla="*/ 208 h 224"/>
                <a:gd name="T122" fmla="*/ 145 w 223"/>
                <a:gd name="T123" fmla="*/ 219 h 224"/>
                <a:gd name="T124" fmla="*/ 152 w 223"/>
                <a:gd name="T125" fmla="*/ 20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224">
                  <a:moveTo>
                    <a:pt x="158" y="210"/>
                  </a:moveTo>
                  <a:cubicBezTo>
                    <a:pt x="159" y="211"/>
                    <a:pt x="160" y="211"/>
                    <a:pt x="160" y="212"/>
                  </a:cubicBezTo>
                  <a:cubicBezTo>
                    <a:pt x="161" y="212"/>
                    <a:pt x="162" y="212"/>
                    <a:pt x="163" y="211"/>
                  </a:cubicBezTo>
                  <a:cubicBezTo>
                    <a:pt x="164" y="211"/>
                    <a:pt x="165" y="210"/>
                    <a:pt x="165" y="209"/>
                  </a:cubicBezTo>
                  <a:cubicBezTo>
                    <a:pt x="165" y="208"/>
                    <a:pt x="165" y="207"/>
                    <a:pt x="165" y="206"/>
                  </a:cubicBezTo>
                  <a:cubicBezTo>
                    <a:pt x="165" y="205"/>
                    <a:pt x="163" y="200"/>
                    <a:pt x="161" y="196"/>
                  </a:cubicBezTo>
                  <a:cubicBezTo>
                    <a:pt x="163" y="195"/>
                    <a:pt x="165" y="193"/>
                    <a:pt x="167" y="192"/>
                  </a:cubicBezTo>
                  <a:cubicBezTo>
                    <a:pt x="170" y="196"/>
                    <a:pt x="174" y="200"/>
                    <a:pt x="175" y="200"/>
                  </a:cubicBezTo>
                  <a:cubicBezTo>
                    <a:pt x="175" y="201"/>
                    <a:pt x="176" y="202"/>
                    <a:pt x="177" y="202"/>
                  </a:cubicBezTo>
                  <a:cubicBezTo>
                    <a:pt x="178" y="202"/>
                    <a:pt x="179" y="201"/>
                    <a:pt x="180" y="201"/>
                  </a:cubicBezTo>
                  <a:cubicBezTo>
                    <a:pt x="180" y="200"/>
                    <a:pt x="181" y="199"/>
                    <a:pt x="181" y="198"/>
                  </a:cubicBezTo>
                  <a:cubicBezTo>
                    <a:pt x="181" y="198"/>
                    <a:pt x="181" y="197"/>
                    <a:pt x="181" y="196"/>
                  </a:cubicBezTo>
                  <a:cubicBezTo>
                    <a:pt x="180" y="195"/>
                    <a:pt x="177" y="190"/>
                    <a:pt x="175" y="186"/>
                  </a:cubicBezTo>
                  <a:cubicBezTo>
                    <a:pt x="176" y="185"/>
                    <a:pt x="178" y="183"/>
                    <a:pt x="180" y="181"/>
                  </a:cubicBezTo>
                  <a:cubicBezTo>
                    <a:pt x="184" y="184"/>
                    <a:pt x="188" y="188"/>
                    <a:pt x="189" y="188"/>
                  </a:cubicBezTo>
                  <a:cubicBezTo>
                    <a:pt x="190" y="189"/>
                    <a:pt x="191" y="189"/>
                    <a:pt x="191" y="189"/>
                  </a:cubicBezTo>
                  <a:cubicBezTo>
                    <a:pt x="192" y="189"/>
                    <a:pt x="193" y="188"/>
                    <a:pt x="194" y="188"/>
                  </a:cubicBezTo>
                  <a:cubicBezTo>
                    <a:pt x="195" y="187"/>
                    <a:pt x="195" y="186"/>
                    <a:pt x="195" y="185"/>
                  </a:cubicBezTo>
                  <a:cubicBezTo>
                    <a:pt x="195" y="184"/>
                    <a:pt x="195" y="183"/>
                    <a:pt x="194" y="182"/>
                  </a:cubicBezTo>
                  <a:cubicBezTo>
                    <a:pt x="193" y="182"/>
                    <a:pt x="190" y="178"/>
                    <a:pt x="186" y="174"/>
                  </a:cubicBezTo>
                  <a:cubicBezTo>
                    <a:pt x="188" y="172"/>
                    <a:pt x="189" y="170"/>
                    <a:pt x="191" y="168"/>
                  </a:cubicBezTo>
                  <a:cubicBezTo>
                    <a:pt x="195" y="171"/>
                    <a:pt x="200" y="173"/>
                    <a:pt x="201" y="174"/>
                  </a:cubicBezTo>
                  <a:cubicBezTo>
                    <a:pt x="202" y="174"/>
                    <a:pt x="203" y="174"/>
                    <a:pt x="204" y="174"/>
                  </a:cubicBezTo>
                  <a:cubicBezTo>
                    <a:pt x="204" y="174"/>
                    <a:pt x="205" y="173"/>
                    <a:pt x="206" y="172"/>
                  </a:cubicBezTo>
                  <a:cubicBezTo>
                    <a:pt x="206" y="171"/>
                    <a:pt x="206" y="170"/>
                    <a:pt x="206" y="169"/>
                  </a:cubicBezTo>
                  <a:cubicBezTo>
                    <a:pt x="206" y="169"/>
                    <a:pt x="206" y="168"/>
                    <a:pt x="205" y="167"/>
                  </a:cubicBezTo>
                  <a:cubicBezTo>
                    <a:pt x="204" y="166"/>
                    <a:pt x="200" y="163"/>
                    <a:pt x="196" y="160"/>
                  </a:cubicBezTo>
                  <a:cubicBezTo>
                    <a:pt x="197" y="158"/>
                    <a:pt x="198" y="156"/>
                    <a:pt x="199" y="154"/>
                  </a:cubicBezTo>
                  <a:cubicBezTo>
                    <a:pt x="204" y="155"/>
                    <a:pt x="209" y="157"/>
                    <a:pt x="210" y="157"/>
                  </a:cubicBezTo>
                  <a:cubicBezTo>
                    <a:pt x="211" y="157"/>
                    <a:pt x="212" y="157"/>
                    <a:pt x="213" y="157"/>
                  </a:cubicBezTo>
                  <a:cubicBezTo>
                    <a:pt x="214" y="157"/>
                    <a:pt x="214" y="156"/>
                    <a:pt x="215" y="155"/>
                  </a:cubicBezTo>
                  <a:cubicBezTo>
                    <a:pt x="215" y="154"/>
                    <a:pt x="215" y="153"/>
                    <a:pt x="215" y="152"/>
                  </a:cubicBezTo>
                  <a:cubicBezTo>
                    <a:pt x="215" y="151"/>
                    <a:pt x="214" y="150"/>
                    <a:pt x="213" y="150"/>
                  </a:cubicBezTo>
                  <a:cubicBezTo>
                    <a:pt x="212" y="150"/>
                    <a:pt x="207" y="147"/>
                    <a:pt x="203" y="145"/>
                  </a:cubicBezTo>
                  <a:cubicBezTo>
                    <a:pt x="204" y="142"/>
                    <a:pt x="204" y="140"/>
                    <a:pt x="205" y="138"/>
                  </a:cubicBezTo>
                  <a:cubicBezTo>
                    <a:pt x="210" y="139"/>
                    <a:pt x="215" y="139"/>
                    <a:pt x="216" y="139"/>
                  </a:cubicBezTo>
                  <a:cubicBezTo>
                    <a:pt x="217" y="139"/>
                    <a:pt x="218" y="139"/>
                    <a:pt x="219" y="139"/>
                  </a:cubicBezTo>
                  <a:cubicBezTo>
                    <a:pt x="220" y="138"/>
                    <a:pt x="220" y="137"/>
                    <a:pt x="221" y="136"/>
                  </a:cubicBezTo>
                  <a:cubicBezTo>
                    <a:pt x="221" y="135"/>
                    <a:pt x="221" y="134"/>
                    <a:pt x="220" y="134"/>
                  </a:cubicBezTo>
                  <a:cubicBezTo>
                    <a:pt x="220" y="133"/>
                    <a:pt x="219" y="132"/>
                    <a:pt x="218" y="132"/>
                  </a:cubicBezTo>
                  <a:cubicBezTo>
                    <a:pt x="217" y="131"/>
                    <a:pt x="212" y="130"/>
                    <a:pt x="207" y="128"/>
                  </a:cubicBezTo>
                  <a:cubicBezTo>
                    <a:pt x="208" y="126"/>
                    <a:pt x="208" y="124"/>
                    <a:pt x="208" y="121"/>
                  </a:cubicBezTo>
                  <a:cubicBezTo>
                    <a:pt x="213" y="121"/>
                    <a:pt x="219" y="121"/>
                    <a:pt x="220" y="121"/>
                  </a:cubicBezTo>
                  <a:cubicBezTo>
                    <a:pt x="221" y="121"/>
                    <a:pt x="221" y="120"/>
                    <a:pt x="222" y="119"/>
                  </a:cubicBezTo>
                  <a:cubicBezTo>
                    <a:pt x="223" y="119"/>
                    <a:pt x="223" y="118"/>
                    <a:pt x="223" y="117"/>
                  </a:cubicBezTo>
                  <a:cubicBezTo>
                    <a:pt x="223" y="116"/>
                    <a:pt x="223" y="115"/>
                    <a:pt x="222" y="114"/>
                  </a:cubicBezTo>
                  <a:cubicBezTo>
                    <a:pt x="222" y="114"/>
                    <a:pt x="221" y="113"/>
                    <a:pt x="220" y="113"/>
                  </a:cubicBezTo>
                  <a:cubicBezTo>
                    <a:pt x="219" y="113"/>
                    <a:pt x="213" y="112"/>
                    <a:pt x="209" y="111"/>
                  </a:cubicBezTo>
                  <a:cubicBezTo>
                    <a:pt x="209" y="109"/>
                    <a:pt x="209" y="107"/>
                    <a:pt x="208" y="104"/>
                  </a:cubicBezTo>
                  <a:cubicBezTo>
                    <a:pt x="213" y="103"/>
                    <a:pt x="218" y="102"/>
                    <a:pt x="219" y="102"/>
                  </a:cubicBezTo>
                  <a:cubicBezTo>
                    <a:pt x="220" y="102"/>
                    <a:pt x="221" y="101"/>
                    <a:pt x="222" y="100"/>
                  </a:cubicBezTo>
                  <a:cubicBezTo>
                    <a:pt x="222" y="99"/>
                    <a:pt x="222" y="98"/>
                    <a:pt x="222" y="98"/>
                  </a:cubicBezTo>
                  <a:cubicBezTo>
                    <a:pt x="222" y="97"/>
                    <a:pt x="222" y="96"/>
                    <a:pt x="221" y="95"/>
                  </a:cubicBezTo>
                  <a:cubicBezTo>
                    <a:pt x="220" y="94"/>
                    <a:pt x="219" y="94"/>
                    <a:pt x="218" y="94"/>
                  </a:cubicBezTo>
                  <a:cubicBezTo>
                    <a:pt x="217" y="94"/>
                    <a:pt x="212" y="94"/>
                    <a:pt x="207" y="95"/>
                  </a:cubicBezTo>
                  <a:cubicBezTo>
                    <a:pt x="207" y="92"/>
                    <a:pt x="206" y="90"/>
                    <a:pt x="205" y="88"/>
                  </a:cubicBezTo>
                  <a:cubicBezTo>
                    <a:pt x="210" y="86"/>
                    <a:pt x="215" y="84"/>
                    <a:pt x="216" y="83"/>
                  </a:cubicBezTo>
                  <a:cubicBezTo>
                    <a:pt x="217" y="83"/>
                    <a:pt x="217" y="82"/>
                    <a:pt x="218" y="81"/>
                  </a:cubicBezTo>
                  <a:cubicBezTo>
                    <a:pt x="218" y="80"/>
                    <a:pt x="218" y="79"/>
                    <a:pt x="218" y="79"/>
                  </a:cubicBezTo>
                  <a:cubicBezTo>
                    <a:pt x="218" y="78"/>
                    <a:pt x="217" y="77"/>
                    <a:pt x="216" y="76"/>
                  </a:cubicBezTo>
                  <a:cubicBezTo>
                    <a:pt x="216" y="76"/>
                    <a:pt x="215" y="76"/>
                    <a:pt x="214" y="76"/>
                  </a:cubicBezTo>
                  <a:cubicBezTo>
                    <a:pt x="213" y="76"/>
                    <a:pt x="207" y="77"/>
                    <a:pt x="203" y="78"/>
                  </a:cubicBezTo>
                  <a:cubicBezTo>
                    <a:pt x="202" y="76"/>
                    <a:pt x="201" y="74"/>
                    <a:pt x="200" y="72"/>
                  </a:cubicBezTo>
                  <a:cubicBezTo>
                    <a:pt x="204" y="69"/>
                    <a:pt x="208" y="66"/>
                    <a:pt x="209" y="66"/>
                  </a:cubicBezTo>
                  <a:cubicBezTo>
                    <a:pt x="210" y="65"/>
                    <a:pt x="211" y="64"/>
                    <a:pt x="211" y="63"/>
                  </a:cubicBezTo>
                  <a:cubicBezTo>
                    <a:pt x="211" y="62"/>
                    <a:pt x="211" y="61"/>
                    <a:pt x="211" y="61"/>
                  </a:cubicBezTo>
                  <a:cubicBezTo>
                    <a:pt x="210" y="60"/>
                    <a:pt x="209" y="59"/>
                    <a:pt x="209" y="59"/>
                  </a:cubicBezTo>
                  <a:cubicBezTo>
                    <a:pt x="208" y="58"/>
                    <a:pt x="207" y="58"/>
                    <a:pt x="206" y="59"/>
                  </a:cubicBezTo>
                  <a:cubicBezTo>
                    <a:pt x="205" y="59"/>
                    <a:pt x="200" y="61"/>
                    <a:pt x="195" y="63"/>
                  </a:cubicBezTo>
                  <a:cubicBezTo>
                    <a:pt x="194" y="61"/>
                    <a:pt x="193" y="59"/>
                    <a:pt x="191" y="57"/>
                  </a:cubicBezTo>
                  <a:cubicBezTo>
                    <a:pt x="195" y="54"/>
                    <a:pt x="199" y="50"/>
                    <a:pt x="200" y="49"/>
                  </a:cubicBezTo>
                  <a:cubicBezTo>
                    <a:pt x="200" y="49"/>
                    <a:pt x="201" y="48"/>
                    <a:pt x="201" y="47"/>
                  </a:cubicBezTo>
                  <a:cubicBezTo>
                    <a:pt x="201" y="46"/>
                    <a:pt x="201" y="45"/>
                    <a:pt x="200" y="44"/>
                  </a:cubicBezTo>
                  <a:cubicBezTo>
                    <a:pt x="200" y="43"/>
                    <a:pt x="199" y="43"/>
                    <a:pt x="198" y="43"/>
                  </a:cubicBezTo>
                  <a:cubicBezTo>
                    <a:pt x="197" y="42"/>
                    <a:pt x="196" y="43"/>
                    <a:pt x="195" y="43"/>
                  </a:cubicBezTo>
                  <a:cubicBezTo>
                    <a:pt x="194" y="44"/>
                    <a:pt x="190" y="47"/>
                    <a:pt x="185" y="49"/>
                  </a:cubicBezTo>
                  <a:cubicBezTo>
                    <a:pt x="184" y="47"/>
                    <a:pt x="182" y="46"/>
                    <a:pt x="181" y="44"/>
                  </a:cubicBezTo>
                  <a:cubicBezTo>
                    <a:pt x="184" y="40"/>
                    <a:pt x="187" y="36"/>
                    <a:pt x="188" y="35"/>
                  </a:cubicBezTo>
                  <a:cubicBezTo>
                    <a:pt x="188" y="34"/>
                    <a:pt x="188" y="33"/>
                    <a:pt x="188" y="32"/>
                  </a:cubicBezTo>
                  <a:cubicBezTo>
                    <a:pt x="188" y="31"/>
                    <a:pt x="188" y="30"/>
                    <a:pt x="187" y="30"/>
                  </a:cubicBezTo>
                  <a:cubicBezTo>
                    <a:pt x="186" y="29"/>
                    <a:pt x="185" y="29"/>
                    <a:pt x="184" y="29"/>
                  </a:cubicBezTo>
                  <a:cubicBezTo>
                    <a:pt x="184" y="29"/>
                    <a:pt x="183" y="29"/>
                    <a:pt x="182" y="30"/>
                  </a:cubicBezTo>
                  <a:cubicBezTo>
                    <a:pt x="181" y="30"/>
                    <a:pt x="177" y="34"/>
                    <a:pt x="173" y="37"/>
                  </a:cubicBezTo>
                  <a:cubicBezTo>
                    <a:pt x="172" y="36"/>
                    <a:pt x="170" y="34"/>
                    <a:pt x="168" y="33"/>
                  </a:cubicBezTo>
                  <a:cubicBezTo>
                    <a:pt x="170" y="29"/>
                    <a:pt x="172" y="24"/>
                    <a:pt x="173" y="23"/>
                  </a:cubicBezTo>
                  <a:cubicBezTo>
                    <a:pt x="173" y="22"/>
                    <a:pt x="173" y="21"/>
                    <a:pt x="173" y="20"/>
                  </a:cubicBezTo>
                  <a:cubicBezTo>
                    <a:pt x="173" y="19"/>
                    <a:pt x="172" y="18"/>
                    <a:pt x="172" y="18"/>
                  </a:cubicBezTo>
                  <a:cubicBezTo>
                    <a:pt x="171" y="17"/>
                    <a:pt x="170" y="17"/>
                    <a:pt x="169" y="17"/>
                  </a:cubicBezTo>
                  <a:cubicBezTo>
                    <a:pt x="168" y="17"/>
                    <a:pt x="167" y="18"/>
                    <a:pt x="167" y="19"/>
                  </a:cubicBezTo>
                  <a:cubicBezTo>
                    <a:pt x="166" y="19"/>
                    <a:pt x="163" y="24"/>
                    <a:pt x="160" y="28"/>
                  </a:cubicBezTo>
                  <a:cubicBezTo>
                    <a:pt x="157" y="26"/>
                    <a:pt x="155" y="25"/>
                    <a:pt x="153" y="24"/>
                  </a:cubicBezTo>
                  <a:cubicBezTo>
                    <a:pt x="155" y="20"/>
                    <a:pt x="156" y="15"/>
                    <a:pt x="157" y="14"/>
                  </a:cubicBezTo>
                  <a:cubicBezTo>
                    <a:pt x="157" y="13"/>
                    <a:pt x="157" y="12"/>
                    <a:pt x="156" y="11"/>
                  </a:cubicBezTo>
                  <a:cubicBezTo>
                    <a:pt x="156" y="10"/>
                    <a:pt x="155" y="9"/>
                    <a:pt x="154" y="9"/>
                  </a:cubicBezTo>
                  <a:cubicBezTo>
                    <a:pt x="153" y="8"/>
                    <a:pt x="152" y="8"/>
                    <a:pt x="152" y="9"/>
                  </a:cubicBezTo>
                  <a:cubicBezTo>
                    <a:pt x="151" y="9"/>
                    <a:pt x="150" y="10"/>
                    <a:pt x="149" y="11"/>
                  </a:cubicBezTo>
                  <a:cubicBezTo>
                    <a:pt x="149" y="11"/>
                    <a:pt x="146" y="16"/>
                    <a:pt x="144" y="21"/>
                  </a:cubicBezTo>
                  <a:cubicBezTo>
                    <a:pt x="142" y="20"/>
                    <a:pt x="140" y="19"/>
                    <a:pt x="137" y="19"/>
                  </a:cubicBezTo>
                  <a:cubicBezTo>
                    <a:pt x="138" y="14"/>
                    <a:pt x="139" y="8"/>
                    <a:pt x="139" y="7"/>
                  </a:cubicBezTo>
                  <a:cubicBezTo>
                    <a:pt x="139" y="6"/>
                    <a:pt x="139" y="5"/>
                    <a:pt x="138" y="4"/>
                  </a:cubicBezTo>
                  <a:cubicBezTo>
                    <a:pt x="137" y="4"/>
                    <a:pt x="137" y="3"/>
                    <a:pt x="136" y="3"/>
                  </a:cubicBezTo>
                  <a:cubicBezTo>
                    <a:pt x="135" y="3"/>
                    <a:pt x="134" y="3"/>
                    <a:pt x="133" y="3"/>
                  </a:cubicBezTo>
                  <a:cubicBezTo>
                    <a:pt x="132" y="4"/>
                    <a:pt x="132" y="5"/>
                    <a:pt x="131" y="6"/>
                  </a:cubicBezTo>
                  <a:cubicBezTo>
                    <a:pt x="131" y="7"/>
                    <a:pt x="129" y="12"/>
                    <a:pt x="128" y="16"/>
                  </a:cubicBezTo>
                  <a:cubicBezTo>
                    <a:pt x="125" y="16"/>
                    <a:pt x="123" y="16"/>
                    <a:pt x="121" y="15"/>
                  </a:cubicBezTo>
                  <a:cubicBezTo>
                    <a:pt x="120" y="11"/>
                    <a:pt x="120" y="5"/>
                    <a:pt x="120" y="4"/>
                  </a:cubicBezTo>
                  <a:cubicBezTo>
                    <a:pt x="120" y="3"/>
                    <a:pt x="120" y="2"/>
                    <a:pt x="119" y="2"/>
                  </a:cubicBezTo>
                  <a:cubicBezTo>
                    <a:pt x="118" y="1"/>
                    <a:pt x="117" y="1"/>
                    <a:pt x="116" y="0"/>
                  </a:cubicBezTo>
                  <a:cubicBezTo>
                    <a:pt x="116" y="0"/>
                    <a:pt x="115" y="1"/>
                    <a:pt x="114" y="1"/>
                  </a:cubicBezTo>
                  <a:cubicBezTo>
                    <a:pt x="113" y="2"/>
                    <a:pt x="113" y="3"/>
                    <a:pt x="112" y="4"/>
                  </a:cubicBezTo>
                  <a:cubicBezTo>
                    <a:pt x="112" y="5"/>
                    <a:pt x="112" y="10"/>
                    <a:pt x="111" y="15"/>
                  </a:cubicBezTo>
                  <a:cubicBezTo>
                    <a:pt x="109" y="15"/>
                    <a:pt x="106" y="15"/>
                    <a:pt x="104" y="15"/>
                  </a:cubicBezTo>
                  <a:cubicBezTo>
                    <a:pt x="103" y="11"/>
                    <a:pt x="102" y="5"/>
                    <a:pt x="101" y="4"/>
                  </a:cubicBezTo>
                  <a:cubicBezTo>
                    <a:pt x="101" y="3"/>
                    <a:pt x="100" y="3"/>
                    <a:pt x="100" y="2"/>
                  </a:cubicBezTo>
                  <a:cubicBezTo>
                    <a:pt x="99" y="2"/>
                    <a:pt x="98" y="1"/>
                    <a:pt x="97" y="1"/>
                  </a:cubicBezTo>
                  <a:cubicBezTo>
                    <a:pt x="96" y="2"/>
                    <a:pt x="95" y="2"/>
                    <a:pt x="95" y="3"/>
                  </a:cubicBezTo>
                  <a:cubicBezTo>
                    <a:pt x="94" y="3"/>
                    <a:pt x="94" y="4"/>
                    <a:pt x="94" y="5"/>
                  </a:cubicBezTo>
                  <a:cubicBezTo>
                    <a:pt x="94" y="6"/>
                    <a:pt x="94" y="12"/>
                    <a:pt x="94" y="17"/>
                  </a:cubicBezTo>
                  <a:cubicBezTo>
                    <a:pt x="92" y="17"/>
                    <a:pt x="89" y="18"/>
                    <a:pt x="87" y="18"/>
                  </a:cubicBezTo>
                  <a:cubicBezTo>
                    <a:pt x="85" y="14"/>
                    <a:pt x="83" y="9"/>
                    <a:pt x="83" y="8"/>
                  </a:cubicBezTo>
                  <a:cubicBezTo>
                    <a:pt x="82" y="7"/>
                    <a:pt x="82" y="6"/>
                    <a:pt x="81" y="6"/>
                  </a:cubicBezTo>
                  <a:cubicBezTo>
                    <a:pt x="80" y="5"/>
                    <a:pt x="79" y="5"/>
                    <a:pt x="78" y="6"/>
                  </a:cubicBezTo>
                  <a:cubicBezTo>
                    <a:pt x="77" y="6"/>
                    <a:pt x="76" y="7"/>
                    <a:pt x="76" y="7"/>
                  </a:cubicBezTo>
                  <a:cubicBezTo>
                    <a:pt x="75" y="8"/>
                    <a:pt x="75" y="9"/>
                    <a:pt x="75" y="10"/>
                  </a:cubicBezTo>
                  <a:cubicBezTo>
                    <a:pt x="76" y="11"/>
                    <a:pt x="77" y="16"/>
                    <a:pt x="78" y="21"/>
                  </a:cubicBezTo>
                  <a:cubicBezTo>
                    <a:pt x="76" y="22"/>
                    <a:pt x="73" y="23"/>
                    <a:pt x="71" y="24"/>
                  </a:cubicBezTo>
                  <a:cubicBezTo>
                    <a:pt x="69" y="20"/>
                    <a:pt x="66" y="15"/>
                    <a:pt x="65" y="14"/>
                  </a:cubicBezTo>
                  <a:cubicBezTo>
                    <a:pt x="65" y="13"/>
                    <a:pt x="64" y="13"/>
                    <a:pt x="63" y="13"/>
                  </a:cubicBezTo>
                  <a:cubicBezTo>
                    <a:pt x="62" y="12"/>
                    <a:pt x="61" y="13"/>
                    <a:pt x="60" y="13"/>
                  </a:cubicBezTo>
                  <a:cubicBezTo>
                    <a:pt x="59" y="14"/>
                    <a:pt x="59" y="14"/>
                    <a:pt x="58" y="15"/>
                  </a:cubicBezTo>
                  <a:cubicBezTo>
                    <a:pt x="58" y="16"/>
                    <a:pt x="58" y="17"/>
                    <a:pt x="58" y="18"/>
                  </a:cubicBezTo>
                  <a:cubicBezTo>
                    <a:pt x="59" y="19"/>
                    <a:pt x="61" y="24"/>
                    <a:pt x="62" y="28"/>
                  </a:cubicBezTo>
                  <a:cubicBezTo>
                    <a:pt x="60" y="30"/>
                    <a:pt x="58" y="31"/>
                    <a:pt x="57" y="32"/>
                  </a:cubicBezTo>
                  <a:cubicBezTo>
                    <a:pt x="53" y="29"/>
                    <a:pt x="50" y="25"/>
                    <a:pt x="49" y="24"/>
                  </a:cubicBezTo>
                  <a:cubicBezTo>
                    <a:pt x="48" y="23"/>
                    <a:pt x="47" y="23"/>
                    <a:pt x="46" y="23"/>
                  </a:cubicBezTo>
                  <a:cubicBezTo>
                    <a:pt x="45" y="23"/>
                    <a:pt x="44" y="23"/>
                    <a:pt x="44" y="24"/>
                  </a:cubicBezTo>
                  <a:cubicBezTo>
                    <a:pt x="43" y="24"/>
                    <a:pt x="42" y="25"/>
                    <a:pt x="42" y="26"/>
                  </a:cubicBezTo>
                  <a:cubicBezTo>
                    <a:pt x="42" y="27"/>
                    <a:pt x="42" y="28"/>
                    <a:pt x="43" y="29"/>
                  </a:cubicBezTo>
                  <a:cubicBezTo>
                    <a:pt x="43" y="30"/>
                    <a:pt x="46" y="34"/>
                    <a:pt x="49" y="38"/>
                  </a:cubicBezTo>
                  <a:cubicBezTo>
                    <a:pt x="47" y="40"/>
                    <a:pt x="45" y="41"/>
                    <a:pt x="44" y="43"/>
                  </a:cubicBezTo>
                  <a:cubicBezTo>
                    <a:pt x="40" y="40"/>
                    <a:pt x="35" y="37"/>
                    <a:pt x="34" y="36"/>
                  </a:cubicBezTo>
                  <a:cubicBezTo>
                    <a:pt x="34" y="36"/>
                    <a:pt x="33" y="35"/>
                    <a:pt x="32" y="35"/>
                  </a:cubicBezTo>
                  <a:cubicBezTo>
                    <a:pt x="31" y="36"/>
                    <a:pt x="30" y="36"/>
                    <a:pt x="29" y="37"/>
                  </a:cubicBezTo>
                  <a:cubicBezTo>
                    <a:pt x="29" y="37"/>
                    <a:pt x="28" y="38"/>
                    <a:pt x="28" y="39"/>
                  </a:cubicBezTo>
                  <a:cubicBezTo>
                    <a:pt x="28" y="40"/>
                    <a:pt x="29" y="41"/>
                    <a:pt x="29" y="42"/>
                  </a:cubicBezTo>
                  <a:cubicBezTo>
                    <a:pt x="30" y="43"/>
                    <a:pt x="34" y="47"/>
                    <a:pt x="37" y="50"/>
                  </a:cubicBezTo>
                  <a:cubicBezTo>
                    <a:pt x="35" y="52"/>
                    <a:pt x="34" y="54"/>
                    <a:pt x="33" y="56"/>
                  </a:cubicBezTo>
                  <a:cubicBezTo>
                    <a:pt x="28" y="54"/>
                    <a:pt x="23" y="51"/>
                    <a:pt x="22" y="51"/>
                  </a:cubicBezTo>
                  <a:cubicBezTo>
                    <a:pt x="22" y="50"/>
                    <a:pt x="21" y="50"/>
                    <a:pt x="20" y="51"/>
                  </a:cubicBezTo>
                  <a:cubicBezTo>
                    <a:pt x="19" y="51"/>
                    <a:pt x="18" y="51"/>
                    <a:pt x="18" y="52"/>
                  </a:cubicBezTo>
                  <a:cubicBezTo>
                    <a:pt x="17" y="53"/>
                    <a:pt x="17" y="54"/>
                    <a:pt x="17" y="55"/>
                  </a:cubicBezTo>
                  <a:cubicBezTo>
                    <a:pt x="17" y="56"/>
                    <a:pt x="18" y="57"/>
                    <a:pt x="18" y="57"/>
                  </a:cubicBezTo>
                  <a:cubicBezTo>
                    <a:pt x="19" y="58"/>
                    <a:pt x="23" y="61"/>
                    <a:pt x="27" y="64"/>
                  </a:cubicBezTo>
                  <a:cubicBezTo>
                    <a:pt x="26" y="66"/>
                    <a:pt x="25" y="68"/>
                    <a:pt x="24" y="70"/>
                  </a:cubicBezTo>
                  <a:cubicBezTo>
                    <a:pt x="19" y="69"/>
                    <a:pt x="14" y="67"/>
                    <a:pt x="13" y="67"/>
                  </a:cubicBezTo>
                  <a:cubicBezTo>
                    <a:pt x="12" y="67"/>
                    <a:pt x="11" y="67"/>
                    <a:pt x="10" y="67"/>
                  </a:cubicBezTo>
                  <a:cubicBezTo>
                    <a:pt x="10" y="68"/>
                    <a:pt x="9" y="69"/>
                    <a:pt x="9" y="69"/>
                  </a:cubicBezTo>
                  <a:cubicBezTo>
                    <a:pt x="8" y="70"/>
                    <a:pt x="8" y="71"/>
                    <a:pt x="8" y="72"/>
                  </a:cubicBezTo>
                  <a:cubicBezTo>
                    <a:pt x="9" y="73"/>
                    <a:pt x="9" y="74"/>
                    <a:pt x="10" y="74"/>
                  </a:cubicBezTo>
                  <a:cubicBezTo>
                    <a:pt x="11" y="75"/>
                    <a:pt x="16" y="77"/>
                    <a:pt x="20" y="80"/>
                  </a:cubicBezTo>
                  <a:cubicBezTo>
                    <a:pt x="20" y="82"/>
                    <a:pt x="19" y="84"/>
                    <a:pt x="18" y="86"/>
                  </a:cubicBezTo>
                  <a:cubicBezTo>
                    <a:pt x="13" y="86"/>
                    <a:pt x="8" y="85"/>
                    <a:pt x="7" y="85"/>
                  </a:cubicBezTo>
                  <a:cubicBezTo>
                    <a:pt x="6" y="85"/>
                    <a:pt x="5" y="85"/>
                    <a:pt x="4" y="86"/>
                  </a:cubicBezTo>
                  <a:cubicBezTo>
                    <a:pt x="4" y="86"/>
                    <a:pt x="3" y="87"/>
                    <a:pt x="3" y="88"/>
                  </a:cubicBezTo>
                  <a:cubicBezTo>
                    <a:pt x="2" y="89"/>
                    <a:pt x="3" y="90"/>
                    <a:pt x="3" y="91"/>
                  </a:cubicBezTo>
                  <a:cubicBezTo>
                    <a:pt x="4" y="92"/>
                    <a:pt x="4" y="92"/>
                    <a:pt x="5" y="93"/>
                  </a:cubicBezTo>
                  <a:cubicBezTo>
                    <a:pt x="6" y="93"/>
                    <a:pt x="11" y="95"/>
                    <a:pt x="16" y="96"/>
                  </a:cubicBezTo>
                  <a:cubicBezTo>
                    <a:pt x="16" y="98"/>
                    <a:pt x="15" y="101"/>
                    <a:pt x="15" y="103"/>
                  </a:cubicBezTo>
                  <a:cubicBezTo>
                    <a:pt x="10" y="103"/>
                    <a:pt x="5" y="104"/>
                    <a:pt x="4" y="104"/>
                  </a:cubicBezTo>
                  <a:cubicBezTo>
                    <a:pt x="3" y="104"/>
                    <a:pt x="2" y="104"/>
                    <a:pt x="1" y="105"/>
                  </a:cubicBezTo>
                  <a:cubicBezTo>
                    <a:pt x="1" y="105"/>
                    <a:pt x="0" y="106"/>
                    <a:pt x="0" y="107"/>
                  </a:cubicBezTo>
                  <a:cubicBezTo>
                    <a:pt x="0" y="108"/>
                    <a:pt x="1" y="109"/>
                    <a:pt x="1" y="110"/>
                  </a:cubicBezTo>
                  <a:cubicBezTo>
                    <a:pt x="2" y="111"/>
                    <a:pt x="2" y="111"/>
                    <a:pt x="3" y="111"/>
                  </a:cubicBezTo>
                  <a:cubicBezTo>
                    <a:pt x="4" y="111"/>
                    <a:pt x="10" y="112"/>
                    <a:pt x="15" y="113"/>
                  </a:cubicBezTo>
                  <a:cubicBezTo>
                    <a:pt x="15" y="115"/>
                    <a:pt x="15" y="118"/>
                    <a:pt x="15" y="120"/>
                  </a:cubicBezTo>
                  <a:cubicBezTo>
                    <a:pt x="10" y="121"/>
                    <a:pt x="5" y="122"/>
                    <a:pt x="4" y="123"/>
                  </a:cubicBezTo>
                  <a:cubicBezTo>
                    <a:pt x="3" y="123"/>
                    <a:pt x="2" y="123"/>
                    <a:pt x="2" y="124"/>
                  </a:cubicBezTo>
                  <a:cubicBezTo>
                    <a:pt x="1" y="125"/>
                    <a:pt x="1" y="126"/>
                    <a:pt x="1" y="127"/>
                  </a:cubicBezTo>
                  <a:cubicBezTo>
                    <a:pt x="1" y="128"/>
                    <a:pt x="2" y="129"/>
                    <a:pt x="2" y="129"/>
                  </a:cubicBezTo>
                  <a:cubicBezTo>
                    <a:pt x="3" y="130"/>
                    <a:pt x="4" y="130"/>
                    <a:pt x="5" y="130"/>
                  </a:cubicBezTo>
                  <a:cubicBezTo>
                    <a:pt x="6" y="130"/>
                    <a:pt x="11" y="130"/>
                    <a:pt x="16" y="130"/>
                  </a:cubicBezTo>
                  <a:cubicBezTo>
                    <a:pt x="17" y="132"/>
                    <a:pt x="17" y="134"/>
                    <a:pt x="18" y="137"/>
                  </a:cubicBezTo>
                  <a:cubicBezTo>
                    <a:pt x="13" y="139"/>
                    <a:pt x="8" y="141"/>
                    <a:pt x="7" y="141"/>
                  </a:cubicBezTo>
                  <a:cubicBezTo>
                    <a:pt x="6" y="141"/>
                    <a:pt x="6" y="142"/>
                    <a:pt x="5" y="143"/>
                  </a:cubicBezTo>
                  <a:cubicBezTo>
                    <a:pt x="5" y="144"/>
                    <a:pt x="5" y="145"/>
                    <a:pt x="5" y="146"/>
                  </a:cubicBezTo>
                  <a:cubicBezTo>
                    <a:pt x="6" y="147"/>
                    <a:pt x="6" y="148"/>
                    <a:pt x="7" y="148"/>
                  </a:cubicBezTo>
                  <a:cubicBezTo>
                    <a:pt x="8" y="148"/>
                    <a:pt x="9" y="149"/>
                    <a:pt x="10" y="149"/>
                  </a:cubicBezTo>
                  <a:cubicBezTo>
                    <a:pt x="11" y="148"/>
                    <a:pt x="16" y="147"/>
                    <a:pt x="21" y="146"/>
                  </a:cubicBezTo>
                  <a:cubicBezTo>
                    <a:pt x="22" y="148"/>
                    <a:pt x="22" y="150"/>
                    <a:pt x="24" y="153"/>
                  </a:cubicBezTo>
                  <a:cubicBezTo>
                    <a:pt x="19" y="155"/>
                    <a:pt x="15" y="158"/>
                    <a:pt x="14" y="159"/>
                  </a:cubicBezTo>
                  <a:cubicBezTo>
                    <a:pt x="13" y="159"/>
                    <a:pt x="13" y="160"/>
                    <a:pt x="12" y="161"/>
                  </a:cubicBezTo>
                  <a:cubicBezTo>
                    <a:pt x="12" y="162"/>
                    <a:pt x="12" y="163"/>
                    <a:pt x="13" y="164"/>
                  </a:cubicBezTo>
                  <a:cubicBezTo>
                    <a:pt x="13" y="165"/>
                    <a:pt x="14" y="165"/>
                    <a:pt x="15" y="166"/>
                  </a:cubicBezTo>
                  <a:cubicBezTo>
                    <a:pt x="16" y="166"/>
                    <a:pt x="17" y="166"/>
                    <a:pt x="17" y="166"/>
                  </a:cubicBezTo>
                  <a:cubicBezTo>
                    <a:pt x="18" y="165"/>
                    <a:pt x="24" y="163"/>
                    <a:pt x="28" y="161"/>
                  </a:cubicBezTo>
                  <a:cubicBezTo>
                    <a:pt x="29" y="163"/>
                    <a:pt x="30" y="165"/>
                    <a:pt x="32" y="167"/>
                  </a:cubicBezTo>
                  <a:cubicBezTo>
                    <a:pt x="28" y="171"/>
                    <a:pt x="24" y="174"/>
                    <a:pt x="24" y="175"/>
                  </a:cubicBezTo>
                  <a:cubicBezTo>
                    <a:pt x="23" y="176"/>
                    <a:pt x="22" y="177"/>
                    <a:pt x="22" y="178"/>
                  </a:cubicBezTo>
                  <a:cubicBezTo>
                    <a:pt x="22" y="178"/>
                    <a:pt x="23" y="179"/>
                    <a:pt x="23" y="180"/>
                  </a:cubicBezTo>
                  <a:cubicBezTo>
                    <a:pt x="24" y="181"/>
                    <a:pt x="25" y="181"/>
                    <a:pt x="25" y="182"/>
                  </a:cubicBezTo>
                  <a:cubicBezTo>
                    <a:pt x="26" y="182"/>
                    <a:pt x="27" y="182"/>
                    <a:pt x="28" y="181"/>
                  </a:cubicBezTo>
                  <a:cubicBezTo>
                    <a:pt x="29" y="181"/>
                    <a:pt x="34" y="178"/>
                    <a:pt x="38" y="175"/>
                  </a:cubicBezTo>
                  <a:cubicBezTo>
                    <a:pt x="39" y="177"/>
                    <a:pt x="41" y="179"/>
                    <a:pt x="43" y="180"/>
                  </a:cubicBezTo>
                  <a:cubicBezTo>
                    <a:pt x="40" y="184"/>
                    <a:pt x="36" y="189"/>
                    <a:pt x="36" y="189"/>
                  </a:cubicBezTo>
                  <a:cubicBezTo>
                    <a:pt x="35" y="190"/>
                    <a:pt x="35" y="191"/>
                    <a:pt x="35" y="192"/>
                  </a:cubicBezTo>
                  <a:cubicBezTo>
                    <a:pt x="35" y="193"/>
                    <a:pt x="36" y="194"/>
                    <a:pt x="36" y="195"/>
                  </a:cubicBezTo>
                  <a:cubicBezTo>
                    <a:pt x="37" y="195"/>
                    <a:pt x="38" y="196"/>
                    <a:pt x="39" y="196"/>
                  </a:cubicBezTo>
                  <a:cubicBezTo>
                    <a:pt x="40" y="196"/>
                    <a:pt x="41" y="195"/>
                    <a:pt x="41" y="195"/>
                  </a:cubicBezTo>
                  <a:cubicBezTo>
                    <a:pt x="42" y="194"/>
                    <a:pt x="46" y="190"/>
                    <a:pt x="50" y="187"/>
                  </a:cubicBezTo>
                  <a:cubicBezTo>
                    <a:pt x="52" y="189"/>
                    <a:pt x="54" y="190"/>
                    <a:pt x="56" y="191"/>
                  </a:cubicBezTo>
                  <a:cubicBezTo>
                    <a:pt x="53" y="196"/>
                    <a:pt x="51" y="201"/>
                    <a:pt x="50" y="202"/>
                  </a:cubicBezTo>
                  <a:cubicBezTo>
                    <a:pt x="50" y="202"/>
                    <a:pt x="50" y="203"/>
                    <a:pt x="50" y="204"/>
                  </a:cubicBezTo>
                  <a:cubicBezTo>
                    <a:pt x="50" y="205"/>
                    <a:pt x="51" y="206"/>
                    <a:pt x="52" y="206"/>
                  </a:cubicBezTo>
                  <a:cubicBezTo>
                    <a:pt x="53" y="207"/>
                    <a:pt x="53" y="207"/>
                    <a:pt x="54" y="207"/>
                  </a:cubicBezTo>
                  <a:cubicBezTo>
                    <a:pt x="55" y="207"/>
                    <a:pt x="56" y="206"/>
                    <a:pt x="57" y="206"/>
                  </a:cubicBezTo>
                  <a:cubicBezTo>
                    <a:pt x="57" y="205"/>
                    <a:pt x="61" y="201"/>
                    <a:pt x="64" y="197"/>
                  </a:cubicBezTo>
                  <a:cubicBezTo>
                    <a:pt x="66" y="198"/>
                    <a:pt x="68" y="199"/>
                    <a:pt x="70" y="200"/>
                  </a:cubicBezTo>
                  <a:cubicBezTo>
                    <a:pt x="69" y="205"/>
                    <a:pt x="67" y="210"/>
                    <a:pt x="67" y="211"/>
                  </a:cubicBezTo>
                  <a:cubicBezTo>
                    <a:pt x="66" y="212"/>
                    <a:pt x="67" y="213"/>
                    <a:pt x="67" y="214"/>
                  </a:cubicBezTo>
                  <a:cubicBezTo>
                    <a:pt x="67" y="214"/>
                    <a:pt x="68" y="215"/>
                    <a:pt x="69" y="215"/>
                  </a:cubicBezTo>
                  <a:cubicBezTo>
                    <a:pt x="70" y="216"/>
                    <a:pt x="71" y="216"/>
                    <a:pt x="72" y="216"/>
                  </a:cubicBezTo>
                  <a:cubicBezTo>
                    <a:pt x="73" y="215"/>
                    <a:pt x="73" y="215"/>
                    <a:pt x="74" y="214"/>
                  </a:cubicBezTo>
                  <a:cubicBezTo>
                    <a:pt x="74" y="213"/>
                    <a:pt x="77" y="208"/>
                    <a:pt x="79" y="204"/>
                  </a:cubicBezTo>
                  <a:cubicBezTo>
                    <a:pt x="81" y="205"/>
                    <a:pt x="84" y="205"/>
                    <a:pt x="86" y="206"/>
                  </a:cubicBezTo>
                  <a:cubicBezTo>
                    <a:pt x="85" y="211"/>
                    <a:pt x="85" y="216"/>
                    <a:pt x="85" y="217"/>
                  </a:cubicBezTo>
                  <a:cubicBezTo>
                    <a:pt x="84" y="218"/>
                    <a:pt x="85" y="219"/>
                    <a:pt x="85" y="220"/>
                  </a:cubicBezTo>
                  <a:cubicBezTo>
                    <a:pt x="86" y="221"/>
                    <a:pt x="87" y="221"/>
                    <a:pt x="88" y="221"/>
                  </a:cubicBezTo>
                  <a:cubicBezTo>
                    <a:pt x="88" y="221"/>
                    <a:pt x="89" y="221"/>
                    <a:pt x="90" y="221"/>
                  </a:cubicBezTo>
                  <a:cubicBezTo>
                    <a:pt x="91" y="220"/>
                    <a:pt x="92" y="220"/>
                    <a:pt x="92" y="219"/>
                  </a:cubicBezTo>
                  <a:cubicBezTo>
                    <a:pt x="92" y="218"/>
                    <a:pt x="94" y="213"/>
                    <a:pt x="96" y="208"/>
                  </a:cubicBezTo>
                  <a:cubicBezTo>
                    <a:pt x="98" y="208"/>
                    <a:pt x="100" y="209"/>
                    <a:pt x="102" y="209"/>
                  </a:cubicBezTo>
                  <a:cubicBezTo>
                    <a:pt x="103" y="214"/>
                    <a:pt x="103" y="219"/>
                    <a:pt x="103" y="220"/>
                  </a:cubicBezTo>
                  <a:cubicBezTo>
                    <a:pt x="103" y="221"/>
                    <a:pt x="104" y="222"/>
                    <a:pt x="104" y="223"/>
                  </a:cubicBezTo>
                  <a:cubicBezTo>
                    <a:pt x="105" y="223"/>
                    <a:pt x="106" y="224"/>
                    <a:pt x="107" y="224"/>
                  </a:cubicBezTo>
                  <a:cubicBezTo>
                    <a:pt x="108" y="224"/>
                    <a:pt x="109" y="224"/>
                    <a:pt x="109" y="223"/>
                  </a:cubicBezTo>
                  <a:cubicBezTo>
                    <a:pt x="110" y="222"/>
                    <a:pt x="111" y="222"/>
                    <a:pt x="111" y="221"/>
                  </a:cubicBezTo>
                  <a:cubicBezTo>
                    <a:pt x="111" y="220"/>
                    <a:pt x="112" y="214"/>
                    <a:pt x="112" y="209"/>
                  </a:cubicBezTo>
                  <a:cubicBezTo>
                    <a:pt x="115" y="209"/>
                    <a:pt x="117" y="209"/>
                    <a:pt x="119" y="209"/>
                  </a:cubicBezTo>
                  <a:cubicBezTo>
                    <a:pt x="121" y="214"/>
                    <a:pt x="122" y="219"/>
                    <a:pt x="122" y="220"/>
                  </a:cubicBezTo>
                  <a:cubicBezTo>
                    <a:pt x="122" y="221"/>
                    <a:pt x="123" y="222"/>
                    <a:pt x="124" y="222"/>
                  </a:cubicBezTo>
                  <a:cubicBezTo>
                    <a:pt x="124" y="223"/>
                    <a:pt x="125" y="223"/>
                    <a:pt x="126" y="223"/>
                  </a:cubicBezTo>
                  <a:cubicBezTo>
                    <a:pt x="127" y="223"/>
                    <a:pt x="128" y="222"/>
                    <a:pt x="129" y="222"/>
                  </a:cubicBezTo>
                  <a:cubicBezTo>
                    <a:pt x="129" y="221"/>
                    <a:pt x="130" y="220"/>
                    <a:pt x="130" y="219"/>
                  </a:cubicBezTo>
                  <a:cubicBezTo>
                    <a:pt x="130" y="218"/>
                    <a:pt x="129" y="213"/>
                    <a:pt x="129" y="208"/>
                  </a:cubicBezTo>
                  <a:cubicBezTo>
                    <a:pt x="132" y="207"/>
                    <a:pt x="134" y="207"/>
                    <a:pt x="136" y="206"/>
                  </a:cubicBezTo>
                  <a:cubicBezTo>
                    <a:pt x="138" y="211"/>
                    <a:pt x="140" y="216"/>
                    <a:pt x="141" y="217"/>
                  </a:cubicBezTo>
                  <a:cubicBezTo>
                    <a:pt x="141" y="218"/>
                    <a:pt x="142" y="218"/>
                    <a:pt x="143" y="219"/>
                  </a:cubicBezTo>
                  <a:cubicBezTo>
                    <a:pt x="143" y="219"/>
                    <a:pt x="144" y="219"/>
                    <a:pt x="145" y="219"/>
                  </a:cubicBezTo>
                  <a:cubicBezTo>
                    <a:pt x="146" y="218"/>
                    <a:pt x="147" y="218"/>
                    <a:pt x="147" y="217"/>
                  </a:cubicBezTo>
                  <a:cubicBezTo>
                    <a:pt x="148" y="216"/>
                    <a:pt x="148" y="215"/>
                    <a:pt x="148" y="214"/>
                  </a:cubicBezTo>
                  <a:cubicBezTo>
                    <a:pt x="148" y="213"/>
                    <a:pt x="147" y="208"/>
                    <a:pt x="145" y="203"/>
                  </a:cubicBezTo>
                  <a:cubicBezTo>
                    <a:pt x="148" y="202"/>
                    <a:pt x="150" y="201"/>
                    <a:pt x="152" y="201"/>
                  </a:cubicBezTo>
                  <a:cubicBezTo>
                    <a:pt x="155" y="205"/>
                    <a:pt x="158" y="209"/>
                    <a:pt x="158" y="210"/>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8" name="Freeform 893">
              <a:extLst>
                <a:ext uri="{FF2B5EF4-FFF2-40B4-BE49-F238E27FC236}">
                  <a16:creationId xmlns:a16="http://schemas.microsoft.com/office/drawing/2014/main" id="{EF571608-DF77-4795-8EFD-DA1B72EF0F73}"/>
                </a:ext>
              </a:extLst>
            </p:cNvPr>
            <p:cNvSpPr>
              <a:spLocks noEditPoints="1"/>
            </p:cNvSpPr>
            <p:nvPr/>
          </p:nvSpPr>
          <p:spPr bwMode="auto">
            <a:xfrm>
              <a:off x="625435" y="1851025"/>
              <a:ext cx="343842" cy="34384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09" name="Group 208">
            <a:extLst>
              <a:ext uri="{FF2B5EF4-FFF2-40B4-BE49-F238E27FC236}">
                <a16:creationId xmlns:a16="http://schemas.microsoft.com/office/drawing/2014/main" id="{330BEA6E-B4A1-446B-B788-23CE9429E53F}"/>
              </a:ext>
            </a:extLst>
          </p:cNvPr>
          <p:cNvGrpSpPr/>
          <p:nvPr/>
        </p:nvGrpSpPr>
        <p:grpSpPr>
          <a:xfrm>
            <a:off x="515752" y="3648228"/>
            <a:ext cx="1350641" cy="1350641"/>
            <a:chOff x="515752" y="3648228"/>
            <a:chExt cx="1350641" cy="1350641"/>
          </a:xfrm>
        </p:grpSpPr>
        <p:sp>
          <p:nvSpPr>
            <p:cNvPr id="210" name="Freeform 10">
              <a:extLst>
                <a:ext uri="{FF2B5EF4-FFF2-40B4-BE49-F238E27FC236}">
                  <a16:creationId xmlns:a16="http://schemas.microsoft.com/office/drawing/2014/main" id="{AA694FD8-553F-48FB-9570-ABDDB1D991CC}"/>
                </a:ext>
              </a:extLst>
            </p:cNvPr>
            <p:cNvSpPr>
              <a:spLocks noEditPoints="1"/>
            </p:cNvSpPr>
            <p:nvPr/>
          </p:nvSpPr>
          <p:spPr bwMode="auto">
            <a:xfrm>
              <a:off x="515752" y="3648228"/>
              <a:ext cx="1350641" cy="1350641"/>
            </a:xfrm>
            <a:custGeom>
              <a:avLst/>
              <a:gdLst>
                <a:gd name="T0" fmla="*/ 469 w 489"/>
                <a:gd name="T1" fmla="*/ 228 h 490"/>
                <a:gd name="T2" fmla="*/ 466 w 489"/>
                <a:gd name="T3" fmla="*/ 204 h 490"/>
                <a:gd name="T4" fmla="*/ 461 w 489"/>
                <a:gd name="T5" fmla="*/ 181 h 490"/>
                <a:gd name="T6" fmla="*/ 453 w 489"/>
                <a:gd name="T7" fmla="*/ 159 h 490"/>
                <a:gd name="T8" fmla="*/ 443 w 489"/>
                <a:gd name="T9" fmla="*/ 138 h 490"/>
                <a:gd name="T10" fmla="*/ 431 w 489"/>
                <a:gd name="T11" fmla="*/ 118 h 490"/>
                <a:gd name="T12" fmla="*/ 416 w 489"/>
                <a:gd name="T13" fmla="*/ 99 h 490"/>
                <a:gd name="T14" fmla="*/ 400 w 489"/>
                <a:gd name="T15" fmla="*/ 82 h 490"/>
                <a:gd name="T16" fmla="*/ 382 w 489"/>
                <a:gd name="T17" fmla="*/ 66 h 490"/>
                <a:gd name="T18" fmla="*/ 363 w 489"/>
                <a:gd name="T19" fmla="*/ 53 h 490"/>
                <a:gd name="T20" fmla="*/ 342 w 489"/>
                <a:gd name="T21" fmla="*/ 42 h 490"/>
                <a:gd name="T22" fmla="*/ 321 w 489"/>
                <a:gd name="T23" fmla="*/ 32 h 490"/>
                <a:gd name="T24" fmla="*/ 298 w 489"/>
                <a:gd name="T25" fmla="*/ 26 h 490"/>
                <a:gd name="T26" fmla="*/ 275 w 489"/>
                <a:gd name="T27" fmla="*/ 21 h 490"/>
                <a:gd name="T28" fmla="*/ 251 w 489"/>
                <a:gd name="T29" fmla="*/ 19 h 490"/>
                <a:gd name="T30" fmla="*/ 228 w 489"/>
                <a:gd name="T31" fmla="*/ 20 h 490"/>
                <a:gd name="T32" fmla="*/ 204 w 489"/>
                <a:gd name="T33" fmla="*/ 23 h 490"/>
                <a:gd name="T34" fmla="*/ 182 w 489"/>
                <a:gd name="T35" fmla="*/ 28 h 490"/>
                <a:gd name="T36" fmla="*/ 159 w 489"/>
                <a:gd name="T37" fmla="*/ 36 h 490"/>
                <a:gd name="T38" fmla="*/ 138 w 489"/>
                <a:gd name="T39" fmla="*/ 46 h 490"/>
                <a:gd name="T40" fmla="*/ 118 w 489"/>
                <a:gd name="T41" fmla="*/ 58 h 490"/>
                <a:gd name="T42" fmla="*/ 99 w 489"/>
                <a:gd name="T43" fmla="*/ 73 h 490"/>
                <a:gd name="T44" fmla="*/ 82 w 489"/>
                <a:gd name="T45" fmla="*/ 89 h 490"/>
                <a:gd name="T46" fmla="*/ 67 w 489"/>
                <a:gd name="T47" fmla="*/ 107 h 490"/>
                <a:gd name="T48" fmla="*/ 53 w 489"/>
                <a:gd name="T49" fmla="*/ 126 h 490"/>
                <a:gd name="T50" fmla="*/ 42 w 489"/>
                <a:gd name="T51" fmla="*/ 147 h 490"/>
                <a:gd name="T52" fmla="*/ 33 w 489"/>
                <a:gd name="T53" fmla="*/ 169 h 490"/>
                <a:gd name="T54" fmla="*/ 26 w 489"/>
                <a:gd name="T55" fmla="*/ 191 h 490"/>
                <a:gd name="T56" fmla="*/ 21 w 489"/>
                <a:gd name="T57" fmla="*/ 214 h 490"/>
                <a:gd name="T58" fmla="*/ 20 w 489"/>
                <a:gd name="T59" fmla="*/ 238 h 490"/>
                <a:gd name="T60" fmla="*/ 20 w 489"/>
                <a:gd name="T61" fmla="*/ 262 h 490"/>
                <a:gd name="T62" fmla="*/ 23 w 489"/>
                <a:gd name="T63" fmla="*/ 285 h 490"/>
                <a:gd name="T64" fmla="*/ 28 w 489"/>
                <a:gd name="T65" fmla="*/ 308 h 490"/>
                <a:gd name="T66" fmla="*/ 36 w 489"/>
                <a:gd name="T67" fmla="*/ 330 h 490"/>
                <a:gd name="T68" fmla="*/ 46 w 489"/>
                <a:gd name="T69" fmla="*/ 352 h 490"/>
                <a:gd name="T70" fmla="*/ 59 w 489"/>
                <a:gd name="T71" fmla="*/ 372 h 490"/>
                <a:gd name="T72" fmla="*/ 73 w 489"/>
                <a:gd name="T73" fmla="*/ 391 h 490"/>
                <a:gd name="T74" fmla="*/ 89 w 489"/>
                <a:gd name="T75" fmla="*/ 408 h 490"/>
                <a:gd name="T76" fmla="*/ 107 w 489"/>
                <a:gd name="T77" fmla="*/ 423 h 490"/>
                <a:gd name="T78" fmla="*/ 126 w 489"/>
                <a:gd name="T79" fmla="*/ 437 h 490"/>
                <a:gd name="T80" fmla="*/ 147 w 489"/>
                <a:gd name="T81" fmla="*/ 448 h 490"/>
                <a:gd name="T82" fmla="*/ 169 w 489"/>
                <a:gd name="T83" fmla="*/ 457 h 490"/>
                <a:gd name="T84" fmla="*/ 191 w 489"/>
                <a:gd name="T85" fmla="*/ 464 h 490"/>
                <a:gd name="T86" fmla="*/ 214 w 489"/>
                <a:gd name="T87" fmla="*/ 468 h 490"/>
                <a:gd name="T88" fmla="*/ 238 w 489"/>
                <a:gd name="T89" fmla="*/ 470 h 490"/>
                <a:gd name="T90" fmla="*/ 262 w 489"/>
                <a:gd name="T91" fmla="*/ 470 h 490"/>
                <a:gd name="T92" fmla="*/ 285 w 489"/>
                <a:gd name="T93" fmla="*/ 467 h 490"/>
                <a:gd name="T94" fmla="*/ 308 w 489"/>
                <a:gd name="T95" fmla="*/ 461 h 490"/>
                <a:gd name="T96" fmla="*/ 330 w 489"/>
                <a:gd name="T97" fmla="*/ 454 h 490"/>
                <a:gd name="T98" fmla="*/ 351 w 489"/>
                <a:gd name="T99" fmla="*/ 443 h 490"/>
                <a:gd name="T100" fmla="*/ 371 w 489"/>
                <a:gd name="T101" fmla="*/ 431 h 490"/>
                <a:gd name="T102" fmla="*/ 390 w 489"/>
                <a:gd name="T103" fmla="*/ 417 h 490"/>
                <a:gd name="T104" fmla="*/ 407 w 489"/>
                <a:gd name="T105" fmla="*/ 401 h 490"/>
                <a:gd name="T106" fmla="*/ 423 w 489"/>
                <a:gd name="T107" fmla="*/ 383 h 490"/>
                <a:gd name="T108" fmla="*/ 436 w 489"/>
                <a:gd name="T109" fmla="*/ 363 h 490"/>
                <a:gd name="T110" fmla="*/ 448 w 489"/>
                <a:gd name="T111" fmla="*/ 343 h 490"/>
                <a:gd name="T112" fmla="*/ 457 w 489"/>
                <a:gd name="T113" fmla="*/ 321 h 490"/>
                <a:gd name="T114" fmla="*/ 463 w 489"/>
                <a:gd name="T115" fmla="*/ 298 h 490"/>
                <a:gd name="T116" fmla="*/ 468 w 489"/>
                <a:gd name="T117" fmla="*/ 275 h 490"/>
                <a:gd name="T118" fmla="*/ 470 w 489"/>
                <a:gd name="T119" fmla="*/ 25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9" h="490">
                  <a:moveTo>
                    <a:pt x="485" y="250"/>
                  </a:moveTo>
                  <a:cubicBezTo>
                    <a:pt x="486" y="250"/>
                    <a:pt x="487" y="249"/>
                    <a:pt x="488" y="248"/>
                  </a:cubicBezTo>
                  <a:cubicBezTo>
                    <a:pt x="489" y="247"/>
                    <a:pt x="489" y="246"/>
                    <a:pt x="489" y="245"/>
                  </a:cubicBezTo>
                  <a:cubicBezTo>
                    <a:pt x="489" y="243"/>
                    <a:pt x="489" y="242"/>
                    <a:pt x="488" y="241"/>
                  </a:cubicBezTo>
                  <a:cubicBezTo>
                    <a:pt x="487" y="240"/>
                    <a:pt x="486" y="240"/>
                    <a:pt x="485" y="239"/>
                  </a:cubicBezTo>
                  <a:cubicBezTo>
                    <a:pt x="483" y="239"/>
                    <a:pt x="476" y="239"/>
                    <a:pt x="470" y="238"/>
                  </a:cubicBezTo>
                  <a:cubicBezTo>
                    <a:pt x="470" y="235"/>
                    <a:pt x="469" y="231"/>
                    <a:pt x="469" y="228"/>
                  </a:cubicBezTo>
                  <a:cubicBezTo>
                    <a:pt x="476" y="227"/>
                    <a:pt x="483" y="225"/>
                    <a:pt x="484" y="225"/>
                  </a:cubicBezTo>
                  <a:cubicBezTo>
                    <a:pt x="485" y="225"/>
                    <a:pt x="486" y="224"/>
                    <a:pt x="487" y="223"/>
                  </a:cubicBezTo>
                  <a:cubicBezTo>
                    <a:pt x="488" y="222"/>
                    <a:pt x="488" y="220"/>
                    <a:pt x="488" y="219"/>
                  </a:cubicBezTo>
                  <a:cubicBezTo>
                    <a:pt x="488" y="218"/>
                    <a:pt x="487" y="217"/>
                    <a:pt x="486" y="216"/>
                  </a:cubicBezTo>
                  <a:cubicBezTo>
                    <a:pt x="485" y="215"/>
                    <a:pt x="484" y="214"/>
                    <a:pt x="483" y="214"/>
                  </a:cubicBezTo>
                  <a:cubicBezTo>
                    <a:pt x="481" y="214"/>
                    <a:pt x="474" y="214"/>
                    <a:pt x="468" y="214"/>
                  </a:cubicBezTo>
                  <a:cubicBezTo>
                    <a:pt x="467" y="211"/>
                    <a:pt x="467" y="208"/>
                    <a:pt x="466" y="204"/>
                  </a:cubicBezTo>
                  <a:cubicBezTo>
                    <a:pt x="472" y="202"/>
                    <a:pt x="479" y="200"/>
                    <a:pt x="481" y="200"/>
                  </a:cubicBezTo>
                  <a:cubicBezTo>
                    <a:pt x="482" y="200"/>
                    <a:pt x="483" y="199"/>
                    <a:pt x="484" y="197"/>
                  </a:cubicBezTo>
                  <a:cubicBezTo>
                    <a:pt x="484" y="196"/>
                    <a:pt x="484" y="195"/>
                    <a:pt x="484" y="194"/>
                  </a:cubicBezTo>
                  <a:cubicBezTo>
                    <a:pt x="484" y="192"/>
                    <a:pt x="483" y="191"/>
                    <a:pt x="482" y="191"/>
                  </a:cubicBezTo>
                  <a:cubicBezTo>
                    <a:pt x="481" y="190"/>
                    <a:pt x="480" y="189"/>
                    <a:pt x="478" y="190"/>
                  </a:cubicBezTo>
                  <a:cubicBezTo>
                    <a:pt x="477" y="190"/>
                    <a:pt x="470" y="191"/>
                    <a:pt x="463" y="191"/>
                  </a:cubicBezTo>
                  <a:cubicBezTo>
                    <a:pt x="463" y="188"/>
                    <a:pt x="462" y="185"/>
                    <a:pt x="461" y="181"/>
                  </a:cubicBezTo>
                  <a:cubicBezTo>
                    <a:pt x="467" y="179"/>
                    <a:pt x="473" y="176"/>
                    <a:pt x="475" y="175"/>
                  </a:cubicBezTo>
                  <a:cubicBezTo>
                    <a:pt x="476" y="175"/>
                    <a:pt x="477" y="174"/>
                    <a:pt x="477" y="173"/>
                  </a:cubicBezTo>
                  <a:cubicBezTo>
                    <a:pt x="478" y="172"/>
                    <a:pt x="478" y="170"/>
                    <a:pt x="477" y="169"/>
                  </a:cubicBezTo>
                  <a:cubicBezTo>
                    <a:pt x="477" y="168"/>
                    <a:pt x="476" y="167"/>
                    <a:pt x="475" y="166"/>
                  </a:cubicBezTo>
                  <a:cubicBezTo>
                    <a:pt x="474" y="165"/>
                    <a:pt x="473" y="165"/>
                    <a:pt x="471" y="165"/>
                  </a:cubicBezTo>
                  <a:cubicBezTo>
                    <a:pt x="470" y="166"/>
                    <a:pt x="463" y="167"/>
                    <a:pt x="457" y="169"/>
                  </a:cubicBezTo>
                  <a:cubicBezTo>
                    <a:pt x="456" y="165"/>
                    <a:pt x="454" y="162"/>
                    <a:pt x="453" y="159"/>
                  </a:cubicBezTo>
                  <a:cubicBezTo>
                    <a:pt x="459" y="156"/>
                    <a:pt x="465" y="152"/>
                    <a:pt x="466" y="152"/>
                  </a:cubicBezTo>
                  <a:cubicBezTo>
                    <a:pt x="467" y="151"/>
                    <a:pt x="468" y="150"/>
                    <a:pt x="468" y="149"/>
                  </a:cubicBezTo>
                  <a:cubicBezTo>
                    <a:pt x="469" y="148"/>
                    <a:pt x="469" y="146"/>
                    <a:pt x="468" y="145"/>
                  </a:cubicBezTo>
                  <a:cubicBezTo>
                    <a:pt x="468" y="144"/>
                    <a:pt x="467" y="143"/>
                    <a:pt x="466" y="142"/>
                  </a:cubicBezTo>
                  <a:cubicBezTo>
                    <a:pt x="465" y="142"/>
                    <a:pt x="463" y="142"/>
                    <a:pt x="462" y="142"/>
                  </a:cubicBezTo>
                  <a:cubicBezTo>
                    <a:pt x="461" y="142"/>
                    <a:pt x="454" y="145"/>
                    <a:pt x="448" y="147"/>
                  </a:cubicBezTo>
                  <a:cubicBezTo>
                    <a:pt x="446" y="144"/>
                    <a:pt x="445" y="141"/>
                    <a:pt x="443" y="138"/>
                  </a:cubicBezTo>
                  <a:cubicBezTo>
                    <a:pt x="448" y="134"/>
                    <a:pt x="454" y="130"/>
                    <a:pt x="455" y="129"/>
                  </a:cubicBezTo>
                  <a:cubicBezTo>
                    <a:pt x="456" y="128"/>
                    <a:pt x="457" y="127"/>
                    <a:pt x="457" y="126"/>
                  </a:cubicBezTo>
                  <a:cubicBezTo>
                    <a:pt x="457" y="125"/>
                    <a:pt x="457" y="123"/>
                    <a:pt x="457" y="122"/>
                  </a:cubicBezTo>
                  <a:cubicBezTo>
                    <a:pt x="456" y="121"/>
                    <a:pt x="455" y="120"/>
                    <a:pt x="454" y="120"/>
                  </a:cubicBezTo>
                  <a:cubicBezTo>
                    <a:pt x="453" y="119"/>
                    <a:pt x="451" y="119"/>
                    <a:pt x="450" y="120"/>
                  </a:cubicBezTo>
                  <a:cubicBezTo>
                    <a:pt x="449" y="121"/>
                    <a:pt x="442" y="123"/>
                    <a:pt x="436" y="126"/>
                  </a:cubicBezTo>
                  <a:cubicBezTo>
                    <a:pt x="434" y="123"/>
                    <a:pt x="433" y="121"/>
                    <a:pt x="431" y="118"/>
                  </a:cubicBezTo>
                  <a:cubicBezTo>
                    <a:pt x="436" y="113"/>
                    <a:pt x="441" y="109"/>
                    <a:pt x="442" y="108"/>
                  </a:cubicBezTo>
                  <a:cubicBezTo>
                    <a:pt x="443" y="107"/>
                    <a:pt x="444" y="106"/>
                    <a:pt x="444" y="104"/>
                  </a:cubicBezTo>
                  <a:cubicBezTo>
                    <a:pt x="444" y="103"/>
                    <a:pt x="443" y="102"/>
                    <a:pt x="443" y="101"/>
                  </a:cubicBezTo>
                  <a:cubicBezTo>
                    <a:pt x="442" y="100"/>
                    <a:pt x="441" y="99"/>
                    <a:pt x="440" y="99"/>
                  </a:cubicBezTo>
                  <a:cubicBezTo>
                    <a:pt x="438" y="98"/>
                    <a:pt x="437" y="98"/>
                    <a:pt x="436" y="99"/>
                  </a:cubicBezTo>
                  <a:cubicBezTo>
                    <a:pt x="435" y="100"/>
                    <a:pt x="428" y="103"/>
                    <a:pt x="423" y="107"/>
                  </a:cubicBezTo>
                  <a:cubicBezTo>
                    <a:pt x="421" y="104"/>
                    <a:pt x="419" y="102"/>
                    <a:pt x="416" y="99"/>
                  </a:cubicBezTo>
                  <a:cubicBezTo>
                    <a:pt x="421" y="94"/>
                    <a:pt x="426" y="89"/>
                    <a:pt x="427" y="88"/>
                  </a:cubicBezTo>
                  <a:cubicBezTo>
                    <a:pt x="428" y="87"/>
                    <a:pt x="428" y="85"/>
                    <a:pt x="428" y="84"/>
                  </a:cubicBezTo>
                  <a:cubicBezTo>
                    <a:pt x="428" y="83"/>
                    <a:pt x="427" y="82"/>
                    <a:pt x="427" y="81"/>
                  </a:cubicBezTo>
                  <a:cubicBezTo>
                    <a:pt x="426" y="80"/>
                    <a:pt x="424" y="79"/>
                    <a:pt x="423" y="79"/>
                  </a:cubicBezTo>
                  <a:cubicBezTo>
                    <a:pt x="422" y="79"/>
                    <a:pt x="421" y="79"/>
                    <a:pt x="420" y="80"/>
                  </a:cubicBezTo>
                  <a:cubicBezTo>
                    <a:pt x="418" y="81"/>
                    <a:pt x="413" y="85"/>
                    <a:pt x="407" y="89"/>
                  </a:cubicBezTo>
                  <a:cubicBezTo>
                    <a:pt x="405" y="86"/>
                    <a:pt x="403" y="84"/>
                    <a:pt x="400" y="82"/>
                  </a:cubicBezTo>
                  <a:cubicBezTo>
                    <a:pt x="404" y="76"/>
                    <a:pt x="408" y="71"/>
                    <a:pt x="409" y="70"/>
                  </a:cubicBezTo>
                  <a:cubicBezTo>
                    <a:pt x="410" y="68"/>
                    <a:pt x="410" y="67"/>
                    <a:pt x="410" y="66"/>
                  </a:cubicBezTo>
                  <a:cubicBezTo>
                    <a:pt x="410" y="65"/>
                    <a:pt x="409" y="63"/>
                    <a:pt x="408" y="63"/>
                  </a:cubicBezTo>
                  <a:cubicBezTo>
                    <a:pt x="407" y="62"/>
                    <a:pt x="406" y="61"/>
                    <a:pt x="405" y="61"/>
                  </a:cubicBezTo>
                  <a:cubicBezTo>
                    <a:pt x="404" y="61"/>
                    <a:pt x="402" y="62"/>
                    <a:pt x="401" y="62"/>
                  </a:cubicBezTo>
                  <a:cubicBezTo>
                    <a:pt x="400" y="63"/>
                    <a:pt x="395" y="68"/>
                    <a:pt x="390" y="73"/>
                  </a:cubicBezTo>
                  <a:cubicBezTo>
                    <a:pt x="388" y="71"/>
                    <a:pt x="385" y="68"/>
                    <a:pt x="382" y="66"/>
                  </a:cubicBezTo>
                  <a:cubicBezTo>
                    <a:pt x="386" y="61"/>
                    <a:pt x="389" y="54"/>
                    <a:pt x="390" y="53"/>
                  </a:cubicBezTo>
                  <a:cubicBezTo>
                    <a:pt x="391" y="52"/>
                    <a:pt x="391" y="51"/>
                    <a:pt x="391" y="50"/>
                  </a:cubicBezTo>
                  <a:cubicBezTo>
                    <a:pt x="390" y="48"/>
                    <a:pt x="390" y="47"/>
                    <a:pt x="389" y="46"/>
                  </a:cubicBezTo>
                  <a:cubicBezTo>
                    <a:pt x="387" y="46"/>
                    <a:pt x="386" y="45"/>
                    <a:pt x="385" y="45"/>
                  </a:cubicBezTo>
                  <a:cubicBezTo>
                    <a:pt x="384" y="45"/>
                    <a:pt x="382" y="46"/>
                    <a:pt x="382" y="47"/>
                  </a:cubicBezTo>
                  <a:cubicBezTo>
                    <a:pt x="381" y="48"/>
                    <a:pt x="376" y="53"/>
                    <a:pt x="371" y="58"/>
                  </a:cubicBezTo>
                  <a:cubicBezTo>
                    <a:pt x="369" y="57"/>
                    <a:pt x="366" y="55"/>
                    <a:pt x="363" y="53"/>
                  </a:cubicBezTo>
                  <a:cubicBezTo>
                    <a:pt x="366" y="47"/>
                    <a:pt x="369" y="40"/>
                    <a:pt x="369" y="39"/>
                  </a:cubicBezTo>
                  <a:cubicBezTo>
                    <a:pt x="370" y="38"/>
                    <a:pt x="370" y="36"/>
                    <a:pt x="369" y="35"/>
                  </a:cubicBezTo>
                  <a:cubicBezTo>
                    <a:pt x="369" y="34"/>
                    <a:pt x="368" y="33"/>
                    <a:pt x="367" y="32"/>
                  </a:cubicBezTo>
                  <a:cubicBezTo>
                    <a:pt x="366" y="32"/>
                    <a:pt x="365" y="32"/>
                    <a:pt x="363" y="32"/>
                  </a:cubicBezTo>
                  <a:cubicBezTo>
                    <a:pt x="362" y="32"/>
                    <a:pt x="361" y="33"/>
                    <a:pt x="360" y="34"/>
                  </a:cubicBezTo>
                  <a:cubicBezTo>
                    <a:pt x="359" y="35"/>
                    <a:pt x="355" y="41"/>
                    <a:pt x="351" y="46"/>
                  </a:cubicBezTo>
                  <a:cubicBezTo>
                    <a:pt x="348" y="44"/>
                    <a:pt x="345" y="43"/>
                    <a:pt x="342" y="42"/>
                  </a:cubicBezTo>
                  <a:cubicBezTo>
                    <a:pt x="344" y="35"/>
                    <a:pt x="347" y="28"/>
                    <a:pt x="347" y="27"/>
                  </a:cubicBezTo>
                  <a:cubicBezTo>
                    <a:pt x="348" y="26"/>
                    <a:pt x="347" y="24"/>
                    <a:pt x="347" y="23"/>
                  </a:cubicBezTo>
                  <a:cubicBezTo>
                    <a:pt x="346" y="22"/>
                    <a:pt x="345" y="21"/>
                    <a:pt x="344" y="21"/>
                  </a:cubicBezTo>
                  <a:cubicBezTo>
                    <a:pt x="343" y="20"/>
                    <a:pt x="342" y="20"/>
                    <a:pt x="340" y="20"/>
                  </a:cubicBezTo>
                  <a:cubicBezTo>
                    <a:pt x="339" y="21"/>
                    <a:pt x="338" y="22"/>
                    <a:pt x="338" y="23"/>
                  </a:cubicBezTo>
                  <a:cubicBezTo>
                    <a:pt x="337" y="24"/>
                    <a:pt x="333" y="30"/>
                    <a:pt x="330" y="36"/>
                  </a:cubicBezTo>
                  <a:cubicBezTo>
                    <a:pt x="327" y="35"/>
                    <a:pt x="324" y="34"/>
                    <a:pt x="321" y="32"/>
                  </a:cubicBezTo>
                  <a:cubicBezTo>
                    <a:pt x="322" y="26"/>
                    <a:pt x="324" y="19"/>
                    <a:pt x="324" y="18"/>
                  </a:cubicBezTo>
                  <a:cubicBezTo>
                    <a:pt x="324" y="16"/>
                    <a:pt x="324" y="15"/>
                    <a:pt x="323" y="14"/>
                  </a:cubicBezTo>
                  <a:cubicBezTo>
                    <a:pt x="323" y="13"/>
                    <a:pt x="322" y="12"/>
                    <a:pt x="320" y="12"/>
                  </a:cubicBezTo>
                  <a:cubicBezTo>
                    <a:pt x="319" y="11"/>
                    <a:pt x="318" y="11"/>
                    <a:pt x="317" y="12"/>
                  </a:cubicBezTo>
                  <a:cubicBezTo>
                    <a:pt x="315" y="12"/>
                    <a:pt x="314" y="13"/>
                    <a:pt x="314" y="14"/>
                  </a:cubicBezTo>
                  <a:cubicBezTo>
                    <a:pt x="313" y="16"/>
                    <a:pt x="310" y="22"/>
                    <a:pt x="308" y="28"/>
                  </a:cubicBezTo>
                  <a:cubicBezTo>
                    <a:pt x="305" y="27"/>
                    <a:pt x="301" y="26"/>
                    <a:pt x="298" y="26"/>
                  </a:cubicBezTo>
                  <a:cubicBezTo>
                    <a:pt x="299" y="19"/>
                    <a:pt x="300" y="12"/>
                    <a:pt x="300" y="11"/>
                  </a:cubicBezTo>
                  <a:cubicBezTo>
                    <a:pt x="300" y="9"/>
                    <a:pt x="299" y="8"/>
                    <a:pt x="299" y="7"/>
                  </a:cubicBezTo>
                  <a:cubicBezTo>
                    <a:pt x="298" y="6"/>
                    <a:pt x="297" y="5"/>
                    <a:pt x="295" y="5"/>
                  </a:cubicBezTo>
                  <a:cubicBezTo>
                    <a:pt x="294" y="5"/>
                    <a:pt x="293" y="5"/>
                    <a:pt x="292" y="5"/>
                  </a:cubicBezTo>
                  <a:cubicBezTo>
                    <a:pt x="291" y="6"/>
                    <a:pt x="290" y="7"/>
                    <a:pt x="289" y="8"/>
                  </a:cubicBezTo>
                  <a:cubicBezTo>
                    <a:pt x="289" y="10"/>
                    <a:pt x="287" y="16"/>
                    <a:pt x="285" y="23"/>
                  </a:cubicBezTo>
                  <a:cubicBezTo>
                    <a:pt x="282" y="22"/>
                    <a:pt x="278" y="22"/>
                    <a:pt x="275" y="21"/>
                  </a:cubicBezTo>
                  <a:cubicBezTo>
                    <a:pt x="275" y="15"/>
                    <a:pt x="275" y="7"/>
                    <a:pt x="275" y="6"/>
                  </a:cubicBezTo>
                  <a:cubicBezTo>
                    <a:pt x="275" y="5"/>
                    <a:pt x="274" y="3"/>
                    <a:pt x="274" y="3"/>
                  </a:cubicBezTo>
                  <a:cubicBezTo>
                    <a:pt x="273" y="2"/>
                    <a:pt x="272" y="1"/>
                    <a:pt x="270" y="1"/>
                  </a:cubicBezTo>
                  <a:cubicBezTo>
                    <a:pt x="269" y="1"/>
                    <a:pt x="268" y="1"/>
                    <a:pt x="267" y="2"/>
                  </a:cubicBezTo>
                  <a:cubicBezTo>
                    <a:pt x="266" y="3"/>
                    <a:pt x="265" y="4"/>
                    <a:pt x="264" y="5"/>
                  </a:cubicBezTo>
                  <a:cubicBezTo>
                    <a:pt x="264" y="6"/>
                    <a:pt x="263" y="13"/>
                    <a:pt x="262" y="20"/>
                  </a:cubicBezTo>
                  <a:cubicBezTo>
                    <a:pt x="258" y="20"/>
                    <a:pt x="255" y="19"/>
                    <a:pt x="251" y="19"/>
                  </a:cubicBezTo>
                  <a:cubicBezTo>
                    <a:pt x="251" y="13"/>
                    <a:pt x="250" y="6"/>
                    <a:pt x="250" y="4"/>
                  </a:cubicBezTo>
                  <a:cubicBezTo>
                    <a:pt x="250" y="3"/>
                    <a:pt x="249" y="2"/>
                    <a:pt x="248" y="1"/>
                  </a:cubicBezTo>
                  <a:cubicBezTo>
                    <a:pt x="247" y="0"/>
                    <a:pt x="246" y="0"/>
                    <a:pt x="245" y="0"/>
                  </a:cubicBezTo>
                  <a:cubicBezTo>
                    <a:pt x="243" y="0"/>
                    <a:pt x="242" y="0"/>
                    <a:pt x="241" y="1"/>
                  </a:cubicBezTo>
                  <a:cubicBezTo>
                    <a:pt x="240" y="2"/>
                    <a:pt x="239" y="3"/>
                    <a:pt x="239" y="4"/>
                  </a:cubicBezTo>
                  <a:cubicBezTo>
                    <a:pt x="239" y="6"/>
                    <a:pt x="239" y="13"/>
                    <a:pt x="238" y="19"/>
                  </a:cubicBezTo>
                  <a:cubicBezTo>
                    <a:pt x="235" y="19"/>
                    <a:pt x="231" y="20"/>
                    <a:pt x="228" y="20"/>
                  </a:cubicBezTo>
                  <a:cubicBezTo>
                    <a:pt x="227" y="13"/>
                    <a:pt x="225" y="6"/>
                    <a:pt x="225" y="5"/>
                  </a:cubicBezTo>
                  <a:cubicBezTo>
                    <a:pt x="224" y="4"/>
                    <a:pt x="224" y="3"/>
                    <a:pt x="223" y="2"/>
                  </a:cubicBezTo>
                  <a:cubicBezTo>
                    <a:pt x="222" y="1"/>
                    <a:pt x="220" y="1"/>
                    <a:pt x="219" y="1"/>
                  </a:cubicBezTo>
                  <a:cubicBezTo>
                    <a:pt x="218" y="1"/>
                    <a:pt x="217" y="2"/>
                    <a:pt x="216" y="3"/>
                  </a:cubicBezTo>
                  <a:cubicBezTo>
                    <a:pt x="215" y="3"/>
                    <a:pt x="214" y="5"/>
                    <a:pt x="214" y="6"/>
                  </a:cubicBezTo>
                  <a:cubicBezTo>
                    <a:pt x="214" y="7"/>
                    <a:pt x="214" y="15"/>
                    <a:pt x="214" y="21"/>
                  </a:cubicBezTo>
                  <a:cubicBezTo>
                    <a:pt x="211" y="22"/>
                    <a:pt x="208" y="22"/>
                    <a:pt x="204" y="23"/>
                  </a:cubicBezTo>
                  <a:cubicBezTo>
                    <a:pt x="202" y="16"/>
                    <a:pt x="200" y="10"/>
                    <a:pt x="200" y="8"/>
                  </a:cubicBezTo>
                  <a:cubicBezTo>
                    <a:pt x="199" y="7"/>
                    <a:pt x="199" y="6"/>
                    <a:pt x="198" y="5"/>
                  </a:cubicBezTo>
                  <a:cubicBezTo>
                    <a:pt x="196" y="5"/>
                    <a:pt x="195" y="5"/>
                    <a:pt x="194" y="5"/>
                  </a:cubicBezTo>
                  <a:cubicBezTo>
                    <a:pt x="192" y="5"/>
                    <a:pt x="191" y="6"/>
                    <a:pt x="191" y="7"/>
                  </a:cubicBezTo>
                  <a:cubicBezTo>
                    <a:pt x="190" y="8"/>
                    <a:pt x="189" y="9"/>
                    <a:pt x="190" y="11"/>
                  </a:cubicBezTo>
                  <a:cubicBezTo>
                    <a:pt x="190" y="12"/>
                    <a:pt x="191" y="19"/>
                    <a:pt x="191" y="26"/>
                  </a:cubicBezTo>
                  <a:cubicBezTo>
                    <a:pt x="188" y="26"/>
                    <a:pt x="185" y="27"/>
                    <a:pt x="182" y="28"/>
                  </a:cubicBezTo>
                  <a:cubicBezTo>
                    <a:pt x="179" y="22"/>
                    <a:pt x="176" y="16"/>
                    <a:pt x="175" y="14"/>
                  </a:cubicBezTo>
                  <a:cubicBezTo>
                    <a:pt x="175" y="13"/>
                    <a:pt x="174" y="12"/>
                    <a:pt x="173" y="12"/>
                  </a:cubicBezTo>
                  <a:cubicBezTo>
                    <a:pt x="172" y="11"/>
                    <a:pt x="170" y="11"/>
                    <a:pt x="169" y="12"/>
                  </a:cubicBezTo>
                  <a:cubicBezTo>
                    <a:pt x="168" y="12"/>
                    <a:pt x="167" y="13"/>
                    <a:pt x="166" y="14"/>
                  </a:cubicBezTo>
                  <a:cubicBezTo>
                    <a:pt x="165" y="15"/>
                    <a:pt x="165" y="16"/>
                    <a:pt x="165" y="18"/>
                  </a:cubicBezTo>
                  <a:cubicBezTo>
                    <a:pt x="166" y="19"/>
                    <a:pt x="167" y="26"/>
                    <a:pt x="169" y="32"/>
                  </a:cubicBezTo>
                  <a:cubicBezTo>
                    <a:pt x="166" y="34"/>
                    <a:pt x="162" y="35"/>
                    <a:pt x="159" y="36"/>
                  </a:cubicBezTo>
                  <a:cubicBezTo>
                    <a:pt x="156" y="30"/>
                    <a:pt x="152" y="24"/>
                    <a:pt x="152" y="23"/>
                  </a:cubicBezTo>
                  <a:cubicBezTo>
                    <a:pt x="151" y="22"/>
                    <a:pt x="150" y="21"/>
                    <a:pt x="149" y="20"/>
                  </a:cubicBezTo>
                  <a:cubicBezTo>
                    <a:pt x="148" y="20"/>
                    <a:pt x="146" y="20"/>
                    <a:pt x="145" y="21"/>
                  </a:cubicBezTo>
                  <a:cubicBezTo>
                    <a:pt x="144" y="21"/>
                    <a:pt x="143" y="22"/>
                    <a:pt x="142" y="23"/>
                  </a:cubicBezTo>
                  <a:cubicBezTo>
                    <a:pt x="142" y="24"/>
                    <a:pt x="142" y="26"/>
                    <a:pt x="142" y="27"/>
                  </a:cubicBezTo>
                  <a:cubicBezTo>
                    <a:pt x="143" y="28"/>
                    <a:pt x="145" y="35"/>
                    <a:pt x="147" y="42"/>
                  </a:cubicBezTo>
                  <a:cubicBezTo>
                    <a:pt x="144" y="43"/>
                    <a:pt x="141" y="44"/>
                    <a:pt x="138" y="46"/>
                  </a:cubicBezTo>
                  <a:cubicBezTo>
                    <a:pt x="134" y="41"/>
                    <a:pt x="130" y="35"/>
                    <a:pt x="129" y="34"/>
                  </a:cubicBezTo>
                  <a:cubicBezTo>
                    <a:pt x="128" y="33"/>
                    <a:pt x="127" y="32"/>
                    <a:pt x="126" y="32"/>
                  </a:cubicBezTo>
                  <a:cubicBezTo>
                    <a:pt x="125" y="32"/>
                    <a:pt x="123" y="32"/>
                    <a:pt x="122" y="32"/>
                  </a:cubicBezTo>
                  <a:cubicBezTo>
                    <a:pt x="121" y="33"/>
                    <a:pt x="120" y="34"/>
                    <a:pt x="120" y="35"/>
                  </a:cubicBezTo>
                  <a:cubicBezTo>
                    <a:pt x="119" y="36"/>
                    <a:pt x="119" y="38"/>
                    <a:pt x="120" y="39"/>
                  </a:cubicBezTo>
                  <a:cubicBezTo>
                    <a:pt x="121" y="40"/>
                    <a:pt x="124" y="47"/>
                    <a:pt x="126" y="53"/>
                  </a:cubicBezTo>
                  <a:cubicBezTo>
                    <a:pt x="123" y="55"/>
                    <a:pt x="121" y="57"/>
                    <a:pt x="118" y="58"/>
                  </a:cubicBezTo>
                  <a:cubicBezTo>
                    <a:pt x="113" y="53"/>
                    <a:pt x="109" y="48"/>
                    <a:pt x="108" y="47"/>
                  </a:cubicBezTo>
                  <a:cubicBezTo>
                    <a:pt x="107" y="46"/>
                    <a:pt x="106" y="45"/>
                    <a:pt x="104" y="45"/>
                  </a:cubicBezTo>
                  <a:cubicBezTo>
                    <a:pt x="103" y="45"/>
                    <a:pt x="102" y="46"/>
                    <a:pt x="101" y="46"/>
                  </a:cubicBezTo>
                  <a:cubicBezTo>
                    <a:pt x="100" y="47"/>
                    <a:pt x="99" y="48"/>
                    <a:pt x="99" y="50"/>
                  </a:cubicBezTo>
                  <a:cubicBezTo>
                    <a:pt x="98" y="51"/>
                    <a:pt x="99" y="52"/>
                    <a:pt x="99" y="53"/>
                  </a:cubicBezTo>
                  <a:cubicBezTo>
                    <a:pt x="100" y="54"/>
                    <a:pt x="104" y="61"/>
                    <a:pt x="107" y="66"/>
                  </a:cubicBezTo>
                  <a:cubicBezTo>
                    <a:pt x="104" y="68"/>
                    <a:pt x="102" y="71"/>
                    <a:pt x="99" y="73"/>
                  </a:cubicBezTo>
                  <a:cubicBezTo>
                    <a:pt x="94" y="68"/>
                    <a:pt x="89" y="63"/>
                    <a:pt x="88" y="62"/>
                  </a:cubicBezTo>
                  <a:cubicBezTo>
                    <a:pt x="87" y="62"/>
                    <a:pt x="86" y="61"/>
                    <a:pt x="84" y="61"/>
                  </a:cubicBezTo>
                  <a:cubicBezTo>
                    <a:pt x="83" y="61"/>
                    <a:pt x="82" y="62"/>
                    <a:pt x="81" y="63"/>
                  </a:cubicBezTo>
                  <a:cubicBezTo>
                    <a:pt x="80" y="63"/>
                    <a:pt x="79" y="65"/>
                    <a:pt x="79" y="66"/>
                  </a:cubicBezTo>
                  <a:cubicBezTo>
                    <a:pt x="79" y="67"/>
                    <a:pt x="79" y="68"/>
                    <a:pt x="80" y="70"/>
                  </a:cubicBezTo>
                  <a:cubicBezTo>
                    <a:pt x="81" y="71"/>
                    <a:pt x="85" y="76"/>
                    <a:pt x="89" y="82"/>
                  </a:cubicBezTo>
                  <a:cubicBezTo>
                    <a:pt x="87" y="84"/>
                    <a:pt x="84" y="86"/>
                    <a:pt x="82" y="89"/>
                  </a:cubicBezTo>
                  <a:cubicBezTo>
                    <a:pt x="77" y="85"/>
                    <a:pt x="71" y="81"/>
                    <a:pt x="70" y="80"/>
                  </a:cubicBezTo>
                  <a:cubicBezTo>
                    <a:pt x="69" y="79"/>
                    <a:pt x="67" y="79"/>
                    <a:pt x="66" y="79"/>
                  </a:cubicBezTo>
                  <a:cubicBezTo>
                    <a:pt x="65" y="79"/>
                    <a:pt x="64" y="80"/>
                    <a:pt x="63" y="81"/>
                  </a:cubicBezTo>
                  <a:cubicBezTo>
                    <a:pt x="62" y="82"/>
                    <a:pt x="61" y="83"/>
                    <a:pt x="61" y="84"/>
                  </a:cubicBezTo>
                  <a:cubicBezTo>
                    <a:pt x="61" y="85"/>
                    <a:pt x="62" y="87"/>
                    <a:pt x="63" y="88"/>
                  </a:cubicBezTo>
                  <a:cubicBezTo>
                    <a:pt x="64" y="89"/>
                    <a:pt x="68" y="94"/>
                    <a:pt x="73" y="99"/>
                  </a:cubicBezTo>
                  <a:cubicBezTo>
                    <a:pt x="71" y="102"/>
                    <a:pt x="69" y="104"/>
                    <a:pt x="67" y="107"/>
                  </a:cubicBezTo>
                  <a:cubicBezTo>
                    <a:pt x="61" y="103"/>
                    <a:pt x="55" y="100"/>
                    <a:pt x="53" y="99"/>
                  </a:cubicBezTo>
                  <a:cubicBezTo>
                    <a:pt x="52" y="98"/>
                    <a:pt x="51" y="98"/>
                    <a:pt x="50" y="99"/>
                  </a:cubicBezTo>
                  <a:cubicBezTo>
                    <a:pt x="49" y="99"/>
                    <a:pt x="47" y="100"/>
                    <a:pt x="47" y="101"/>
                  </a:cubicBezTo>
                  <a:cubicBezTo>
                    <a:pt x="46" y="102"/>
                    <a:pt x="45" y="103"/>
                    <a:pt x="46" y="104"/>
                  </a:cubicBezTo>
                  <a:cubicBezTo>
                    <a:pt x="46" y="106"/>
                    <a:pt x="46" y="107"/>
                    <a:pt x="47" y="108"/>
                  </a:cubicBezTo>
                  <a:cubicBezTo>
                    <a:pt x="48" y="109"/>
                    <a:pt x="54" y="113"/>
                    <a:pt x="59" y="118"/>
                  </a:cubicBezTo>
                  <a:cubicBezTo>
                    <a:pt x="57" y="121"/>
                    <a:pt x="55" y="123"/>
                    <a:pt x="53" y="126"/>
                  </a:cubicBezTo>
                  <a:cubicBezTo>
                    <a:pt x="47" y="123"/>
                    <a:pt x="41" y="121"/>
                    <a:pt x="39" y="120"/>
                  </a:cubicBezTo>
                  <a:cubicBezTo>
                    <a:pt x="38" y="119"/>
                    <a:pt x="37" y="119"/>
                    <a:pt x="36" y="120"/>
                  </a:cubicBezTo>
                  <a:cubicBezTo>
                    <a:pt x="34" y="120"/>
                    <a:pt x="33" y="121"/>
                    <a:pt x="33" y="122"/>
                  </a:cubicBezTo>
                  <a:cubicBezTo>
                    <a:pt x="32" y="123"/>
                    <a:pt x="32" y="125"/>
                    <a:pt x="32" y="126"/>
                  </a:cubicBezTo>
                  <a:cubicBezTo>
                    <a:pt x="32" y="127"/>
                    <a:pt x="33" y="128"/>
                    <a:pt x="34" y="129"/>
                  </a:cubicBezTo>
                  <a:cubicBezTo>
                    <a:pt x="35" y="130"/>
                    <a:pt x="41" y="134"/>
                    <a:pt x="46" y="138"/>
                  </a:cubicBezTo>
                  <a:cubicBezTo>
                    <a:pt x="45" y="141"/>
                    <a:pt x="43" y="144"/>
                    <a:pt x="42" y="147"/>
                  </a:cubicBezTo>
                  <a:cubicBezTo>
                    <a:pt x="36" y="145"/>
                    <a:pt x="29" y="143"/>
                    <a:pt x="27" y="142"/>
                  </a:cubicBezTo>
                  <a:cubicBezTo>
                    <a:pt x="26" y="142"/>
                    <a:pt x="25" y="142"/>
                    <a:pt x="24" y="142"/>
                  </a:cubicBezTo>
                  <a:cubicBezTo>
                    <a:pt x="23" y="143"/>
                    <a:pt x="22" y="144"/>
                    <a:pt x="21" y="145"/>
                  </a:cubicBezTo>
                  <a:cubicBezTo>
                    <a:pt x="20" y="146"/>
                    <a:pt x="20" y="148"/>
                    <a:pt x="21" y="149"/>
                  </a:cubicBezTo>
                  <a:cubicBezTo>
                    <a:pt x="21" y="150"/>
                    <a:pt x="22" y="151"/>
                    <a:pt x="23" y="152"/>
                  </a:cubicBezTo>
                  <a:cubicBezTo>
                    <a:pt x="24" y="152"/>
                    <a:pt x="31" y="156"/>
                    <a:pt x="36" y="159"/>
                  </a:cubicBezTo>
                  <a:cubicBezTo>
                    <a:pt x="35" y="162"/>
                    <a:pt x="34" y="165"/>
                    <a:pt x="33" y="169"/>
                  </a:cubicBezTo>
                  <a:cubicBezTo>
                    <a:pt x="26" y="167"/>
                    <a:pt x="19" y="166"/>
                    <a:pt x="18" y="165"/>
                  </a:cubicBezTo>
                  <a:cubicBezTo>
                    <a:pt x="17" y="165"/>
                    <a:pt x="15" y="165"/>
                    <a:pt x="14" y="166"/>
                  </a:cubicBezTo>
                  <a:cubicBezTo>
                    <a:pt x="13" y="167"/>
                    <a:pt x="12" y="168"/>
                    <a:pt x="12" y="169"/>
                  </a:cubicBezTo>
                  <a:cubicBezTo>
                    <a:pt x="11" y="170"/>
                    <a:pt x="12" y="172"/>
                    <a:pt x="12" y="173"/>
                  </a:cubicBezTo>
                  <a:cubicBezTo>
                    <a:pt x="12" y="174"/>
                    <a:pt x="13" y="175"/>
                    <a:pt x="15" y="175"/>
                  </a:cubicBezTo>
                  <a:cubicBezTo>
                    <a:pt x="16" y="176"/>
                    <a:pt x="23" y="179"/>
                    <a:pt x="28" y="181"/>
                  </a:cubicBezTo>
                  <a:cubicBezTo>
                    <a:pt x="28" y="185"/>
                    <a:pt x="27" y="188"/>
                    <a:pt x="26" y="191"/>
                  </a:cubicBezTo>
                  <a:cubicBezTo>
                    <a:pt x="19" y="191"/>
                    <a:pt x="12" y="190"/>
                    <a:pt x="11" y="190"/>
                  </a:cubicBezTo>
                  <a:cubicBezTo>
                    <a:pt x="9" y="189"/>
                    <a:pt x="8" y="190"/>
                    <a:pt x="7" y="191"/>
                  </a:cubicBezTo>
                  <a:cubicBezTo>
                    <a:pt x="6" y="191"/>
                    <a:pt x="5" y="192"/>
                    <a:pt x="5" y="194"/>
                  </a:cubicBezTo>
                  <a:cubicBezTo>
                    <a:pt x="5" y="195"/>
                    <a:pt x="5" y="196"/>
                    <a:pt x="6" y="197"/>
                  </a:cubicBezTo>
                  <a:cubicBezTo>
                    <a:pt x="6" y="199"/>
                    <a:pt x="7" y="200"/>
                    <a:pt x="9" y="200"/>
                  </a:cubicBezTo>
                  <a:cubicBezTo>
                    <a:pt x="10" y="200"/>
                    <a:pt x="17" y="202"/>
                    <a:pt x="23" y="204"/>
                  </a:cubicBezTo>
                  <a:cubicBezTo>
                    <a:pt x="23" y="208"/>
                    <a:pt x="22" y="211"/>
                    <a:pt x="21" y="214"/>
                  </a:cubicBezTo>
                  <a:cubicBezTo>
                    <a:pt x="15" y="214"/>
                    <a:pt x="8" y="214"/>
                    <a:pt x="6" y="214"/>
                  </a:cubicBezTo>
                  <a:cubicBezTo>
                    <a:pt x="5" y="214"/>
                    <a:pt x="4" y="215"/>
                    <a:pt x="3" y="216"/>
                  </a:cubicBezTo>
                  <a:cubicBezTo>
                    <a:pt x="2" y="217"/>
                    <a:pt x="1" y="218"/>
                    <a:pt x="1" y="219"/>
                  </a:cubicBezTo>
                  <a:cubicBezTo>
                    <a:pt x="1" y="220"/>
                    <a:pt x="1" y="222"/>
                    <a:pt x="2" y="223"/>
                  </a:cubicBezTo>
                  <a:cubicBezTo>
                    <a:pt x="3" y="224"/>
                    <a:pt x="4" y="225"/>
                    <a:pt x="5" y="225"/>
                  </a:cubicBezTo>
                  <a:cubicBezTo>
                    <a:pt x="7" y="225"/>
                    <a:pt x="14" y="227"/>
                    <a:pt x="20" y="228"/>
                  </a:cubicBezTo>
                  <a:cubicBezTo>
                    <a:pt x="20" y="231"/>
                    <a:pt x="20" y="235"/>
                    <a:pt x="20" y="238"/>
                  </a:cubicBezTo>
                  <a:cubicBezTo>
                    <a:pt x="13" y="239"/>
                    <a:pt x="6" y="239"/>
                    <a:pt x="4" y="239"/>
                  </a:cubicBezTo>
                  <a:cubicBezTo>
                    <a:pt x="3" y="240"/>
                    <a:pt x="2" y="240"/>
                    <a:pt x="1" y="241"/>
                  </a:cubicBezTo>
                  <a:cubicBezTo>
                    <a:pt x="0" y="242"/>
                    <a:pt x="0" y="243"/>
                    <a:pt x="0" y="245"/>
                  </a:cubicBezTo>
                  <a:cubicBezTo>
                    <a:pt x="0" y="246"/>
                    <a:pt x="0" y="247"/>
                    <a:pt x="1" y="248"/>
                  </a:cubicBezTo>
                  <a:cubicBezTo>
                    <a:pt x="2" y="249"/>
                    <a:pt x="3" y="250"/>
                    <a:pt x="4" y="250"/>
                  </a:cubicBezTo>
                  <a:cubicBezTo>
                    <a:pt x="6" y="250"/>
                    <a:pt x="13" y="251"/>
                    <a:pt x="20" y="252"/>
                  </a:cubicBezTo>
                  <a:cubicBezTo>
                    <a:pt x="20" y="255"/>
                    <a:pt x="20" y="258"/>
                    <a:pt x="20" y="262"/>
                  </a:cubicBezTo>
                  <a:cubicBezTo>
                    <a:pt x="14" y="263"/>
                    <a:pt x="7" y="264"/>
                    <a:pt x="5" y="265"/>
                  </a:cubicBezTo>
                  <a:cubicBezTo>
                    <a:pt x="4" y="265"/>
                    <a:pt x="3" y="266"/>
                    <a:pt x="2" y="267"/>
                  </a:cubicBezTo>
                  <a:cubicBezTo>
                    <a:pt x="1" y="268"/>
                    <a:pt x="1" y="269"/>
                    <a:pt x="1" y="270"/>
                  </a:cubicBezTo>
                  <a:cubicBezTo>
                    <a:pt x="1" y="272"/>
                    <a:pt x="2" y="273"/>
                    <a:pt x="3" y="274"/>
                  </a:cubicBezTo>
                  <a:cubicBezTo>
                    <a:pt x="4" y="275"/>
                    <a:pt x="5" y="275"/>
                    <a:pt x="6" y="275"/>
                  </a:cubicBezTo>
                  <a:cubicBezTo>
                    <a:pt x="8" y="275"/>
                    <a:pt x="15" y="275"/>
                    <a:pt x="21" y="275"/>
                  </a:cubicBezTo>
                  <a:cubicBezTo>
                    <a:pt x="22" y="278"/>
                    <a:pt x="23" y="282"/>
                    <a:pt x="23" y="285"/>
                  </a:cubicBezTo>
                  <a:cubicBezTo>
                    <a:pt x="17" y="287"/>
                    <a:pt x="10" y="289"/>
                    <a:pt x="9" y="290"/>
                  </a:cubicBezTo>
                  <a:cubicBezTo>
                    <a:pt x="7" y="290"/>
                    <a:pt x="6" y="291"/>
                    <a:pt x="6" y="292"/>
                  </a:cubicBezTo>
                  <a:cubicBezTo>
                    <a:pt x="5" y="293"/>
                    <a:pt x="5" y="294"/>
                    <a:pt x="5" y="296"/>
                  </a:cubicBezTo>
                  <a:cubicBezTo>
                    <a:pt x="5" y="297"/>
                    <a:pt x="6" y="298"/>
                    <a:pt x="7" y="299"/>
                  </a:cubicBezTo>
                  <a:cubicBezTo>
                    <a:pt x="8" y="300"/>
                    <a:pt x="9" y="300"/>
                    <a:pt x="11" y="300"/>
                  </a:cubicBezTo>
                  <a:cubicBezTo>
                    <a:pt x="12" y="300"/>
                    <a:pt x="19" y="299"/>
                    <a:pt x="26" y="298"/>
                  </a:cubicBezTo>
                  <a:cubicBezTo>
                    <a:pt x="27" y="301"/>
                    <a:pt x="28" y="305"/>
                    <a:pt x="28" y="308"/>
                  </a:cubicBezTo>
                  <a:cubicBezTo>
                    <a:pt x="23" y="311"/>
                    <a:pt x="16" y="313"/>
                    <a:pt x="15" y="314"/>
                  </a:cubicBezTo>
                  <a:cubicBezTo>
                    <a:pt x="13" y="315"/>
                    <a:pt x="12" y="316"/>
                    <a:pt x="12" y="317"/>
                  </a:cubicBezTo>
                  <a:cubicBezTo>
                    <a:pt x="12" y="318"/>
                    <a:pt x="11" y="319"/>
                    <a:pt x="12" y="321"/>
                  </a:cubicBezTo>
                  <a:cubicBezTo>
                    <a:pt x="12" y="322"/>
                    <a:pt x="13" y="323"/>
                    <a:pt x="14" y="323"/>
                  </a:cubicBezTo>
                  <a:cubicBezTo>
                    <a:pt x="15" y="324"/>
                    <a:pt x="17" y="324"/>
                    <a:pt x="18" y="324"/>
                  </a:cubicBezTo>
                  <a:cubicBezTo>
                    <a:pt x="19" y="324"/>
                    <a:pt x="26" y="322"/>
                    <a:pt x="33" y="321"/>
                  </a:cubicBezTo>
                  <a:cubicBezTo>
                    <a:pt x="34" y="324"/>
                    <a:pt x="35" y="327"/>
                    <a:pt x="36" y="330"/>
                  </a:cubicBezTo>
                  <a:cubicBezTo>
                    <a:pt x="31" y="334"/>
                    <a:pt x="24" y="337"/>
                    <a:pt x="23" y="338"/>
                  </a:cubicBezTo>
                  <a:cubicBezTo>
                    <a:pt x="22" y="338"/>
                    <a:pt x="21" y="340"/>
                    <a:pt x="21" y="341"/>
                  </a:cubicBezTo>
                  <a:cubicBezTo>
                    <a:pt x="20" y="342"/>
                    <a:pt x="20" y="343"/>
                    <a:pt x="21" y="344"/>
                  </a:cubicBezTo>
                  <a:cubicBezTo>
                    <a:pt x="22" y="346"/>
                    <a:pt x="23" y="347"/>
                    <a:pt x="24" y="347"/>
                  </a:cubicBezTo>
                  <a:cubicBezTo>
                    <a:pt x="25" y="348"/>
                    <a:pt x="26" y="348"/>
                    <a:pt x="27" y="347"/>
                  </a:cubicBezTo>
                  <a:cubicBezTo>
                    <a:pt x="29" y="347"/>
                    <a:pt x="36" y="345"/>
                    <a:pt x="42" y="343"/>
                  </a:cubicBezTo>
                  <a:cubicBezTo>
                    <a:pt x="43" y="346"/>
                    <a:pt x="45" y="349"/>
                    <a:pt x="46" y="352"/>
                  </a:cubicBezTo>
                  <a:cubicBezTo>
                    <a:pt x="41" y="355"/>
                    <a:pt x="35" y="360"/>
                    <a:pt x="34" y="360"/>
                  </a:cubicBezTo>
                  <a:cubicBezTo>
                    <a:pt x="33" y="361"/>
                    <a:pt x="32" y="362"/>
                    <a:pt x="32" y="364"/>
                  </a:cubicBezTo>
                  <a:cubicBezTo>
                    <a:pt x="32" y="365"/>
                    <a:pt x="32" y="366"/>
                    <a:pt x="33" y="367"/>
                  </a:cubicBezTo>
                  <a:cubicBezTo>
                    <a:pt x="33" y="368"/>
                    <a:pt x="34" y="369"/>
                    <a:pt x="36" y="370"/>
                  </a:cubicBezTo>
                  <a:cubicBezTo>
                    <a:pt x="37" y="370"/>
                    <a:pt x="38" y="370"/>
                    <a:pt x="39" y="370"/>
                  </a:cubicBezTo>
                  <a:cubicBezTo>
                    <a:pt x="41" y="369"/>
                    <a:pt x="47" y="366"/>
                    <a:pt x="53" y="363"/>
                  </a:cubicBezTo>
                  <a:cubicBezTo>
                    <a:pt x="55" y="366"/>
                    <a:pt x="57" y="369"/>
                    <a:pt x="59" y="372"/>
                  </a:cubicBezTo>
                  <a:cubicBezTo>
                    <a:pt x="54" y="376"/>
                    <a:pt x="48" y="381"/>
                    <a:pt x="47" y="382"/>
                  </a:cubicBezTo>
                  <a:cubicBezTo>
                    <a:pt x="46" y="383"/>
                    <a:pt x="46" y="384"/>
                    <a:pt x="46" y="385"/>
                  </a:cubicBezTo>
                  <a:cubicBezTo>
                    <a:pt x="45" y="387"/>
                    <a:pt x="46" y="388"/>
                    <a:pt x="47" y="389"/>
                  </a:cubicBezTo>
                  <a:cubicBezTo>
                    <a:pt x="47" y="390"/>
                    <a:pt x="49" y="391"/>
                    <a:pt x="50" y="391"/>
                  </a:cubicBezTo>
                  <a:cubicBezTo>
                    <a:pt x="51" y="391"/>
                    <a:pt x="52" y="391"/>
                    <a:pt x="53" y="390"/>
                  </a:cubicBezTo>
                  <a:cubicBezTo>
                    <a:pt x="55" y="390"/>
                    <a:pt x="61" y="386"/>
                    <a:pt x="67" y="383"/>
                  </a:cubicBezTo>
                  <a:cubicBezTo>
                    <a:pt x="69" y="385"/>
                    <a:pt x="71" y="388"/>
                    <a:pt x="73" y="391"/>
                  </a:cubicBezTo>
                  <a:cubicBezTo>
                    <a:pt x="68" y="395"/>
                    <a:pt x="64" y="401"/>
                    <a:pt x="63" y="402"/>
                  </a:cubicBezTo>
                  <a:cubicBezTo>
                    <a:pt x="62" y="403"/>
                    <a:pt x="61" y="404"/>
                    <a:pt x="61" y="405"/>
                  </a:cubicBezTo>
                  <a:cubicBezTo>
                    <a:pt x="61" y="407"/>
                    <a:pt x="62" y="408"/>
                    <a:pt x="63" y="409"/>
                  </a:cubicBezTo>
                  <a:cubicBezTo>
                    <a:pt x="64" y="410"/>
                    <a:pt x="65" y="410"/>
                    <a:pt x="66" y="411"/>
                  </a:cubicBezTo>
                  <a:cubicBezTo>
                    <a:pt x="67" y="411"/>
                    <a:pt x="69" y="411"/>
                    <a:pt x="70" y="410"/>
                  </a:cubicBezTo>
                  <a:cubicBezTo>
                    <a:pt x="71" y="409"/>
                    <a:pt x="77" y="404"/>
                    <a:pt x="82" y="401"/>
                  </a:cubicBezTo>
                  <a:cubicBezTo>
                    <a:pt x="84" y="403"/>
                    <a:pt x="87" y="406"/>
                    <a:pt x="89" y="408"/>
                  </a:cubicBezTo>
                  <a:cubicBezTo>
                    <a:pt x="85" y="413"/>
                    <a:pt x="81" y="419"/>
                    <a:pt x="80" y="420"/>
                  </a:cubicBezTo>
                  <a:cubicBezTo>
                    <a:pt x="79" y="421"/>
                    <a:pt x="79" y="422"/>
                    <a:pt x="79" y="424"/>
                  </a:cubicBezTo>
                  <a:cubicBezTo>
                    <a:pt x="79" y="425"/>
                    <a:pt x="80" y="426"/>
                    <a:pt x="81" y="427"/>
                  </a:cubicBezTo>
                  <a:cubicBezTo>
                    <a:pt x="82" y="428"/>
                    <a:pt x="83" y="428"/>
                    <a:pt x="84" y="428"/>
                  </a:cubicBezTo>
                  <a:cubicBezTo>
                    <a:pt x="86" y="428"/>
                    <a:pt x="87" y="428"/>
                    <a:pt x="88" y="427"/>
                  </a:cubicBezTo>
                  <a:cubicBezTo>
                    <a:pt x="89" y="426"/>
                    <a:pt x="94" y="421"/>
                    <a:pt x="99" y="417"/>
                  </a:cubicBezTo>
                  <a:cubicBezTo>
                    <a:pt x="102" y="419"/>
                    <a:pt x="104" y="421"/>
                    <a:pt x="107" y="423"/>
                  </a:cubicBezTo>
                  <a:cubicBezTo>
                    <a:pt x="104" y="429"/>
                    <a:pt x="100" y="435"/>
                    <a:pt x="99" y="436"/>
                  </a:cubicBezTo>
                  <a:cubicBezTo>
                    <a:pt x="99" y="437"/>
                    <a:pt x="98" y="439"/>
                    <a:pt x="99" y="440"/>
                  </a:cubicBezTo>
                  <a:cubicBezTo>
                    <a:pt x="99" y="441"/>
                    <a:pt x="100" y="442"/>
                    <a:pt x="101" y="443"/>
                  </a:cubicBezTo>
                  <a:cubicBezTo>
                    <a:pt x="102" y="444"/>
                    <a:pt x="103" y="444"/>
                    <a:pt x="104" y="444"/>
                  </a:cubicBezTo>
                  <a:cubicBezTo>
                    <a:pt x="106" y="444"/>
                    <a:pt x="107" y="444"/>
                    <a:pt x="108" y="443"/>
                  </a:cubicBezTo>
                  <a:cubicBezTo>
                    <a:pt x="109" y="441"/>
                    <a:pt x="113" y="436"/>
                    <a:pt x="118" y="431"/>
                  </a:cubicBezTo>
                  <a:cubicBezTo>
                    <a:pt x="121" y="433"/>
                    <a:pt x="123" y="435"/>
                    <a:pt x="126" y="437"/>
                  </a:cubicBezTo>
                  <a:cubicBezTo>
                    <a:pt x="124" y="443"/>
                    <a:pt x="121" y="449"/>
                    <a:pt x="120" y="450"/>
                  </a:cubicBezTo>
                  <a:cubicBezTo>
                    <a:pt x="119" y="452"/>
                    <a:pt x="119" y="453"/>
                    <a:pt x="120" y="454"/>
                  </a:cubicBezTo>
                  <a:cubicBezTo>
                    <a:pt x="120" y="455"/>
                    <a:pt x="121" y="456"/>
                    <a:pt x="122" y="457"/>
                  </a:cubicBezTo>
                  <a:cubicBezTo>
                    <a:pt x="123" y="458"/>
                    <a:pt x="125" y="458"/>
                    <a:pt x="126" y="458"/>
                  </a:cubicBezTo>
                  <a:cubicBezTo>
                    <a:pt x="127" y="458"/>
                    <a:pt x="128" y="457"/>
                    <a:pt x="129" y="456"/>
                  </a:cubicBezTo>
                  <a:cubicBezTo>
                    <a:pt x="130" y="455"/>
                    <a:pt x="134" y="449"/>
                    <a:pt x="138" y="443"/>
                  </a:cubicBezTo>
                  <a:cubicBezTo>
                    <a:pt x="141" y="445"/>
                    <a:pt x="144" y="447"/>
                    <a:pt x="147" y="448"/>
                  </a:cubicBezTo>
                  <a:cubicBezTo>
                    <a:pt x="145" y="454"/>
                    <a:pt x="143" y="461"/>
                    <a:pt x="142" y="462"/>
                  </a:cubicBezTo>
                  <a:cubicBezTo>
                    <a:pt x="142" y="464"/>
                    <a:pt x="142" y="465"/>
                    <a:pt x="142" y="466"/>
                  </a:cubicBezTo>
                  <a:cubicBezTo>
                    <a:pt x="143" y="467"/>
                    <a:pt x="144" y="468"/>
                    <a:pt x="145" y="469"/>
                  </a:cubicBezTo>
                  <a:cubicBezTo>
                    <a:pt x="146" y="469"/>
                    <a:pt x="148" y="469"/>
                    <a:pt x="149" y="469"/>
                  </a:cubicBezTo>
                  <a:cubicBezTo>
                    <a:pt x="150" y="469"/>
                    <a:pt x="151" y="468"/>
                    <a:pt x="152" y="467"/>
                  </a:cubicBezTo>
                  <a:cubicBezTo>
                    <a:pt x="152" y="465"/>
                    <a:pt x="156" y="459"/>
                    <a:pt x="159" y="454"/>
                  </a:cubicBezTo>
                  <a:cubicBezTo>
                    <a:pt x="162" y="455"/>
                    <a:pt x="166" y="456"/>
                    <a:pt x="169" y="457"/>
                  </a:cubicBezTo>
                  <a:cubicBezTo>
                    <a:pt x="167" y="464"/>
                    <a:pt x="166" y="471"/>
                    <a:pt x="165" y="472"/>
                  </a:cubicBezTo>
                  <a:cubicBezTo>
                    <a:pt x="165" y="473"/>
                    <a:pt x="165" y="475"/>
                    <a:pt x="166" y="476"/>
                  </a:cubicBezTo>
                  <a:cubicBezTo>
                    <a:pt x="167" y="477"/>
                    <a:pt x="168" y="478"/>
                    <a:pt x="169" y="478"/>
                  </a:cubicBezTo>
                  <a:cubicBezTo>
                    <a:pt x="170" y="478"/>
                    <a:pt x="172" y="478"/>
                    <a:pt x="173" y="478"/>
                  </a:cubicBezTo>
                  <a:cubicBezTo>
                    <a:pt x="174" y="477"/>
                    <a:pt x="175" y="476"/>
                    <a:pt x="175" y="475"/>
                  </a:cubicBezTo>
                  <a:cubicBezTo>
                    <a:pt x="176" y="474"/>
                    <a:pt x="179" y="467"/>
                    <a:pt x="182" y="461"/>
                  </a:cubicBezTo>
                  <a:cubicBezTo>
                    <a:pt x="185" y="462"/>
                    <a:pt x="188" y="463"/>
                    <a:pt x="191" y="464"/>
                  </a:cubicBezTo>
                  <a:cubicBezTo>
                    <a:pt x="191" y="470"/>
                    <a:pt x="190" y="478"/>
                    <a:pt x="190" y="479"/>
                  </a:cubicBezTo>
                  <a:cubicBezTo>
                    <a:pt x="189" y="480"/>
                    <a:pt x="190" y="482"/>
                    <a:pt x="191" y="483"/>
                  </a:cubicBezTo>
                  <a:cubicBezTo>
                    <a:pt x="191" y="484"/>
                    <a:pt x="192" y="484"/>
                    <a:pt x="194" y="485"/>
                  </a:cubicBezTo>
                  <a:cubicBezTo>
                    <a:pt x="195" y="485"/>
                    <a:pt x="196" y="485"/>
                    <a:pt x="198" y="484"/>
                  </a:cubicBezTo>
                  <a:cubicBezTo>
                    <a:pt x="199" y="483"/>
                    <a:pt x="199" y="482"/>
                    <a:pt x="200" y="481"/>
                  </a:cubicBezTo>
                  <a:cubicBezTo>
                    <a:pt x="200" y="480"/>
                    <a:pt x="202" y="473"/>
                    <a:pt x="204" y="467"/>
                  </a:cubicBezTo>
                  <a:cubicBezTo>
                    <a:pt x="208" y="467"/>
                    <a:pt x="211" y="468"/>
                    <a:pt x="214" y="468"/>
                  </a:cubicBezTo>
                  <a:cubicBezTo>
                    <a:pt x="214" y="475"/>
                    <a:pt x="214" y="482"/>
                    <a:pt x="214" y="483"/>
                  </a:cubicBezTo>
                  <a:cubicBezTo>
                    <a:pt x="214" y="485"/>
                    <a:pt x="215" y="486"/>
                    <a:pt x="216" y="487"/>
                  </a:cubicBezTo>
                  <a:cubicBezTo>
                    <a:pt x="217" y="488"/>
                    <a:pt x="218" y="488"/>
                    <a:pt x="219" y="489"/>
                  </a:cubicBezTo>
                  <a:cubicBezTo>
                    <a:pt x="220" y="489"/>
                    <a:pt x="222" y="488"/>
                    <a:pt x="223" y="488"/>
                  </a:cubicBezTo>
                  <a:cubicBezTo>
                    <a:pt x="224" y="487"/>
                    <a:pt x="224" y="486"/>
                    <a:pt x="225" y="485"/>
                  </a:cubicBezTo>
                  <a:cubicBezTo>
                    <a:pt x="225" y="483"/>
                    <a:pt x="227" y="476"/>
                    <a:pt x="228" y="470"/>
                  </a:cubicBezTo>
                  <a:cubicBezTo>
                    <a:pt x="231" y="470"/>
                    <a:pt x="235" y="470"/>
                    <a:pt x="238" y="470"/>
                  </a:cubicBezTo>
                  <a:cubicBezTo>
                    <a:pt x="239" y="477"/>
                    <a:pt x="239" y="484"/>
                    <a:pt x="239" y="485"/>
                  </a:cubicBezTo>
                  <a:cubicBezTo>
                    <a:pt x="239" y="487"/>
                    <a:pt x="240" y="488"/>
                    <a:pt x="241" y="489"/>
                  </a:cubicBezTo>
                  <a:cubicBezTo>
                    <a:pt x="242" y="489"/>
                    <a:pt x="243" y="490"/>
                    <a:pt x="245" y="490"/>
                  </a:cubicBezTo>
                  <a:cubicBezTo>
                    <a:pt x="246" y="490"/>
                    <a:pt x="247" y="489"/>
                    <a:pt x="248" y="489"/>
                  </a:cubicBezTo>
                  <a:cubicBezTo>
                    <a:pt x="249" y="488"/>
                    <a:pt x="250" y="487"/>
                    <a:pt x="250" y="485"/>
                  </a:cubicBezTo>
                  <a:cubicBezTo>
                    <a:pt x="250" y="484"/>
                    <a:pt x="251" y="477"/>
                    <a:pt x="251" y="470"/>
                  </a:cubicBezTo>
                  <a:cubicBezTo>
                    <a:pt x="255" y="470"/>
                    <a:pt x="258" y="470"/>
                    <a:pt x="262" y="470"/>
                  </a:cubicBezTo>
                  <a:cubicBezTo>
                    <a:pt x="263" y="476"/>
                    <a:pt x="264" y="483"/>
                    <a:pt x="264" y="485"/>
                  </a:cubicBezTo>
                  <a:cubicBezTo>
                    <a:pt x="265" y="486"/>
                    <a:pt x="266" y="487"/>
                    <a:pt x="267" y="488"/>
                  </a:cubicBezTo>
                  <a:cubicBezTo>
                    <a:pt x="268" y="488"/>
                    <a:pt x="269" y="489"/>
                    <a:pt x="270" y="489"/>
                  </a:cubicBezTo>
                  <a:cubicBezTo>
                    <a:pt x="272" y="488"/>
                    <a:pt x="273" y="488"/>
                    <a:pt x="274" y="487"/>
                  </a:cubicBezTo>
                  <a:cubicBezTo>
                    <a:pt x="274" y="486"/>
                    <a:pt x="275" y="485"/>
                    <a:pt x="275" y="483"/>
                  </a:cubicBezTo>
                  <a:cubicBezTo>
                    <a:pt x="275" y="482"/>
                    <a:pt x="275" y="475"/>
                    <a:pt x="275" y="468"/>
                  </a:cubicBezTo>
                  <a:cubicBezTo>
                    <a:pt x="278" y="468"/>
                    <a:pt x="282" y="467"/>
                    <a:pt x="285" y="467"/>
                  </a:cubicBezTo>
                  <a:cubicBezTo>
                    <a:pt x="287" y="473"/>
                    <a:pt x="289" y="480"/>
                    <a:pt x="289" y="481"/>
                  </a:cubicBezTo>
                  <a:cubicBezTo>
                    <a:pt x="290" y="482"/>
                    <a:pt x="291" y="483"/>
                    <a:pt x="292" y="484"/>
                  </a:cubicBezTo>
                  <a:cubicBezTo>
                    <a:pt x="293" y="485"/>
                    <a:pt x="294" y="485"/>
                    <a:pt x="295" y="485"/>
                  </a:cubicBezTo>
                  <a:cubicBezTo>
                    <a:pt x="297" y="484"/>
                    <a:pt x="298" y="484"/>
                    <a:pt x="299" y="483"/>
                  </a:cubicBezTo>
                  <a:cubicBezTo>
                    <a:pt x="299" y="482"/>
                    <a:pt x="300" y="480"/>
                    <a:pt x="300" y="479"/>
                  </a:cubicBezTo>
                  <a:cubicBezTo>
                    <a:pt x="300" y="478"/>
                    <a:pt x="299" y="470"/>
                    <a:pt x="298" y="464"/>
                  </a:cubicBezTo>
                  <a:cubicBezTo>
                    <a:pt x="301" y="463"/>
                    <a:pt x="305" y="462"/>
                    <a:pt x="308" y="461"/>
                  </a:cubicBezTo>
                  <a:cubicBezTo>
                    <a:pt x="310" y="467"/>
                    <a:pt x="313" y="474"/>
                    <a:pt x="314" y="475"/>
                  </a:cubicBezTo>
                  <a:cubicBezTo>
                    <a:pt x="314" y="476"/>
                    <a:pt x="315" y="477"/>
                    <a:pt x="317" y="478"/>
                  </a:cubicBezTo>
                  <a:cubicBezTo>
                    <a:pt x="318" y="478"/>
                    <a:pt x="319" y="478"/>
                    <a:pt x="320" y="478"/>
                  </a:cubicBezTo>
                  <a:cubicBezTo>
                    <a:pt x="322" y="478"/>
                    <a:pt x="323" y="477"/>
                    <a:pt x="323" y="476"/>
                  </a:cubicBezTo>
                  <a:cubicBezTo>
                    <a:pt x="324" y="475"/>
                    <a:pt x="324" y="473"/>
                    <a:pt x="324" y="472"/>
                  </a:cubicBezTo>
                  <a:cubicBezTo>
                    <a:pt x="324" y="471"/>
                    <a:pt x="322" y="464"/>
                    <a:pt x="321" y="457"/>
                  </a:cubicBezTo>
                  <a:cubicBezTo>
                    <a:pt x="324" y="456"/>
                    <a:pt x="327" y="455"/>
                    <a:pt x="330" y="454"/>
                  </a:cubicBezTo>
                  <a:cubicBezTo>
                    <a:pt x="333" y="459"/>
                    <a:pt x="337" y="465"/>
                    <a:pt x="338" y="467"/>
                  </a:cubicBezTo>
                  <a:cubicBezTo>
                    <a:pt x="338" y="468"/>
                    <a:pt x="339" y="469"/>
                    <a:pt x="341" y="469"/>
                  </a:cubicBezTo>
                  <a:cubicBezTo>
                    <a:pt x="342" y="469"/>
                    <a:pt x="343" y="469"/>
                    <a:pt x="344" y="469"/>
                  </a:cubicBezTo>
                  <a:cubicBezTo>
                    <a:pt x="345" y="468"/>
                    <a:pt x="346" y="467"/>
                    <a:pt x="347" y="466"/>
                  </a:cubicBezTo>
                  <a:cubicBezTo>
                    <a:pt x="347" y="465"/>
                    <a:pt x="348" y="464"/>
                    <a:pt x="347" y="462"/>
                  </a:cubicBezTo>
                  <a:cubicBezTo>
                    <a:pt x="347" y="461"/>
                    <a:pt x="344" y="454"/>
                    <a:pt x="342" y="448"/>
                  </a:cubicBezTo>
                  <a:cubicBezTo>
                    <a:pt x="345" y="447"/>
                    <a:pt x="348" y="445"/>
                    <a:pt x="351" y="443"/>
                  </a:cubicBezTo>
                  <a:cubicBezTo>
                    <a:pt x="355" y="449"/>
                    <a:pt x="359" y="455"/>
                    <a:pt x="360" y="456"/>
                  </a:cubicBezTo>
                  <a:cubicBezTo>
                    <a:pt x="361" y="457"/>
                    <a:pt x="362" y="458"/>
                    <a:pt x="363" y="458"/>
                  </a:cubicBezTo>
                  <a:cubicBezTo>
                    <a:pt x="365" y="458"/>
                    <a:pt x="366" y="458"/>
                    <a:pt x="367" y="457"/>
                  </a:cubicBezTo>
                  <a:cubicBezTo>
                    <a:pt x="368" y="456"/>
                    <a:pt x="369" y="455"/>
                    <a:pt x="369" y="454"/>
                  </a:cubicBezTo>
                  <a:cubicBezTo>
                    <a:pt x="370" y="453"/>
                    <a:pt x="370" y="452"/>
                    <a:pt x="369" y="450"/>
                  </a:cubicBezTo>
                  <a:cubicBezTo>
                    <a:pt x="369" y="449"/>
                    <a:pt x="366" y="443"/>
                    <a:pt x="363" y="437"/>
                  </a:cubicBezTo>
                  <a:cubicBezTo>
                    <a:pt x="366" y="435"/>
                    <a:pt x="369" y="433"/>
                    <a:pt x="371" y="431"/>
                  </a:cubicBezTo>
                  <a:cubicBezTo>
                    <a:pt x="376" y="436"/>
                    <a:pt x="381" y="441"/>
                    <a:pt x="382" y="443"/>
                  </a:cubicBezTo>
                  <a:cubicBezTo>
                    <a:pt x="382" y="444"/>
                    <a:pt x="384" y="444"/>
                    <a:pt x="385" y="444"/>
                  </a:cubicBezTo>
                  <a:cubicBezTo>
                    <a:pt x="386" y="444"/>
                    <a:pt x="387" y="444"/>
                    <a:pt x="389" y="443"/>
                  </a:cubicBezTo>
                  <a:cubicBezTo>
                    <a:pt x="390" y="442"/>
                    <a:pt x="390" y="441"/>
                    <a:pt x="391" y="440"/>
                  </a:cubicBezTo>
                  <a:cubicBezTo>
                    <a:pt x="391" y="439"/>
                    <a:pt x="391" y="437"/>
                    <a:pt x="390" y="436"/>
                  </a:cubicBezTo>
                  <a:cubicBezTo>
                    <a:pt x="389" y="435"/>
                    <a:pt x="386" y="429"/>
                    <a:pt x="382" y="423"/>
                  </a:cubicBezTo>
                  <a:cubicBezTo>
                    <a:pt x="385" y="421"/>
                    <a:pt x="388" y="419"/>
                    <a:pt x="390" y="417"/>
                  </a:cubicBezTo>
                  <a:cubicBezTo>
                    <a:pt x="395" y="421"/>
                    <a:pt x="400" y="426"/>
                    <a:pt x="401" y="427"/>
                  </a:cubicBezTo>
                  <a:cubicBezTo>
                    <a:pt x="402" y="428"/>
                    <a:pt x="404" y="428"/>
                    <a:pt x="405" y="428"/>
                  </a:cubicBezTo>
                  <a:cubicBezTo>
                    <a:pt x="406" y="428"/>
                    <a:pt x="407" y="428"/>
                    <a:pt x="408" y="427"/>
                  </a:cubicBezTo>
                  <a:cubicBezTo>
                    <a:pt x="409" y="426"/>
                    <a:pt x="410" y="425"/>
                    <a:pt x="410" y="424"/>
                  </a:cubicBezTo>
                  <a:cubicBezTo>
                    <a:pt x="410" y="422"/>
                    <a:pt x="410" y="421"/>
                    <a:pt x="409" y="420"/>
                  </a:cubicBezTo>
                  <a:cubicBezTo>
                    <a:pt x="408" y="419"/>
                    <a:pt x="404" y="413"/>
                    <a:pt x="400" y="408"/>
                  </a:cubicBezTo>
                  <a:cubicBezTo>
                    <a:pt x="403" y="406"/>
                    <a:pt x="405" y="403"/>
                    <a:pt x="407" y="401"/>
                  </a:cubicBezTo>
                  <a:cubicBezTo>
                    <a:pt x="413" y="404"/>
                    <a:pt x="418" y="409"/>
                    <a:pt x="420" y="410"/>
                  </a:cubicBezTo>
                  <a:cubicBezTo>
                    <a:pt x="421" y="411"/>
                    <a:pt x="422" y="411"/>
                    <a:pt x="423" y="411"/>
                  </a:cubicBezTo>
                  <a:cubicBezTo>
                    <a:pt x="424" y="410"/>
                    <a:pt x="426" y="410"/>
                    <a:pt x="427" y="409"/>
                  </a:cubicBezTo>
                  <a:cubicBezTo>
                    <a:pt x="427" y="408"/>
                    <a:pt x="428" y="407"/>
                    <a:pt x="428" y="405"/>
                  </a:cubicBezTo>
                  <a:cubicBezTo>
                    <a:pt x="428" y="404"/>
                    <a:pt x="428" y="403"/>
                    <a:pt x="427" y="402"/>
                  </a:cubicBezTo>
                  <a:cubicBezTo>
                    <a:pt x="426" y="401"/>
                    <a:pt x="421" y="395"/>
                    <a:pt x="416" y="391"/>
                  </a:cubicBezTo>
                  <a:cubicBezTo>
                    <a:pt x="419" y="388"/>
                    <a:pt x="421" y="385"/>
                    <a:pt x="423" y="383"/>
                  </a:cubicBezTo>
                  <a:cubicBezTo>
                    <a:pt x="428" y="386"/>
                    <a:pt x="435" y="390"/>
                    <a:pt x="436" y="390"/>
                  </a:cubicBezTo>
                  <a:cubicBezTo>
                    <a:pt x="437" y="391"/>
                    <a:pt x="438" y="391"/>
                    <a:pt x="440" y="391"/>
                  </a:cubicBezTo>
                  <a:cubicBezTo>
                    <a:pt x="441" y="391"/>
                    <a:pt x="442" y="390"/>
                    <a:pt x="443" y="389"/>
                  </a:cubicBezTo>
                  <a:cubicBezTo>
                    <a:pt x="443" y="388"/>
                    <a:pt x="444" y="387"/>
                    <a:pt x="444" y="385"/>
                  </a:cubicBezTo>
                  <a:cubicBezTo>
                    <a:pt x="444" y="384"/>
                    <a:pt x="443" y="383"/>
                    <a:pt x="442" y="382"/>
                  </a:cubicBezTo>
                  <a:cubicBezTo>
                    <a:pt x="441" y="381"/>
                    <a:pt x="436" y="376"/>
                    <a:pt x="431" y="372"/>
                  </a:cubicBezTo>
                  <a:cubicBezTo>
                    <a:pt x="433" y="369"/>
                    <a:pt x="434" y="366"/>
                    <a:pt x="436" y="363"/>
                  </a:cubicBezTo>
                  <a:cubicBezTo>
                    <a:pt x="442" y="366"/>
                    <a:pt x="449" y="369"/>
                    <a:pt x="450" y="370"/>
                  </a:cubicBezTo>
                  <a:cubicBezTo>
                    <a:pt x="451" y="370"/>
                    <a:pt x="453" y="370"/>
                    <a:pt x="454" y="370"/>
                  </a:cubicBezTo>
                  <a:cubicBezTo>
                    <a:pt x="455" y="369"/>
                    <a:pt x="456" y="368"/>
                    <a:pt x="457" y="367"/>
                  </a:cubicBezTo>
                  <a:cubicBezTo>
                    <a:pt x="457" y="366"/>
                    <a:pt x="457" y="365"/>
                    <a:pt x="457" y="364"/>
                  </a:cubicBezTo>
                  <a:cubicBezTo>
                    <a:pt x="457" y="362"/>
                    <a:pt x="456" y="361"/>
                    <a:pt x="455" y="360"/>
                  </a:cubicBezTo>
                  <a:cubicBezTo>
                    <a:pt x="454" y="360"/>
                    <a:pt x="448" y="355"/>
                    <a:pt x="443" y="352"/>
                  </a:cubicBezTo>
                  <a:cubicBezTo>
                    <a:pt x="445" y="349"/>
                    <a:pt x="446" y="346"/>
                    <a:pt x="448" y="343"/>
                  </a:cubicBezTo>
                  <a:cubicBezTo>
                    <a:pt x="454" y="345"/>
                    <a:pt x="461" y="347"/>
                    <a:pt x="462" y="347"/>
                  </a:cubicBezTo>
                  <a:cubicBezTo>
                    <a:pt x="463" y="348"/>
                    <a:pt x="465" y="348"/>
                    <a:pt x="466" y="347"/>
                  </a:cubicBezTo>
                  <a:cubicBezTo>
                    <a:pt x="467" y="347"/>
                    <a:pt x="468" y="346"/>
                    <a:pt x="468" y="344"/>
                  </a:cubicBezTo>
                  <a:cubicBezTo>
                    <a:pt x="469" y="343"/>
                    <a:pt x="469" y="342"/>
                    <a:pt x="468" y="341"/>
                  </a:cubicBezTo>
                  <a:cubicBezTo>
                    <a:pt x="468" y="340"/>
                    <a:pt x="467" y="338"/>
                    <a:pt x="466" y="338"/>
                  </a:cubicBezTo>
                  <a:cubicBezTo>
                    <a:pt x="465" y="337"/>
                    <a:pt x="459" y="334"/>
                    <a:pt x="453" y="330"/>
                  </a:cubicBezTo>
                  <a:cubicBezTo>
                    <a:pt x="454" y="327"/>
                    <a:pt x="456" y="324"/>
                    <a:pt x="457" y="321"/>
                  </a:cubicBezTo>
                  <a:cubicBezTo>
                    <a:pt x="463" y="322"/>
                    <a:pt x="470" y="324"/>
                    <a:pt x="471" y="324"/>
                  </a:cubicBezTo>
                  <a:cubicBezTo>
                    <a:pt x="473" y="324"/>
                    <a:pt x="474" y="324"/>
                    <a:pt x="475" y="323"/>
                  </a:cubicBezTo>
                  <a:cubicBezTo>
                    <a:pt x="476" y="323"/>
                    <a:pt x="477" y="322"/>
                    <a:pt x="477" y="321"/>
                  </a:cubicBezTo>
                  <a:cubicBezTo>
                    <a:pt x="478" y="319"/>
                    <a:pt x="478" y="318"/>
                    <a:pt x="477" y="317"/>
                  </a:cubicBezTo>
                  <a:cubicBezTo>
                    <a:pt x="477" y="316"/>
                    <a:pt x="476" y="315"/>
                    <a:pt x="475" y="314"/>
                  </a:cubicBezTo>
                  <a:cubicBezTo>
                    <a:pt x="473" y="313"/>
                    <a:pt x="467" y="311"/>
                    <a:pt x="461" y="308"/>
                  </a:cubicBezTo>
                  <a:cubicBezTo>
                    <a:pt x="462" y="305"/>
                    <a:pt x="463" y="301"/>
                    <a:pt x="463" y="298"/>
                  </a:cubicBezTo>
                  <a:cubicBezTo>
                    <a:pt x="470" y="299"/>
                    <a:pt x="477" y="300"/>
                    <a:pt x="478" y="300"/>
                  </a:cubicBezTo>
                  <a:cubicBezTo>
                    <a:pt x="480" y="300"/>
                    <a:pt x="481" y="300"/>
                    <a:pt x="482" y="299"/>
                  </a:cubicBezTo>
                  <a:cubicBezTo>
                    <a:pt x="483" y="298"/>
                    <a:pt x="484" y="297"/>
                    <a:pt x="484" y="296"/>
                  </a:cubicBezTo>
                  <a:cubicBezTo>
                    <a:pt x="484" y="294"/>
                    <a:pt x="484" y="293"/>
                    <a:pt x="484" y="292"/>
                  </a:cubicBezTo>
                  <a:cubicBezTo>
                    <a:pt x="483" y="291"/>
                    <a:pt x="482" y="290"/>
                    <a:pt x="481" y="290"/>
                  </a:cubicBezTo>
                  <a:cubicBezTo>
                    <a:pt x="479" y="289"/>
                    <a:pt x="472" y="287"/>
                    <a:pt x="466" y="285"/>
                  </a:cubicBezTo>
                  <a:cubicBezTo>
                    <a:pt x="467" y="282"/>
                    <a:pt x="467" y="278"/>
                    <a:pt x="468" y="275"/>
                  </a:cubicBezTo>
                  <a:cubicBezTo>
                    <a:pt x="474" y="275"/>
                    <a:pt x="481" y="275"/>
                    <a:pt x="483" y="275"/>
                  </a:cubicBezTo>
                  <a:cubicBezTo>
                    <a:pt x="484" y="275"/>
                    <a:pt x="485" y="275"/>
                    <a:pt x="486" y="274"/>
                  </a:cubicBezTo>
                  <a:cubicBezTo>
                    <a:pt x="487" y="273"/>
                    <a:pt x="488" y="272"/>
                    <a:pt x="488" y="270"/>
                  </a:cubicBezTo>
                  <a:cubicBezTo>
                    <a:pt x="488" y="269"/>
                    <a:pt x="488" y="268"/>
                    <a:pt x="487" y="267"/>
                  </a:cubicBezTo>
                  <a:cubicBezTo>
                    <a:pt x="486" y="266"/>
                    <a:pt x="485" y="265"/>
                    <a:pt x="484" y="265"/>
                  </a:cubicBezTo>
                  <a:cubicBezTo>
                    <a:pt x="483" y="264"/>
                    <a:pt x="476" y="263"/>
                    <a:pt x="469" y="262"/>
                  </a:cubicBezTo>
                  <a:cubicBezTo>
                    <a:pt x="469" y="258"/>
                    <a:pt x="470" y="255"/>
                    <a:pt x="470" y="252"/>
                  </a:cubicBezTo>
                  <a:cubicBezTo>
                    <a:pt x="476" y="251"/>
                    <a:pt x="483" y="250"/>
                    <a:pt x="485" y="250"/>
                  </a:cubicBezTo>
                  <a:close/>
                  <a:moveTo>
                    <a:pt x="245" y="440"/>
                  </a:moveTo>
                  <a:cubicBezTo>
                    <a:pt x="137" y="440"/>
                    <a:pt x="50" y="353"/>
                    <a:pt x="50" y="245"/>
                  </a:cubicBezTo>
                  <a:cubicBezTo>
                    <a:pt x="50" y="137"/>
                    <a:pt x="137" y="49"/>
                    <a:pt x="245" y="49"/>
                  </a:cubicBezTo>
                  <a:cubicBezTo>
                    <a:pt x="352" y="49"/>
                    <a:pt x="440" y="137"/>
                    <a:pt x="440" y="245"/>
                  </a:cubicBezTo>
                  <a:cubicBezTo>
                    <a:pt x="440" y="353"/>
                    <a:pt x="352" y="440"/>
                    <a:pt x="245" y="440"/>
                  </a:cubicBezTo>
                  <a:close/>
                </a:path>
              </a:pathLst>
            </a:custGeom>
            <a:solidFill>
              <a:srgbClr val="BBBCBC"/>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1" name="Freeform 557">
              <a:extLst>
                <a:ext uri="{FF2B5EF4-FFF2-40B4-BE49-F238E27FC236}">
                  <a16:creationId xmlns:a16="http://schemas.microsoft.com/office/drawing/2014/main" id="{DA7F9A5E-EEFB-4B67-A3DA-D36DF47CBCE4}"/>
                </a:ext>
              </a:extLst>
            </p:cNvPr>
            <p:cNvSpPr>
              <a:spLocks noEditPoints="1"/>
            </p:cNvSpPr>
            <p:nvPr/>
          </p:nvSpPr>
          <p:spPr bwMode="auto">
            <a:xfrm>
              <a:off x="886250" y="3999392"/>
              <a:ext cx="609644" cy="609644"/>
            </a:xfrm>
            <a:custGeom>
              <a:avLst/>
              <a:gdLst>
                <a:gd name="T0" fmla="*/ 54 w 246"/>
                <a:gd name="T1" fmla="*/ 245 h 245"/>
                <a:gd name="T2" fmla="*/ 0 w 246"/>
                <a:gd name="T3" fmla="*/ 192 h 245"/>
                <a:gd name="T4" fmla="*/ 0 w 246"/>
                <a:gd name="T5" fmla="*/ 85 h 245"/>
                <a:gd name="T6" fmla="*/ 11 w 246"/>
                <a:gd name="T7" fmla="*/ 74 h 245"/>
                <a:gd name="T8" fmla="*/ 22 w 246"/>
                <a:gd name="T9" fmla="*/ 85 h 245"/>
                <a:gd name="T10" fmla="*/ 22 w 246"/>
                <a:gd name="T11" fmla="*/ 192 h 245"/>
                <a:gd name="T12" fmla="*/ 54 w 246"/>
                <a:gd name="T13" fmla="*/ 224 h 245"/>
                <a:gd name="T14" fmla="*/ 86 w 246"/>
                <a:gd name="T15" fmla="*/ 192 h 245"/>
                <a:gd name="T16" fmla="*/ 54 w 246"/>
                <a:gd name="T17" fmla="*/ 160 h 245"/>
                <a:gd name="T18" fmla="*/ 43 w 246"/>
                <a:gd name="T19" fmla="*/ 149 h 245"/>
                <a:gd name="T20" fmla="*/ 54 w 246"/>
                <a:gd name="T21" fmla="*/ 138 h 245"/>
                <a:gd name="T22" fmla="*/ 107 w 246"/>
                <a:gd name="T23" fmla="*/ 192 h 245"/>
                <a:gd name="T24" fmla="*/ 54 w 246"/>
                <a:gd name="T25" fmla="*/ 245 h 245"/>
                <a:gd name="T26" fmla="*/ 171 w 246"/>
                <a:gd name="T27" fmla="*/ 192 h 245"/>
                <a:gd name="T28" fmla="*/ 54 w 246"/>
                <a:gd name="T29" fmla="*/ 74 h 245"/>
                <a:gd name="T30" fmla="*/ 43 w 246"/>
                <a:gd name="T31" fmla="*/ 85 h 245"/>
                <a:gd name="T32" fmla="*/ 54 w 246"/>
                <a:gd name="T33" fmla="*/ 96 h 245"/>
                <a:gd name="T34" fmla="*/ 150 w 246"/>
                <a:gd name="T35" fmla="*/ 192 h 245"/>
                <a:gd name="T36" fmla="*/ 160 w 246"/>
                <a:gd name="T37" fmla="*/ 202 h 245"/>
                <a:gd name="T38" fmla="*/ 171 w 246"/>
                <a:gd name="T39" fmla="*/ 192 h 245"/>
                <a:gd name="T40" fmla="*/ 246 w 246"/>
                <a:gd name="T41" fmla="*/ 192 h 245"/>
                <a:gd name="T42" fmla="*/ 54 w 246"/>
                <a:gd name="T43" fmla="*/ 0 h 245"/>
                <a:gd name="T44" fmla="*/ 43 w 246"/>
                <a:gd name="T45" fmla="*/ 10 h 245"/>
                <a:gd name="T46" fmla="*/ 54 w 246"/>
                <a:gd name="T47" fmla="*/ 21 h 245"/>
                <a:gd name="T48" fmla="*/ 224 w 246"/>
                <a:gd name="T49" fmla="*/ 192 h 245"/>
                <a:gd name="T50" fmla="*/ 235 w 246"/>
                <a:gd name="T51" fmla="*/ 202 h 245"/>
                <a:gd name="T52" fmla="*/ 246 w 246"/>
                <a:gd name="T53" fmla="*/ 1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6" h="245">
                  <a:moveTo>
                    <a:pt x="54" y="245"/>
                  </a:moveTo>
                  <a:cubicBezTo>
                    <a:pt x="24" y="245"/>
                    <a:pt x="0" y="221"/>
                    <a:pt x="0" y="192"/>
                  </a:cubicBezTo>
                  <a:cubicBezTo>
                    <a:pt x="0" y="85"/>
                    <a:pt x="0" y="85"/>
                    <a:pt x="0" y="85"/>
                  </a:cubicBezTo>
                  <a:cubicBezTo>
                    <a:pt x="0" y="79"/>
                    <a:pt x="5" y="74"/>
                    <a:pt x="11" y="74"/>
                  </a:cubicBezTo>
                  <a:cubicBezTo>
                    <a:pt x="17" y="74"/>
                    <a:pt x="22" y="79"/>
                    <a:pt x="22" y="85"/>
                  </a:cubicBezTo>
                  <a:cubicBezTo>
                    <a:pt x="22" y="192"/>
                    <a:pt x="22" y="192"/>
                    <a:pt x="22" y="192"/>
                  </a:cubicBezTo>
                  <a:cubicBezTo>
                    <a:pt x="22" y="209"/>
                    <a:pt x="36" y="224"/>
                    <a:pt x="54" y="224"/>
                  </a:cubicBezTo>
                  <a:cubicBezTo>
                    <a:pt x="71" y="224"/>
                    <a:pt x="86" y="209"/>
                    <a:pt x="86" y="192"/>
                  </a:cubicBezTo>
                  <a:cubicBezTo>
                    <a:pt x="86" y="174"/>
                    <a:pt x="71" y="160"/>
                    <a:pt x="54" y="160"/>
                  </a:cubicBezTo>
                  <a:cubicBezTo>
                    <a:pt x="48" y="160"/>
                    <a:pt x="43" y="155"/>
                    <a:pt x="43" y="149"/>
                  </a:cubicBezTo>
                  <a:cubicBezTo>
                    <a:pt x="43" y="143"/>
                    <a:pt x="48" y="138"/>
                    <a:pt x="54" y="138"/>
                  </a:cubicBezTo>
                  <a:cubicBezTo>
                    <a:pt x="83" y="138"/>
                    <a:pt x="107" y="162"/>
                    <a:pt x="107" y="192"/>
                  </a:cubicBezTo>
                  <a:cubicBezTo>
                    <a:pt x="107" y="221"/>
                    <a:pt x="83" y="245"/>
                    <a:pt x="54" y="245"/>
                  </a:cubicBezTo>
                  <a:close/>
                  <a:moveTo>
                    <a:pt x="171" y="192"/>
                  </a:moveTo>
                  <a:cubicBezTo>
                    <a:pt x="171" y="127"/>
                    <a:pt x="118" y="74"/>
                    <a:pt x="54" y="74"/>
                  </a:cubicBezTo>
                  <a:cubicBezTo>
                    <a:pt x="48" y="74"/>
                    <a:pt x="43" y="79"/>
                    <a:pt x="43" y="85"/>
                  </a:cubicBezTo>
                  <a:cubicBezTo>
                    <a:pt x="43" y="91"/>
                    <a:pt x="48" y="96"/>
                    <a:pt x="54" y="96"/>
                  </a:cubicBezTo>
                  <a:cubicBezTo>
                    <a:pt x="107" y="96"/>
                    <a:pt x="150" y="139"/>
                    <a:pt x="150" y="192"/>
                  </a:cubicBezTo>
                  <a:cubicBezTo>
                    <a:pt x="150" y="198"/>
                    <a:pt x="154" y="202"/>
                    <a:pt x="160" y="202"/>
                  </a:cubicBezTo>
                  <a:cubicBezTo>
                    <a:pt x="166" y="202"/>
                    <a:pt x="171" y="198"/>
                    <a:pt x="171" y="192"/>
                  </a:cubicBezTo>
                  <a:close/>
                  <a:moveTo>
                    <a:pt x="246" y="192"/>
                  </a:moveTo>
                  <a:cubicBezTo>
                    <a:pt x="246" y="86"/>
                    <a:pt x="160" y="0"/>
                    <a:pt x="54" y="0"/>
                  </a:cubicBezTo>
                  <a:cubicBezTo>
                    <a:pt x="48" y="0"/>
                    <a:pt x="43" y="4"/>
                    <a:pt x="43" y="10"/>
                  </a:cubicBezTo>
                  <a:cubicBezTo>
                    <a:pt x="43" y="16"/>
                    <a:pt x="48" y="21"/>
                    <a:pt x="54" y="21"/>
                  </a:cubicBezTo>
                  <a:cubicBezTo>
                    <a:pt x="148" y="21"/>
                    <a:pt x="224" y="98"/>
                    <a:pt x="224" y="192"/>
                  </a:cubicBezTo>
                  <a:cubicBezTo>
                    <a:pt x="224" y="198"/>
                    <a:pt x="229" y="202"/>
                    <a:pt x="235" y="202"/>
                  </a:cubicBezTo>
                  <a:cubicBezTo>
                    <a:pt x="241" y="202"/>
                    <a:pt x="246" y="198"/>
                    <a:pt x="246" y="192"/>
                  </a:cubicBezTo>
                  <a:close/>
                </a:path>
              </a:pathLst>
            </a:custGeom>
            <a:solidFill>
              <a:srgbClr val="A7A8A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12" name="Group 211">
            <a:extLst>
              <a:ext uri="{FF2B5EF4-FFF2-40B4-BE49-F238E27FC236}">
                <a16:creationId xmlns:a16="http://schemas.microsoft.com/office/drawing/2014/main" id="{4612A0F2-DFC7-471C-BAB2-D2A876291813}"/>
              </a:ext>
            </a:extLst>
          </p:cNvPr>
          <p:cNvGrpSpPr/>
          <p:nvPr/>
        </p:nvGrpSpPr>
        <p:grpSpPr>
          <a:xfrm>
            <a:off x="1465478" y="5404893"/>
            <a:ext cx="420520" cy="420520"/>
            <a:chOff x="1348931" y="5010659"/>
            <a:chExt cx="420520" cy="420520"/>
          </a:xfrm>
        </p:grpSpPr>
        <p:sp>
          <p:nvSpPr>
            <p:cNvPr id="213" name="Freeform 23">
              <a:extLst>
                <a:ext uri="{FF2B5EF4-FFF2-40B4-BE49-F238E27FC236}">
                  <a16:creationId xmlns:a16="http://schemas.microsoft.com/office/drawing/2014/main" id="{66165908-C851-4E70-90D7-4E64FDDF08F2}"/>
                </a:ext>
              </a:extLst>
            </p:cNvPr>
            <p:cNvSpPr>
              <a:spLocks noEditPoints="1"/>
            </p:cNvSpPr>
            <p:nvPr/>
          </p:nvSpPr>
          <p:spPr bwMode="auto">
            <a:xfrm>
              <a:off x="1348931" y="5010659"/>
              <a:ext cx="420520" cy="420520"/>
            </a:xfrm>
            <a:custGeom>
              <a:avLst/>
              <a:gdLst>
                <a:gd name="T0" fmla="*/ 138 w 144"/>
                <a:gd name="T1" fmla="*/ 67 h 144"/>
                <a:gd name="T2" fmla="*/ 137 w 144"/>
                <a:gd name="T3" fmla="*/ 60 h 144"/>
                <a:gd name="T4" fmla="*/ 135 w 144"/>
                <a:gd name="T5" fmla="*/ 53 h 144"/>
                <a:gd name="T6" fmla="*/ 133 w 144"/>
                <a:gd name="T7" fmla="*/ 47 h 144"/>
                <a:gd name="T8" fmla="*/ 130 w 144"/>
                <a:gd name="T9" fmla="*/ 40 h 144"/>
                <a:gd name="T10" fmla="*/ 126 w 144"/>
                <a:gd name="T11" fmla="*/ 34 h 144"/>
                <a:gd name="T12" fmla="*/ 122 w 144"/>
                <a:gd name="T13" fmla="*/ 29 h 144"/>
                <a:gd name="T14" fmla="*/ 117 w 144"/>
                <a:gd name="T15" fmla="*/ 24 h 144"/>
                <a:gd name="T16" fmla="*/ 112 w 144"/>
                <a:gd name="T17" fmla="*/ 19 h 144"/>
                <a:gd name="T18" fmla="*/ 106 w 144"/>
                <a:gd name="T19" fmla="*/ 15 h 144"/>
                <a:gd name="T20" fmla="*/ 100 w 144"/>
                <a:gd name="T21" fmla="*/ 12 h 144"/>
                <a:gd name="T22" fmla="*/ 94 w 144"/>
                <a:gd name="T23" fmla="*/ 9 h 144"/>
                <a:gd name="T24" fmla="*/ 87 w 144"/>
                <a:gd name="T25" fmla="*/ 7 h 144"/>
                <a:gd name="T26" fmla="*/ 81 w 144"/>
                <a:gd name="T27" fmla="*/ 6 h 144"/>
                <a:gd name="T28" fmla="*/ 74 w 144"/>
                <a:gd name="T29" fmla="*/ 6 h 144"/>
                <a:gd name="T30" fmla="*/ 67 w 144"/>
                <a:gd name="T31" fmla="*/ 6 h 144"/>
                <a:gd name="T32" fmla="*/ 60 w 144"/>
                <a:gd name="T33" fmla="*/ 7 h 144"/>
                <a:gd name="T34" fmla="*/ 53 w 144"/>
                <a:gd name="T35" fmla="*/ 8 h 144"/>
                <a:gd name="T36" fmla="*/ 47 w 144"/>
                <a:gd name="T37" fmla="*/ 11 h 144"/>
                <a:gd name="T38" fmla="*/ 40 w 144"/>
                <a:gd name="T39" fmla="*/ 13 h 144"/>
                <a:gd name="T40" fmla="*/ 35 w 144"/>
                <a:gd name="T41" fmla="*/ 17 h 144"/>
                <a:gd name="T42" fmla="*/ 29 w 144"/>
                <a:gd name="T43" fmla="*/ 21 h 144"/>
                <a:gd name="T44" fmla="*/ 24 w 144"/>
                <a:gd name="T45" fmla="*/ 26 h 144"/>
                <a:gd name="T46" fmla="*/ 19 w 144"/>
                <a:gd name="T47" fmla="*/ 31 h 144"/>
                <a:gd name="T48" fmla="*/ 16 w 144"/>
                <a:gd name="T49" fmla="*/ 37 h 144"/>
                <a:gd name="T50" fmla="*/ 12 w 144"/>
                <a:gd name="T51" fmla="*/ 43 h 144"/>
                <a:gd name="T52" fmla="*/ 10 w 144"/>
                <a:gd name="T53" fmla="*/ 49 h 144"/>
                <a:gd name="T54" fmla="*/ 8 w 144"/>
                <a:gd name="T55" fmla="*/ 56 h 144"/>
                <a:gd name="T56" fmla="*/ 6 w 144"/>
                <a:gd name="T57" fmla="*/ 63 h 144"/>
                <a:gd name="T58" fmla="*/ 6 w 144"/>
                <a:gd name="T59" fmla="*/ 70 h 144"/>
                <a:gd name="T60" fmla="*/ 6 w 144"/>
                <a:gd name="T61" fmla="*/ 77 h 144"/>
                <a:gd name="T62" fmla="*/ 7 w 144"/>
                <a:gd name="T63" fmla="*/ 84 h 144"/>
                <a:gd name="T64" fmla="*/ 8 w 144"/>
                <a:gd name="T65" fmla="*/ 90 h 144"/>
                <a:gd name="T66" fmla="*/ 11 w 144"/>
                <a:gd name="T67" fmla="*/ 97 h 144"/>
                <a:gd name="T68" fmla="*/ 14 w 144"/>
                <a:gd name="T69" fmla="*/ 103 h 144"/>
                <a:gd name="T70" fmla="*/ 17 w 144"/>
                <a:gd name="T71" fmla="*/ 109 h 144"/>
                <a:gd name="T72" fmla="*/ 21 w 144"/>
                <a:gd name="T73" fmla="*/ 115 h 144"/>
                <a:gd name="T74" fmla="*/ 26 w 144"/>
                <a:gd name="T75" fmla="*/ 120 h 144"/>
                <a:gd name="T76" fmla="*/ 31 w 144"/>
                <a:gd name="T77" fmla="*/ 124 h 144"/>
                <a:gd name="T78" fmla="*/ 37 w 144"/>
                <a:gd name="T79" fmla="*/ 128 h 144"/>
                <a:gd name="T80" fmla="*/ 43 w 144"/>
                <a:gd name="T81" fmla="*/ 131 h 144"/>
                <a:gd name="T82" fmla="*/ 49 w 144"/>
                <a:gd name="T83" fmla="*/ 134 h 144"/>
                <a:gd name="T84" fmla="*/ 56 w 144"/>
                <a:gd name="T85" fmla="*/ 136 h 144"/>
                <a:gd name="T86" fmla="*/ 63 w 144"/>
                <a:gd name="T87" fmla="*/ 137 h 144"/>
                <a:gd name="T88" fmla="*/ 70 w 144"/>
                <a:gd name="T89" fmla="*/ 138 h 144"/>
                <a:gd name="T90" fmla="*/ 77 w 144"/>
                <a:gd name="T91" fmla="*/ 138 h 144"/>
                <a:gd name="T92" fmla="*/ 83 w 144"/>
                <a:gd name="T93" fmla="*/ 137 h 144"/>
                <a:gd name="T94" fmla="*/ 90 w 144"/>
                <a:gd name="T95" fmla="*/ 135 h 144"/>
                <a:gd name="T96" fmla="*/ 97 w 144"/>
                <a:gd name="T97" fmla="*/ 133 h 144"/>
                <a:gd name="T98" fmla="*/ 103 w 144"/>
                <a:gd name="T99" fmla="*/ 130 h 144"/>
                <a:gd name="T100" fmla="*/ 109 w 144"/>
                <a:gd name="T101" fmla="*/ 126 h 144"/>
                <a:gd name="T102" fmla="*/ 114 w 144"/>
                <a:gd name="T103" fmla="*/ 122 h 144"/>
                <a:gd name="T104" fmla="*/ 120 w 144"/>
                <a:gd name="T105" fmla="*/ 117 h 144"/>
                <a:gd name="T106" fmla="*/ 124 w 144"/>
                <a:gd name="T107" fmla="*/ 112 h 144"/>
                <a:gd name="T108" fmla="*/ 128 w 144"/>
                <a:gd name="T109" fmla="*/ 107 h 144"/>
                <a:gd name="T110" fmla="*/ 131 w 144"/>
                <a:gd name="T111" fmla="*/ 100 h 144"/>
                <a:gd name="T112" fmla="*/ 134 w 144"/>
                <a:gd name="T113" fmla="*/ 94 h 144"/>
                <a:gd name="T114" fmla="*/ 136 w 144"/>
                <a:gd name="T115" fmla="*/ 87 h 144"/>
                <a:gd name="T116" fmla="*/ 137 w 144"/>
                <a:gd name="T117" fmla="*/ 81 h 144"/>
                <a:gd name="T118" fmla="*/ 138 w 144"/>
                <a:gd name="T119" fmla="*/ 7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44">
                  <a:moveTo>
                    <a:pt x="142" y="73"/>
                  </a:moveTo>
                  <a:cubicBezTo>
                    <a:pt x="143" y="73"/>
                    <a:pt x="143" y="73"/>
                    <a:pt x="143" y="73"/>
                  </a:cubicBezTo>
                  <a:cubicBezTo>
                    <a:pt x="143" y="72"/>
                    <a:pt x="144" y="72"/>
                    <a:pt x="144" y="72"/>
                  </a:cubicBezTo>
                  <a:cubicBezTo>
                    <a:pt x="144" y="71"/>
                    <a:pt x="143" y="71"/>
                    <a:pt x="143" y="71"/>
                  </a:cubicBezTo>
                  <a:cubicBezTo>
                    <a:pt x="143" y="70"/>
                    <a:pt x="143" y="70"/>
                    <a:pt x="142" y="70"/>
                  </a:cubicBezTo>
                  <a:cubicBezTo>
                    <a:pt x="142" y="70"/>
                    <a:pt x="140" y="70"/>
                    <a:pt x="138" y="70"/>
                  </a:cubicBezTo>
                  <a:cubicBezTo>
                    <a:pt x="138" y="69"/>
                    <a:pt x="138" y="68"/>
                    <a:pt x="138" y="67"/>
                  </a:cubicBezTo>
                  <a:cubicBezTo>
                    <a:pt x="140" y="66"/>
                    <a:pt x="142" y="66"/>
                    <a:pt x="142" y="66"/>
                  </a:cubicBezTo>
                  <a:cubicBezTo>
                    <a:pt x="142" y="66"/>
                    <a:pt x="143" y="66"/>
                    <a:pt x="143" y="65"/>
                  </a:cubicBezTo>
                  <a:cubicBezTo>
                    <a:pt x="143" y="65"/>
                    <a:pt x="143" y="65"/>
                    <a:pt x="143" y="64"/>
                  </a:cubicBezTo>
                  <a:cubicBezTo>
                    <a:pt x="143" y="64"/>
                    <a:pt x="143" y="63"/>
                    <a:pt x="143" y="63"/>
                  </a:cubicBezTo>
                  <a:cubicBezTo>
                    <a:pt x="142" y="63"/>
                    <a:pt x="142" y="63"/>
                    <a:pt x="142" y="63"/>
                  </a:cubicBezTo>
                  <a:cubicBezTo>
                    <a:pt x="141" y="63"/>
                    <a:pt x="139" y="63"/>
                    <a:pt x="137" y="63"/>
                  </a:cubicBezTo>
                  <a:cubicBezTo>
                    <a:pt x="137" y="62"/>
                    <a:pt x="137" y="61"/>
                    <a:pt x="137" y="60"/>
                  </a:cubicBezTo>
                  <a:cubicBezTo>
                    <a:pt x="139" y="59"/>
                    <a:pt x="141" y="59"/>
                    <a:pt x="141" y="59"/>
                  </a:cubicBezTo>
                  <a:cubicBezTo>
                    <a:pt x="141" y="58"/>
                    <a:pt x="142" y="58"/>
                    <a:pt x="142" y="58"/>
                  </a:cubicBezTo>
                  <a:cubicBezTo>
                    <a:pt x="142" y="58"/>
                    <a:pt x="142" y="57"/>
                    <a:pt x="142" y="57"/>
                  </a:cubicBezTo>
                  <a:cubicBezTo>
                    <a:pt x="142" y="56"/>
                    <a:pt x="142" y="56"/>
                    <a:pt x="141" y="56"/>
                  </a:cubicBezTo>
                  <a:cubicBezTo>
                    <a:pt x="141" y="56"/>
                    <a:pt x="141" y="55"/>
                    <a:pt x="140" y="56"/>
                  </a:cubicBezTo>
                  <a:cubicBezTo>
                    <a:pt x="140" y="56"/>
                    <a:pt x="138" y="56"/>
                    <a:pt x="136" y="56"/>
                  </a:cubicBezTo>
                  <a:cubicBezTo>
                    <a:pt x="136" y="55"/>
                    <a:pt x="135" y="54"/>
                    <a:pt x="135" y="53"/>
                  </a:cubicBezTo>
                  <a:cubicBezTo>
                    <a:pt x="137" y="52"/>
                    <a:pt x="139" y="52"/>
                    <a:pt x="139" y="51"/>
                  </a:cubicBezTo>
                  <a:cubicBezTo>
                    <a:pt x="140" y="51"/>
                    <a:pt x="140" y="51"/>
                    <a:pt x="140" y="51"/>
                  </a:cubicBezTo>
                  <a:cubicBezTo>
                    <a:pt x="140" y="50"/>
                    <a:pt x="140" y="50"/>
                    <a:pt x="140" y="50"/>
                  </a:cubicBezTo>
                  <a:cubicBezTo>
                    <a:pt x="140" y="49"/>
                    <a:pt x="140" y="49"/>
                    <a:pt x="139" y="49"/>
                  </a:cubicBezTo>
                  <a:cubicBezTo>
                    <a:pt x="139" y="48"/>
                    <a:pt x="139" y="48"/>
                    <a:pt x="138" y="48"/>
                  </a:cubicBezTo>
                  <a:cubicBezTo>
                    <a:pt x="138" y="49"/>
                    <a:pt x="136" y="49"/>
                    <a:pt x="134" y="49"/>
                  </a:cubicBezTo>
                  <a:cubicBezTo>
                    <a:pt x="134" y="48"/>
                    <a:pt x="133" y="48"/>
                    <a:pt x="133" y="47"/>
                  </a:cubicBezTo>
                  <a:cubicBezTo>
                    <a:pt x="134" y="46"/>
                    <a:pt x="136" y="45"/>
                    <a:pt x="137" y="44"/>
                  </a:cubicBezTo>
                  <a:cubicBezTo>
                    <a:pt x="137" y="44"/>
                    <a:pt x="137" y="44"/>
                    <a:pt x="137" y="44"/>
                  </a:cubicBezTo>
                  <a:cubicBezTo>
                    <a:pt x="137" y="43"/>
                    <a:pt x="137" y="43"/>
                    <a:pt x="137" y="43"/>
                  </a:cubicBezTo>
                  <a:cubicBezTo>
                    <a:pt x="137" y="42"/>
                    <a:pt x="137" y="42"/>
                    <a:pt x="137" y="42"/>
                  </a:cubicBezTo>
                  <a:cubicBezTo>
                    <a:pt x="136" y="41"/>
                    <a:pt x="136" y="41"/>
                    <a:pt x="136" y="42"/>
                  </a:cubicBezTo>
                  <a:cubicBezTo>
                    <a:pt x="135" y="42"/>
                    <a:pt x="133" y="42"/>
                    <a:pt x="131" y="43"/>
                  </a:cubicBezTo>
                  <a:cubicBezTo>
                    <a:pt x="131" y="42"/>
                    <a:pt x="130" y="41"/>
                    <a:pt x="130" y="40"/>
                  </a:cubicBezTo>
                  <a:cubicBezTo>
                    <a:pt x="132" y="39"/>
                    <a:pt x="133" y="38"/>
                    <a:pt x="134" y="38"/>
                  </a:cubicBezTo>
                  <a:cubicBezTo>
                    <a:pt x="134" y="38"/>
                    <a:pt x="134" y="37"/>
                    <a:pt x="134" y="37"/>
                  </a:cubicBezTo>
                  <a:cubicBezTo>
                    <a:pt x="134" y="36"/>
                    <a:pt x="134" y="36"/>
                    <a:pt x="134" y="36"/>
                  </a:cubicBezTo>
                  <a:cubicBezTo>
                    <a:pt x="134" y="35"/>
                    <a:pt x="133" y="35"/>
                    <a:pt x="133" y="35"/>
                  </a:cubicBezTo>
                  <a:cubicBezTo>
                    <a:pt x="133" y="35"/>
                    <a:pt x="132" y="35"/>
                    <a:pt x="132" y="35"/>
                  </a:cubicBezTo>
                  <a:cubicBezTo>
                    <a:pt x="132" y="35"/>
                    <a:pt x="130" y="36"/>
                    <a:pt x="128" y="37"/>
                  </a:cubicBezTo>
                  <a:cubicBezTo>
                    <a:pt x="127" y="36"/>
                    <a:pt x="127" y="35"/>
                    <a:pt x="126" y="34"/>
                  </a:cubicBezTo>
                  <a:cubicBezTo>
                    <a:pt x="128" y="33"/>
                    <a:pt x="129" y="32"/>
                    <a:pt x="130" y="32"/>
                  </a:cubicBezTo>
                  <a:cubicBezTo>
                    <a:pt x="130" y="31"/>
                    <a:pt x="130" y="31"/>
                    <a:pt x="130" y="31"/>
                  </a:cubicBezTo>
                  <a:cubicBezTo>
                    <a:pt x="130" y="30"/>
                    <a:pt x="130" y="30"/>
                    <a:pt x="130" y="29"/>
                  </a:cubicBezTo>
                  <a:cubicBezTo>
                    <a:pt x="130" y="29"/>
                    <a:pt x="129" y="29"/>
                    <a:pt x="129" y="29"/>
                  </a:cubicBezTo>
                  <a:cubicBezTo>
                    <a:pt x="129" y="29"/>
                    <a:pt x="128" y="29"/>
                    <a:pt x="128" y="29"/>
                  </a:cubicBezTo>
                  <a:cubicBezTo>
                    <a:pt x="128" y="29"/>
                    <a:pt x="126" y="30"/>
                    <a:pt x="124" y="31"/>
                  </a:cubicBezTo>
                  <a:cubicBezTo>
                    <a:pt x="123" y="31"/>
                    <a:pt x="123" y="30"/>
                    <a:pt x="122" y="29"/>
                  </a:cubicBezTo>
                  <a:cubicBezTo>
                    <a:pt x="123" y="28"/>
                    <a:pt x="125" y="26"/>
                    <a:pt x="125" y="26"/>
                  </a:cubicBezTo>
                  <a:cubicBezTo>
                    <a:pt x="125" y="25"/>
                    <a:pt x="126" y="25"/>
                    <a:pt x="125" y="25"/>
                  </a:cubicBezTo>
                  <a:cubicBezTo>
                    <a:pt x="125" y="24"/>
                    <a:pt x="125" y="24"/>
                    <a:pt x="125" y="24"/>
                  </a:cubicBezTo>
                  <a:cubicBezTo>
                    <a:pt x="125" y="23"/>
                    <a:pt x="125" y="23"/>
                    <a:pt x="124" y="23"/>
                  </a:cubicBezTo>
                  <a:cubicBezTo>
                    <a:pt x="124" y="23"/>
                    <a:pt x="123" y="23"/>
                    <a:pt x="123" y="23"/>
                  </a:cubicBezTo>
                  <a:cubicBezTo>
                    <a:pt x="123" y="24"/>
                    <a:pt x="121" y="25"/>
                    <a:pt x="120" y="26"/>
                  </a:cubicBezTo>
                  <a:cubicBezTo>
                    <a:pt x="119" y="25"/>
                    <a:pt x="118" y="25"/>
                    <a:pt x="117" y="24"/>
                  </a:cubicBezTo>
                  <a:cubicBezTo>
                    <a:pt x="118" y="22"/>
                    <a:pt x="120" y="21"/>
                    <a:pt x="120" y="20"/>
                  </a:cubicBezTo>
                  <a:cubicBezTo>
                    <a:pt x="120" y="20"/>
                    <a:pt x="120" y="20"/>
                    <a:pt x="120" y="19"/>
                  </a:cubicBezTo>
                  <a:cubicBezTo>
                    <a:pt x="120" y="19"/>
                    <a:pt x="120" y="19"/>
                    <a:pt x="120" y="18"/>
                  </a:cubicBezTo>
                  <a:cubicBezTo>
                    <a:pt x="120" y="18"/>
                    <a:pt x="119" y="18"/>
                    <a:pt x="119" y="18"/>
                  </a:cubicBezTo>
                  <a:cubicBezTo>
                    <a:pt x="118" y="18"/>
                    <a:pt x="118" y="18"/>
                    <a:pt x="118" y="18"/>
                  </a:cubicBezTo>
                  <a:cubicBezTo>
                    <a:pt x="117" y="19"/>
                    <a:pt x="116" y="20"/>
                    <a:pt x="114" y="21"/>
                  </a:cubicBezTo>
                  <a:cubicBezTo>
                    <a:pt x="114" y="21"/>
                    <a:pt x="113" y="20"/>
                    <a:pt x="112" y="19"/>
                  </a:cubicBezTo>
                  <a:cubicBezTo>
                    <a:pt x="113" y="18"/>
                    <a:pt x="114" y="16"/>
                    <a:pt x="114" y="16"/>
                  </a:cubicBezTo>
                  <a:cubicBezTo>
                    <a:pt x="115" y="15"/>
                    <a:pt x="115" y="15"/>
                    <a:pt x="115" y="14"/>
                  </a:cubicBezTo>
                  <a:cubicBezTo>
                    <a:pt x="114" y="14"/>
                    <a:pt x="114" y="14"/>
                    <a:pt x="114" y="13"/>
                  </a:cubicBezTo>
                  <a:cubicBezTo>
                    <a:pt x="114" y="13"/>
                    <a:pt x="113" y="13"/>
                    <a:pt x="113" y="13"/>
                  </a:cubicBezTo>
                  <a:cubicBezTo>
                    <a:pt x="113" y="13"/>
                    <a:pt x="112" y="13"/>
                    <a:pt x="112" y="14"/>
                  </a:cubicBezTo>
                  <a:cubicBezTo>
                    <a:pt x="112" y="14"/>
                    <a:pt x="110" y="16"/>
                    <a:pt x="109" y="17"/>
                  </a:cubicBezTo>
                  <a:cubicBezTo>
                    <a:pt x="108" y="16"/>
                    <a:pt x="107" y="16"/>
                    <a:pt x="106" y="15"/>
                  </a:cubicBezTo>
                  <a:cubicBezTo>
                    <a:pt x="107" y="14"/>
                    <a:pt x="108" y="12"/>
                    <a:pt x="108" y="11"/>
                  </a:cubicBezTo>
                  <a:cubicBezTo>
                    <a:pt x="108" y="11"/>
                    <a:pt x="108" y="11"/>
                    <a:pt x="108" y="10"/>
                  </a:cubicBezTo>
                  <a:cubicBezTo>
                    <a:pt x="108" y="10"/>
                    <a:pt x="108" y="10"/>
                    <a:pt x="108" y="9"/>
                  </a:cubicBezTo>
                  <a:cubicBezTo>
                    <a:pt x="107" y="9"/>
                    <a:pt x="107" y="9"/>
                    <a:pt x="107" y="9"/>
                  </a:cubicBezTo>
                  <a:cubicBezTo>
                    <a:pt x="106" y="9"/>
                    <a:pt x="106" y="9"/>
                    <a:pt x="106" y="10"/>
                  </a:cubicBezTo>
                  <a:cubicBezTo>
                    <a:pt x="105" y="10"/>
                    <a:pt x="104" y="12"/>
                    <a:pt x="103" y="13"/>
                  </a:cubicBezTo>
                  <a:cubicBezTo>
                    <a:pt x="102" y="13"/>
                    <a:pt x="101" y="13"/>
                    <a:pt x="100" y="12"/>
                  </a:cubicBezTo>
                  <a:cubicBezTo>
                    <a:pt x="101" y="10"/>
                    <a:pt x="102" y="8"/>
                    <a:pt x="102" y="8"/>
                  </a:cubicBezTo>
                  <a:cubicBezTo>
                    <a:pt x="102" y="8"/>
                    <a:pt x="102" y="7"/>
                    <a:pt x="102" y="7"/>
                  </a:cubicBezTo>
                  <a:cubicBezTo>
                    <a:pt x="102" y="6"/>
                    <a:pt x="101" y="6"/>
                    <a:pt x="101" y="6"/>
                  </a:cubicBezTo>
                  <a:cubicBezTo>
                    <a:pt x="101" y="6"/>
                    <a:pt x="100" y="6"/>
                    <a:pt x="100" y="6"/>
                  </a:cubicBezTo>
                  <a:cubicBezTo>
                    <a:pt x="100" y="6"/>
                    <a:pt x="99" y="6"/>
                    <a:pt x="99" y="7"/>
                  </a:cubicBezTo>
                  <a:cubicBezTo>
                    <a:pt x="99" y="7"/>
                    <a:pt x="98" y="9"/>
                    <a:pt x="97" y="11"/>
                  </a:cubicBezTo>
                  <a:cubicBezTo>
                    <a:pt x="96" y="10"/>
                    <a:pt x="95" y="10"/>
                    <a:pt x="94" y="9"/>
                  </a:cubicBezTo>
                  <a:cubicBezTo>
                    <a:pt x="94" y="8"/>
                    <a:pt x="95" y="5"/>
                    <a:pt x="95" y="5"/>
                  </a:cubicBezTo>
                  <a:cubicBezTo>
                    <a:pt x="95" y="5"/>
                    <a:pt x="95" y="4"/>
                    <a:pt x="95" y="4"/>
                  </a:cubicBezTo>
                  <a:cubicBezTo>
                    <a:pt x="95" y="4"/>
                    <a:pt x="94" y="3"/>
                    <a:pt x="94" y="3"/>
                  </a:cubicBezTo>
                  <a:cubicBezTo>
                    <a:pt x="94" y="3"/>
                    <a:pt x="93" y="3"/>
                    <a:pt x="93" y="3"/>
                  </a:cubicBezTo>
                  <a:cubicBezTo>
                    <a:pt x="93" y="4"/>
                    <a:pt x="92" y="4"/>
                    <a:pt x="92" y="4"/>
                  </a:cubicBezTo>
                  <a:cubicBezTo>
                    <a:pt x="92" y="5"/>
                    <a:pt x="91" y="6"/>
                    <a:pt x="90" y="8"/>
                  </a:cubicBezTo>
                  <a:cubicBezTo>
                    <a:pt x="89" y="8"/>
                    <a:pt x="88" y="8"/>
                    <a:pt x="87" y="7"/>
                  </a:cubicBezTo>
                  <a:cubicBezTo>
                    <a:pt x="88" y="5"/>
                    <a:pt x="88" y="3"/>
                    <a:pt x="88" y="3"/>
                  </a:cubicBezTo>
                  <a:cubicBezTo>
                    <a:pt x="88" y="3"/>
                    <a:pt x="88" y="2"/>
                    <a:pt x="88" y="2"/>
                  </a:cubicBezTo>
                  <a:cubicBezTo>
                    <a:pt x="87" y="2"/>
                    <a:pt x="87" y="1"/>
                    <a:pt x="87" y="1"/>
                  </a:cubicBezTo>
                  <a:cubicBezTo>
                    <a:pt x="86" y="1"/>
                    <a:pt x="86" y="1"/>
                    <a:pt x="86" y="1"/>
                  </a:cubicBezTo>
                  <a:cubicBezTo>
                    <a:pt x="85" y="2"/>
                    <a:pt x="85" y="2"/>
                    <a:pt x="85" y="2"/>
                  </a:cubicBezTo>
                  <a:cubicBezTo>
                    <a:pt x="85" y="3"/>
                    <a:pt x="84" y="5"/>
                    <a:pt x="83" y="7"/>
                  </a:cubicBezTo>
                  <a:cubicBezTo>
                    <a:pt x="83" y="6"/>
                    <a:pt x="82" y="6"/>
                    <a:pt x="81" y="6"/>
                  </a:cubicBezTo>
                  <a:cubicBezTo>
                    <a:pt x="81" y="4"/>
                    <a:pt x="81" y="2"/>
                    <a:pt x="81" y="2"/>
                  </a:cubicBezTo>
                  <a:cubicBezTo>
                    <a:pt x="81" y="1"/>
                    <a:pt x="81" y="1"/>
                    <a:pt x="80" y="1"/>
                  </a:cubicBezTo>
                  <a:cubicBezTo>
                    <a:pt x="80" y="0"/>
                    <a:pt x="80" y="0"/>
                    <a:pt x="79" y="0"/>
                  </a:cubicBezTo>
                  <a:cubicBezTo>
                    <a:pt x="79" y="0"/>
                    <a:pt x="78" y="0"/>
                    <a:pt x="78" y="0"/>
                  </a:cubicBezTo>
                  <a:cubicBezTo>
                    <a:pt x="78" y="1"/>
                    <a:pt x="78" y="1"/>
                    <a:pt x="78" y="1"/>
                  </a:cubicBezTo>
                  <a:cubicBezTo>
                    <a:pt x="77" y="2"/>
                    <a:pt x="77" y="4"/>
                    <a:pt x="77" y="6"/>
                  </a:cubicBezTo>
                  <a:cubicBezTo>
                    <a:pt x="76" y="6"/>
                    <a:pt x="75" y="6"/>
                    <a:pt x="74" y="6"/>
                  </a:cubicBezTo>
                  <a:cubicBezTo>
                    <a:pt x="74" y="4"/>
                    <a:pt x="73" y="2"/>
                    <a:pt x="73" y="1"/>
                  </a:cubicBezTo>
                  <a:cubicBezTo>
                    <a:pt x="73" y="1"/>
                    <a:pt x="73" y="0"/>
                    <a:pt x="73" y="0"/>
                  </a:cubicBezTo>
                  <a:cubicBezTo>
                    <a:pt x="73" y="0"/>
                    <a:pt x="72" y="0"/>
                    <a:pt x="72" y="0"/>
                  </a:cubicBezTo>
                  <a:cubicBezTo>
                    <a:pt x="71" y="0"/>
                    <a:pt x="71" y="0"/>
                    <a:pt x="71" y="0"/>
                  </a:cubicBezTo>
                  <a:cubicBezTo>
                    <a:pt x="70" y="0"/>
                    <a:pt x="70" y="1"/>
                    <a:pt x="70" y="1"/>
                  </a:cubicBezTo>
                  <a:cubicBezTo>
                    <a:pt x="70" y="2"/>
                    <a:pt x="70" y="4"/>
                    <a:pt x="70" y="6"/>
                  </a:cubicBezTo>
                  <a:cubicBezTo>
                    <a:pt x="69" y="6"/>
                    <a:pt x="68" y="6"/>
                    <a:pt x="67" y="6"/>
                  </a:cubicBezTo>
                  <a:cubicBezTo>
                    <a:pt x="66" y="4"/>
                    <a:pt x="66" y="2"/>
                    <a:pt x="66" y="1"/>
                  </a:cubicBezTo>
                  <a:cubicBezTo>
                    <a:pt x="66" y="1"/>
                    <a:pt x="66" y="1"/>
                    <a:pt x="65" y="0"/>
                  </a:cubicBezTo>
                  <a:cubicBezTo>
                    <a:pt x="65" y="0"/>
                    <a:pt x="65" y="0"/>
                    <a:pt x="64" y="0"/>
                  </a:cubicBezTo>
                  <a:cubicBezTo>
                    <a:pt x="64" y="0"/>
                    <a:pt x="63" y="0"/>
                    <a:pt x="63" y="1"/>
                  </a:cubicBezTo>
                  <a:cubicBezTo>
                    <a:pt x="63" y="1"/>
                    <a:pt x="63" y="1"/>
                    <a:pt x="63" y="2"/>
                  </a:cubicBezTo>
                  <a:cubicBezTo>
                    <a:pt x="63" y="2"/>
                    <a:pt x="63" y="4"/>
                    <a:pt x="63" y="6"/>
                  </a:cubicBezTo>
                  <a:cubicBezTo>
                    <a:pt x="62" y="6"/>
                    <a:pt x="61" y="6"/>
                    <a:pt x="60" y="7"/>
                  </a:cubicBezTo>
                  <a:cubicBezTo>
                    <a:pt x="59" y="5"/>
                    <a:pt x="59" y="3"/>
                    <a:pt x="59" y="2"/>
                  </a:cubicBezTo>
                  <a:cubicBezTo>
                    <a:pt x="58" y="2"/>
                    <a:pt x="58" y="2"/>
                    <a:pt x="58" y="1"/>
                  </a:cubicBezTo>
                  <a:cubicBezTo>
                    <a:pt x="58" y="1"/>
                    <a:pt x="57" y="1"/>
                    <a:pt x="57" y="1"/>
                  </a:cubicBezTo>
                  <a:cubicBezTo>
                    <a:pt x="56" y="1"/>
                    <a:pt x="56" y="2"/>
                    <a:pt x="56" y="2"/>
                  </a:cubicBezTo>
                  <a:cubicBezTo>
                    <a:pt x="56" y="2"/>
                    <a:pt x="55" y="3"/>
                    <a:pt x="56" y="3"/>
                  </a:cubicBezTo>
                  <a:cubicBezTo>
                    <a:pt x="56" y="3"/>
                    <a:pt x="56" y="5"/>
                    <a:pt x="56" y="7"/>
                  </a:cubicBezTo>
                  <a:cubicBezTo>
                    <a:pt x="55" y="8"/>
                    <a:pt x="54" y="8"/>
                    <a:pt x="53" y="8"/>
                  </a:cubicBezTo>
                  <a:cubicBezTo>
                    <a:pt x="52" y="6"/>
                    <a:pt x="52" y="5"/>
                    <a:pt x="51" y="4"/>
                  </a:cubicBezTo>
                  <a:cubicBezTo>
                    <a:pt x="51" y="4"/>
                    <a:pt x="51" y="4"/>
                    <a:pt x="51" y="3"/>
                  </a:cubicBezTo>
                  <a:cubicBezTo>
                    <a:pt x="50" y="3"/>
                    <a:pt x="50" y="3"/>
                    <a:pt x="50" y="3"/>
                  </a:cubicBezTo>
                  <a:cubicBezTo>
                    <a:pt x="49" y="3"/>
                    <a:pt x="49" y="4"/>
                    <a:pt x="49" y="4"/>
                  </a:cubicBezTo>
                  <a:cubicBezTo>
                    <a:pt x="49" y="4"/>
                    <a:pt x="48" y="5"/>
                    <a:pt x="49" y="5"/>
                  </a:cubicBezTo>
                  <a:cubicBezTo>
                    <a:pt x="49" y="5"/>
                    <a:pt x="49" y="8"/>
                    <a:pt x="49" y="9"/>
                  </a:cubicBezTo>
                  <a:cubicBezTo>
                    <a:pt x="49" y="10"/>
                    <a:pt x="48" y="10"/>
                    <a:pt x="47" y="11"/>
                  </a:cubicBezTo>
                  <a:cubicBezTo>
                    <a:pt x="46" y="9"/>
                    <a:pt x="45" y="7"/>
                    <a:pt x="45" y="7"/>
                  </a:cubicBezTo>
                  <a:cubicBezTo>
                    <a:pt x="44" y="6"/>
                    <a:pt x="44" y="6"/>
                    <a:pt x="44" y="6"/>
                  </a:cubicBezTo>
                  <a:cubicBezTo>
                    <a:pt x="43" y="6"/>
                    <a:pt x="43" y="6"/>
                    <a:pt x="43" y="6"/>
                  </a:cubicBezTo>
                  <a:cubicBezTo>
                    <a:pt x="42" y="6"/>
                    <a:pt x="42" y="6"/>
                    <a:pt x="42" y="7"/>
                  </a:cubicBezTo>
                  <a:cubicBezTo>
                    <a:pt x="42" y="7"/>
                    <a:pt x="42" y="8"/>
                    <a:pt x="42" y="8"/>
                  </a:cubicBezTo>
                  <a:cubicBezTo>
                    <a:pt x="42" y="8"/>
                    <a:pt x="42" y="10"/>
                    <a:pt x="43" y="12"/>
                  </a:cubicBezTo>
                  <a:cubicBezTo>
                    <a:pt x="42" y="13"/>
                    <a:pt x="41" y="13"/>
                    <a:pt x="40" y="13"/>
                  </a:cubicBezTo>
                  <a:cubicBezTo>
                    <a:pt x="39" y="12"/>
                    <a:pt x="38" y="10"/>
                    <a:pt x="38" y="10"/>
                  </a:cubicBezTo>
                  <a:cubicBezTo>
                    <a:pt x="38" y="9"/>
                    <a:pt x="37" y="9"/>
                    <a:pt x="37" y="9"/>
                  </a:cubicBezTo>
                  <a:cubicBezTo>
                    <a:pt x="37" y="9"/>
                    <a:pt x="36" y="9"/>
                    <a:pt x="36" y="9"/>
                  </a:cubicBezTo>
                  <a:cubicBezTo>
                    <a:pt x="35" y="10"/>
                    <a:pt x="35" y="10"/>
                    <a:pt x="35" y="10"/>
                  </a:cubicBezTo>
                  <a:cubicBezTo>
                    <a:pt x="35" y="11"/>
                    <a:pt x="35" y="11"/>
                    <a:pt x="35" y="11"/>
                  </a:cubicBezTo>
                  <a:cubicBezTo>
                    <a:pt x="35" y="12"/>
                    <a:pt x="36" y="14"/>
                    <a:pt x="37" y="15"/>
                  </a:cubicBezTo>
                  <a:cubicBezTo>
                    <a:pt x="36" y="16"/>
                    <a:pt x="35" y="16"/>
                    <a:pt x="35" y="17"/>
                  </a:cubicBezTo>
                  <a:cubicBezTo>
                    <a:pt x="33" y="16"/>
                    <a:pt x="32" y="14"/>
                    <a:pt x="32" y="14"/>
                  </a:cubicBezTo>
                  <a:cubicBezTo>
                    <a:pt x="31" y="13"/>
                    <a:pt x="31" y="13"/>
                    <a:pt x="31" y="13"/>
                  </a:cubicBezTo>
                  <a:cubicBezTo>
                    <a:pt x="30" y="13"/>
                    <a:pt x="30" y="13"/>
                    <a:pt x="30" y="13"/>
                  </a:cubicBezTo>
                  <a:cubicBezTo>
                    <a:pt x="29" y="14"/>
                    <a:pt x="29" y="14"/>
                    <a:pt x="29" y="14"/>
                  </a:cubicBezTo>
                  <a:cubicBezTo>
                    <a:pt x="29" y="15"/>
                    <a:pt x="29" y="15"/>
                    <a:pt x="29" y="16"/>
                  </a:cubicBezTo>
                  <a:cubicBezTo>
                    <a:pt x="29" y="16"/>
                    <a:pt x="30" y="18"/>
                    <a:pt x="31" y="19"/>
                  </a:cubicBezTo>
                  <a:cubicBezTo>
                    <a:pt x="31" y="20"/>
                    <a:pt x="30" y="21"/>
                    <a:pt x="29" y="21"/>
                  </a:cubicBezTo>
                  <a:cubicBezTo>
                    <a:pt x="28" y="20"/>
                    <a:pt x="26" y="19"/>
                    <a:pt x="26" y="18"/>
                  </a:cubicBezTo>
                  <a:cubicBezTo>
                    <a:pt x="25" y="18"/>
                    <a:pt x="25" y="18"/>
                    <a:pt x="25" y="18"/>
                  </a:cubicBezTo>
                  <a:cubicBezTo>
                    <a:pt x="24" y="18"/>
                    <a:pt x="24" y="18"/>
                    <a:pt x="24" y="18"/>
                  </a:cubicBezTo>
                  <a:cubicBezTo>
                    <a:pt x="23" y="19"/>
                    <a:pt x="23" y="19"/>
                    <a:pt x="23" y="19"/>
                  </a:cubicBezTo>
                  <a:cubicBezTo>
                    <a:pt x="23" y="20"/>
                    <a:pt x="23" y="20"/>
                    <a:pt x="23" y="20"/>
                  </a:cubicBezTo>
                  <a:cubicBezTo>
                    <a:pt x="24" y="21"/>
                    <a:pt x="25" y="22"/>
                    <a:pt x="26" y="24"/>
                  </a:cubicBezTo>
                  <a:cubicBezTo>
                    <a:pt x="25" y="25"/>
                    <a:pt x="25" y="25"/>
                    <a:pt x="24" y="26"/>
                  </a:cubicBezTo>
                  <a:cubicBezTo>
                    <a:pt x="22" y="25"/>
                    <a:pt x="21" y="24"/>
                    <a:pt x="20" y="23"/>
                  </a:cubicBezTo>
                  <a:cubicBezTo>
                    <a:pt x="20" y="23"/>
                    <a:pt x="20" y="23"/>
                    <a:pt x="19" y="23"/>
                  </a:cubicBezTo>
                  <a:cubicBezTo>
                    <a:pt x="19" y="23"/>
                    <a:pt x="19" y="23"/>
                    <a:pt x="18" y="24"/>
                  </a:cubicBezTo>
                  <a:cubicBezTo>
                    <a:pt x="18" y="24"/>
                    <a:pt x="18" y="24"/>
                    <a:pt x="18" y="25"/>
                  </a:cubicBezTo>
                  <a:cubicBezTo>
                    <a:pt x="18" y="25"/>
                    <a:pt x="18" y="25"/>
                    <a:pt x="18" y="26"/>
                  </a:cubicBezTo>
                  <a:cubicBezTo>
                    <a:pt x="19" y="26"/>
                    <a:pt x="20" y="28"/>
                    <a:pt x="21" y="29"/>
                  </a:cubicBezTo>
                  <a:cubicBezTo>
                    <a:pt x="21" y="30"/>
                    <a:pt x="20" y="31"/>
                    <a:pt x="19" y="31"/>
                  </a:cubicBezTo>
                  <a:cubicBezTo>
                    <a:pt x="18" y="30"/>
                    <a:pt x="16" y="29"/>
                    <a:pt x="16" y="29"/>
                  </a:cubicBezTo>
                  <a:cubicBezTo>
                    <a:pt x="15" y="29"/>
                    <a:pt x="15" y="29"/>
                    <a:pt x="15" y="29"/>
                  </a:cubicBezTo>
                  <a:cubicBezTo>
                    <a:pt x="14" y="29"/>
                    <a:pt x="14" y="29"/>
                    <a:pt x="14" y="29"/>
                  </a:cubicBezTo>
                  <a:cubicBezTo>
                    <a:pt x="13" y="30"/>
                    <a:pt x="13" y="30"/>
                    <a:pt x="13" y="31"/>
                  </a:cubicBezTo>
                  <a:cubicBezTo>
                    <a:pt x="13" y="31"/>
                    <a:pt x="14" y="31"/>
                    <a:pt x="14" y="32"/>
                  </a:cubicBezTo>
                  <a:cubicBezTo>
                    <a:pt x="14" y="32"/>
                    <a:pt x="16" y="33"/>
                    <a:pt x="17" y="34"/>
                  </a:cubicBezTo>
                  <a:cubicBezTo>
                    <a:pt x="17" y="35"/>
                    <a:pt x="16" y="36"/>
                    <a:pt x="16" y="37"/>
                  </a:cubicBezTo>
                  <a:cubicBezTo>
                    <a:pt x="14" y="36"/>
                    <a:pt x="12" y="35"/>
                    <a:pt x="11" y="35"/>
                  </a:cubicBezTo>
                  <a:cubicBezTo>
                    <a:pt x="11" y="35"/>
                    <a:pt x="11" y="35"/>
                    <a:pt x="10" y="35"/>
                  </a:cubicBezTo>
                  <a:cubicBezTo>
                    <a:pt x="10" y="35"/>
                    <a:pt x="10" y="35"/>
                    <a:pt x="10" y="36"/>
                  </a:cubicBezTo>
                  <a:cubicBezTo>
                    <a:pt x="9" y="36"/>
                    <a:pt x="9" y="36"/>
                    <a:pt x="9" y="37"/>
                  </a:cubicBezTo>
                  <a:cubicBezTo>
                    <a:pt x="9" y="37"/>
                    <a:pt x="10" y="38"/>
                    <a:pt x="10" y="38"/>
                  </a:cubicBezTo>
                  <a:cubicBezTo>
                    <a:pt x="10" y="38"/>
                    <a:pt x="12" y="39"/>
                    <a:pt x="14" y="40"/>
                  </a:cubicBezTo>
                  <a:cubicBezTo>
                    <a:pt x="13" y="41"/>
                    <a:pt x="13" y="42"/>
                    <a:pt x="12" y="43"/>
                  </a:cubicBezTo>
                  <a:cubicBezTo>
                    <a:pt x="10" y="42"/>
                    <a:pt x="8" y="42"/>
                    <a:pt x="8" y="42"/>
                  </a:cubicBezTo>
                  <a:cubicBezTo>
                    <a:pt x="8" y="41"/>
                    <a:pt x="7" y="41"/>
                    <a:pt x="7" y="42"/>
                  </a:cubicBezTo>
                  <a:cubicBezTo>
                    <a:pt x="7" y="42"/>
                    <a:pt x="6" y="42"/>
                    <a:pt x="6" y="43"/>
                  </a:cubicBezTo>
                  <a:cubicBezTo>
                    <a:pt x="6" y="43"/>
                    <a:pt x="6" y="43"/>
                    <a:pt x="6" y="44"/>
                  </a:cubicBezTo>
                  <a:cubicBezTo>
                    <a:pt x="6" y="44"/>
                    <a:pt x="6" y="44"/>
                    <a:pt x="7" y="44"/>
                  </a:cubicBezTo>
                  <a:cubicBezTo>
                    <a:pt x="7" y="45"/>
                    <a:pt x="9" y="46"/>
                    <a:pt x="11" y="47"/>
                  </a:cubicBezTo>
                  <a:cubicBezTo>
                    <a:pt x="10" y="48"/>
                    <a:pt x="10" y="48"/>
                    <a:pt x="10" y="49"/>
                  </a:cubicBezTo>
                  <a:cubicBezTo>
                    <a:pt x="8" y="49"/>
                    <a:pt x="6" y="49"/>
                    <a:pt x="5" y="48"/>
                  </a:cubicBezTo>
                  <a:cubicBezTo>
                    <a:pt x="5" y="48"/>
                    <a:pt x="4" y="48"/>
                    <a:pt x="4" y="49"/>
                  </a:cubicBezTo>
                  <a:cubicBezTo>
                    <a:pt x="4" y="49"/>
                    <a:pt x="4" y="49"/>
                    <a:pt x="3" y="50"/>
                  </a:cubicBezTo>
                  <a:cubicBezTo>
                    <a:pt x="3" y="50"/>
                    <a:pt x="3" y="50"/>
                    <a:pt x="3" y="51"/>
                  </a:cubicBezTo>
                  <a:cubicBezTo>
                    <a:pt x="4" y="51"/>
                    <a:pt x="4" y="51"/>
                    <a:pt x="4" y="51"/>
                  </a:cubicBezTo>
                  <a:cubicBezTo>
                    <a:pt x="5" y="52"/>
                    <a:pt x="7" y="52"/>
                    <a:pt x="8" y="53"/>
                  </a:cubicBezTo>
                  <a:cubicBezTo>
                    <a:pt x="8" y="54"/>
                    <a:pt x="8" y="55"/>
                    <a:pt x="8" y="56"/>
                  </a:cubicBezTo>
                  <a:cubicBezTo>
                    <a:pt x="6" y="56"/>
                    <a:pt x="4" y="56"/>
                    <a:pt x="3" y="56"/>
                  </a:cubicBezTo>
                  <a:cubicBezTo>
                    <a:pt x="3" y="55"/>
                    <a:pt x="2" y="56"/>
                    <a:pt x="2" y="56"/>
                  </a:cubicBezTo>
                  <a:cubicBezTo>
                    <a:pt x="2" y="56"/>
                    <a:pt x="2" y="56"/>
                    <a:pt x="2" y="57"/>
                  </a:cubicBezTo>
                  <a:cubicBezTo>
                    <a:pt x="1" y="57"/>
                    <a:pt x="2" y="58"/>
                    <a:pt x="2" y="58"/>
                  </a:cubicBezTo>
                  <a:cubicBezTo>
                    <a:pt x="2" y="58"/>
                    <a:pt x="2" y="58"/>
                    <a:pt x="2" y="59"/>
                  </a:cubicBezTo>
                  <a:cubicBezTo>
                    <a:pt x="3" y="59"/>
                    <a:pt x="5" y="59"/>
                    <a:pt x="7" y="60"/>
                  </a:cubicBezTo>
                  <a:cubicBezTo>
                    <a:pt x="7" y="61"/>
                    <a:pt x="6" y="62"/>
                    <a:pt x="6" y="63"/>
                  </a:cubicBezTo>
                  <a:cubicBezTo>
                    <a:pt x="4" y="63"/>
                    <a:pt x="2" y="63"/>
                    <a:pt x="2" y="63"/>
                  </a:cubicBezTo>
                  <a:cubicBezTo>
                    <a:pt x="1" y="63"/>
                    <a:pt x="1" y="63"/>
                    <a:pt x="1" y="63"/>
                  </a:cubicBezTo>
                  <a:cubicBezTo>
                    <a:pt x="1" y="63"/>
                    <a:pt x="0" y="64"/>
                    <a:pt x="0" y="64"/>
                  </a:cubicBezTo>
                  <a:cubicBezTo>
                    <a:pt x="0" y="65"/>
                    <a:pt x="0" y="65"/>
                    <a:pt x="1" y="65"/>
                  </a:cubicBezTo>
                  <a:cubicBezTo>
                    <a:pt x="1" y="66"/>
                    <a:pt x="1" y="66"/>
                    <a:pt x="2" y="66"/>
                  </a:cubicBezTo>
                  <a:cubicBezTo>
                    <a:pt x="2" y="66"/>
                    <a:pt x="4" y="66"/>
                    <a:pt x="6" y="67"/>
                  </a:cubicBezTo>
                  <a:cubicBezTo>
                    <a:pt x="6" y="68"/>
                    <a:pt x="6" y="69"/>
                    <a:pt x="6" y="70"/>
                  </a:cubicBezTo>
                  <a:cubicBezTo>
                    <a:pt x="4" y="70"/>
                    <a:pt x="2" y="70"/>
                    <a:pt x="1" y="70"/>
                  </a:cubicBezTo>
                  <a:cubicBezTo>
                    <a:pt x="1" y="70"/>
                    <a:pt x="1" y="70"/>
                    <a:pt x="0" y="71"/>
                  </a:cubicBezTo>
                  <a:cubicBezTo>
                    <a:pt x="0" y="71"/>
                    <a:pt x="0" y="71"/>
                    <a:pt x="0" y="72"/>
                  </a:cubicBezTo>
                  <a:cubicBezTo>
                    <a:pt x="0" y="72"/>
                    <a:pt x="0" y="72"/>
                    <a:pt x="0" y="73"/>
                  </a:cubicBezTo>
                  <a:cubicBezTo>
                    <a:pt x="1" y="73"/>
                    <a:pt x="1" y="73"/>
                    <a:pt x="1" y="73"/>
                  </a:cubicBezTo>
                  <a:cubicBezTo>
                    <a:pt x="2" y="73"/>
                    <a:pt x="4" y="74"/>
                    <a:pt x="6" y="74"/>
                  </a:cubicBezTo>
                  <a:cubicBezTo>
                    <a:pt x="6" y="75"/>
                    <a:pt x="6" y="76"/>
                    <a:pt x="6" y="77"/>
                  </a:cubicBezTo>
                  <a:cubicBezTo>
                    <a:pt x="4" y="77"/>
                    <a:pt x="2" y="78"/>
                    <a:pt x="2" y="78"/>
                  </a:cubicBezTo>
                  <a:cubicBezTo>
                    <a:pt x="1" y="78"/>
                    <a:pt x="1" y="78"/>
                    <a:pt x="1" y="78"/>
                  </a:cubicBezTo>
                  <a:cubicBezTo>
                    <a:pt x="0" y="79"/>
                    <a:pt x="0" y="79"/>
                    <a:pt x="0" y="79"/>
                  </a:cubicBezTo>
                  <a:cubicBezTo>
                    <a:pt x="0" y="80"/>
                    <a:pt x="1" y="80"/>
                    <a:pt x="1" y="80"/>
                  </a:cubicBezTo>
                  <a:cubicBezTo>
                    <a:pt x="1" y="80"/>
                    <a:pt x="1" y="81"/>
                    <a:pt x="2" y="81"/>
                  </a:cubicBezTo>
                  <a:cubicBezTo>
                    <a:pt x="2" y="81"/>
                    <a:pt x="4" y="81"/>
                    <a:pt x="6" y="81"/>
                  </a:cubicBezTo>
                  <a:cubicBezTo>
                    <a:pt x="6" y="82"/>
                    <a:pt x="7" y="83"/>
                    <a:pt x="7" y="84"/>
                  </a:cubicBezTo>
                  <a:cubicBezTo>
                    <a:pt x="5" y="84"/>
                    <a:pt x="3" y="85"/>
                    <a:pt x="2" y="85"/>
                  </a:cubicBezTo>
                  <a:cubicBezTo>
                    <a:pt x="2" y="85"/>
                    <a:pt x="2" y="85"/>
                    <a:pt x="2" y="86"/>
                  </a:cubicBezTo>
                  <a:cubicBezTo>
                    <a:pt x="2" y="86"/>
                    <a:pt x="1" y="86"/>
                    <a:pt x="2" y="87"/>
                  </a:cubicBezTo>
                  <a:cubicBezTo>
                    <a:pt x="2" y="87"/>
                    <a:pt x="2" y="87"/>
                    <a:pt x="2" y="88"/>
                  </a:cubicBezTo>
                  <a:cubicBezTo>
                    <a:pt x="2" y="88"/>
                    <a:pt x="3" y="88"/>
                    <a:pt x="3" y="88"/>
                  </a:cubicBezTo>
                  <a:cubicBezTo>
                    <a:pt x="4" y="88"/>
                    <a:pt x="6" y="88"/>
                    <a:pt x="8" y="87"/>
                  </a:cubicBezTo>
                  <a:cubicBezTo>
                    <a:pt x="8" y="88"/>
                    <a:pt x="8" y="89"/>
                    <a:pt x="8" y="90"/>
                  </a:cubicBezTo>
                  <a:cubicBezTo>
                    <a:pt x="7" y="91"/>
                    <a:pt x="5" y="92"/>
                    <a:pt x="4" y="92"/>
                  </a:cubicBezTo>
                  <a:cubicBezTo>
                    <a:pt x="4" y="92"/>
                    <a:pt x="4" y="92"/>
                    <a:pt x="3" y="93"/>
                  </a:cubicBezTo>
                  <a:cubicBezTo>
                    <a:pt x="3" y="93"/>
                    <a:pt x="3" y="94"/>
                    <a:pt x="3" y="94"/>
                  </a:cubicBezTo>
                  <a:cubicBezTo>
                    <a:pt x="4" y="94"/>
                    <a:pt x="4" y="95"/>
                    <a:pt x="4" y="95"/>
                  </a:cubicBezTo>
                  <a:cubicBezTo>
                    <a:pt x="4" y="95"/>
                    <a:pt x="5" y="95"/>
                    <a:pt x="5" y="95"/>
                  </a:cubicBezTo>
                  <a:cubicBezTo>
                    <a:pt x="6" y="95"/>
                    <a:pt x="8" y="94"/>
                    <a:pt x="10" y="94"/>
                  </a:cubicBezTo>
                  <a:cubicBezTo>
                    <a:pt x="10" y="95"/>
                    <a:pt x="10" y="96"/>
                    <a:pt x="11" y="97"/>
                  </a:cubicBezTo>
                  <a:cubicBezTo>
                    <a:pt x="9" y="98"/>
                    <a:pt x="7" y="99"/>
                    <a:pt x="7" y="99"/>
                  </a:cubicBezTo>
                  <a:cubicBezTo>
                    <a:pt x="6" y="99"/>
                    <a:pt x="6" y="100"/>
                    <a:pt x="6" y="100"/>
                  </a:cubicBezTo>
                  <a:cubicBezTo>
                    <a:pt x="6" y="100"/>
                    <a:pt x="6" y="101"/>
                    <a:pt x="6" y="101"/>
                  </a:cubicBezTo>
                  <a:cubicBezTo>
                    <a:pt x="6" y="101"/>
                    <a:pt x="7" y="102"/>
                    <a:pt x="7" y="102"/>
                  </a:cubicBezTo>
                  <a:cubicBezTo>
                    <a:pt x="7" y="102"/>
                    <a:pt x="8" y="102"/>
                    <a:pt x="8" y="102"/>
                  </a:cubicBezTo>
                  <a:cubicBezTo>
                    <a:pt x="8" y="102"/>
                    <a:pt x="10" y="101"/>
                    <a:pt x="12" y="100"/>
                  </a:cubicBezTo>
                  <a:cubicBezTo>
                    <a:pt x="13" y="101"/>
                    <a:pt x="13" y="102"/>
                    <a:pt x="14" y="103"/>
                  </a:cubicBezTo>
                  <a:cubicBezTo>
                    <a:pt x="12" y="104"/>
                    <a:pt x="10" y="105"/>
                    <a:pt x="10" y="106"/>
                  </a:cubicBezTo>
                  <a:cubicBezTo>
                    <a:pt x="10" y="106"/>
                    <a:pt x="9" y="106"/>
                    <a:pt x="9" y="107"/>
                  </a:cubicBezTo>
                  <a:cubicBezTo>
                    <a:pt x="9" y="107"/>
                    <a:pt x="9" y="107"/>
                    <a:pt x="10" y="108"/>
                  </a:cubicBezTo>
                  <a:cubicBezTo>
                    <a:pt x="10" y="108"/>
                    <a:pt x="10" y="108"/>
                    <a:pt x="10" y="108"/>
                  </a:cubicBezTo>
                  <a:cubicBezTo>
                    <a:pt x="11" y="108"/>
                    <a:pt x="11" y="108"/>
                    <a:pt x="11" y="108"/>
                  </a:cubicBezTo>
                  <a:cubicBezTo>
                    <a:pt x="12" y="108"/>
                    <a:pt x="14" y="107"/>
                    <a:pt x="16" y="107"/>
                  </a:cubicBezTo>
                  <a:cubicBezTo>
                    <a:pt x="16" y="107"/>
                    <a:pt x="17" y="108"/>
                    <a:pt x="17" y="109"/>
                  </a:cubicBezTo>
                  <a:cubicBezTo>
                    <a:pt x="16" y="110"/>
                    <a:pt x="14" y="112"/>
                    <a:pt x="14" y="112"/>
                  </a:cubicBezTo>
                  <a:cubicBezTo>
                    <a:pt x="14" y="112"/>
                    <a:pt x="13" y="113"/>
                    <a:pt x="13" y="113"/>
                  </a:cubicBezTo>
                  <a:cubicBezTo>
                    <a:pt x="13" y="113"/>
                    <a:pt x="13" y="114"/>
                    <a:pt x="14" y="114"/>
                  </a:cubicBezTo>
                  <a:cubicBezTo>
                    <a:pt x="14" y="114"/>
                    <a:pt x="14" y="115"/>
                    <a:pt x="15" y="115"/>
                  </a:cubicBezTo>
                  <a:cubicBezTo>
                    <a:pt x="15" y="115"/>
                    <a:pt x="15" y="115"/>
                    <a:pt x="16" y="114"/>
                  </a:cubicBezTo>
                  <a:cubicBezTo>
                    <a:pt x="16" y="114"/>
                    <a:pt x="18" y="113"/>
                    <a:pt x="19" y="112"/>
                  </a:cubicBezTo>
                  <a:cubicBezTo>
                    <a:pt x="20" y="113"/>
                    <a:pt x="21" y="114"/>
                    <a:pt x="21" y="115"/>
                  </a:cubicBezTo>
                  <a:cubicBezTo>
                    <a:pt x="20" y="116"/>
                    <a:pt x="19" y="118"/>
                    <a:pt x="18" y="118"/>
                  </a:cubicBezTo>
                  <a:cubicBezTo>
                    <a:pt x="18" y="118"/>
                    <a:pt x="18" y="118"/>
                    <a:pt x="18" y="119"/>
                  </a:cubicBezTo>
                  <a:cubicBezTo>
                    <a:pt x="18" y="119"/>
                    <a:pt x="18" y="120"/>
                    <a:pt x="18" y="120"/>
                  </a:cubicBezTo>
                  <a:cubicBezTo>
                    <a:pt x="19" y="120"/>
                    <a:pt x="19" y="120"/>
                    <a:pt x="19" y="120"/>
                  </a:cubicBezTo>
                  <a:cubicBezTo>
                    <a:pt x="20" y="120"/>
                    <a:pt x="20" y="120"/>
                    <a:pt x="20" y="120"/>
                  </a:cubicBezTo>
                  <a:cubicBezTo>
                    <a:pt x="21" y="120"/>
                    <a:pt x="22" y="119"/>
                    <a:pt x="24" y="117"/>
                  </a:cubicBezTo>
                  <a:cubicBezTo>
                    <a:pt x="25" y="118"/>
                    <a:pt x="25" y="119"/>
                    <a:pt x="26" y="120"/>
                  </a:cubicBezTo>
                  <a:cubicBezTo>
                    <a:pt x="25" y="121"/>
                    <a:pt x="24" y="123"/>
                    <a:pt x="23" y="123"/>
                  </a:cubicBezTo>
                  <a:cubicBezTo>
                    <a:pt x="23" y="123"/>
                    <a:pt x="23" y="124"/>
                    <a:pt x="23" y="124"/>
                  </a:cubicBezTo>
                  <a:cubicBezTo>
                    <a:pt x="23" y="125"/>
                    <a:pt x="23" y="125"/>
                    <a:pt x="24" y="125"/>
                  </a:cubicBezTo>
                  <a:cubicBezTo>
                    <a:pt x="24" y="125"/>
                    <a:pt x="24" y="126"/>
                    <a:pt x="25" y="126"/>
                  </a:cubicBezTo>
                  <a:cubicBezTo>
                    <a:pt x="25" y="126"/>
                    <a:pt x="25" y="126"/>
                    <a:pt x="26" y="125"/>
                  </a:cubicBezTo>
                  <a:cubicBezTo>
                    <a:pt x="26" y="125"/>
                    <a:pt x="28" y="123"/>
                    <a:pt x="29" y="122"/>
                  </a:cubicBezTo>
                  <a:cubicBezTo>
                    <a:pt x="30" y="123"/>
                    <a:pt x="31" y="123"/>
                    <a:pt x="31" y="124"/>
                  </a:cubicBezTo>
                  <a:cubicBezTo>
                    <a:pt x="30" y="126"/>
                    <a:pt x="29" y="128"/>
                    <a:pt x="29" y="128"/>
                  </a:cubicBezTo>
                  <a:cubicBezTo>
                    <a:pt x="29" y="128"/>
                    <a:pt x="29" y="129"/>
                    <a:pt x="29" y="129"/>
                  </a:cubicBezTo>
                  <a:cubicBezTo>
                    <a:pt x="29" y="129"/>
                    <a:pt x="29" y="130"/>
                    <a:pt x="30" y="130"/>
                  </a:cubicBezTo>
                  <a:cubicBezTo>
                    <a:pt x="30" y="130"/>
                    <a:pt x="30" y="130"/>
                    <a:pt x="31" y="130"/>
                  </a:cubicBezTo>
                  <a:cubicBezTo>
                    <a:pt x="31" y="130"/>
                    <a:pt x="31" y="130"/>
                    <a:pt x="32" y="130"/>
                  </a:cubicBezTo>
                  <a:cubicBezTo>
                    <a:pt x="32" y="129"/>
                    <a:pt x="33" y="128"/>
                    <a:pt x="35" y="126"/>
                  </a:cubicBezTo>
                  <a:cubicBezTo>
                    <a:pt x="35" y="127"/>
                    <a:pt x="36" y="127"/>
                    <a:pt x="37" y="128"/>
                  </a:cubicBezTo>
                  <a:cubicBezTo>
                    <a:pt x="36" y="130"/>
                    <a:pt x="35" y="132"/>
                    <a:pt x="35" y="132"/>
                  </a:cubicBezTo>
                  <a:cubicBezTo>
                    <a:pt x="35" y="132"/>
                    <a:pt x="35" y="133"/>
                    <a:pt x="35" y="133"/>
                  </a:cubicBezTo>
                  <a:cubicBezTo>
                    <a:pt x="35" y="134"/>
                    <a:pt x="35" y="134"/>
                    <a:pt x="36" y="134"/>
                  </a:cubicBezTo>
                  <a:cubicBezTo>
                    <a:pt x="36" y="134"/>
                    <a:pt x="37" y="134"/>
                    <a:pt x="37" y="134"/>
                  </a:cubicBezTo>
                  <a:cubicBezTo>
                    <a:pt x="37" y="134"/>
                    <a:pt x="38" y="134"/>
                    <a:pt x="38" y="134"/>
                  </a:cubicBezTo>
                  <a:cubicBezTo>
                    <a:pt x="38" y="133"/>
                    <a:pt x="39" y="132"/>
                    <a:pt x="40" y="130"/>
                  </a:cubicBezTo>
                  <a:cubicBezTo>
                    <a:pt x="41" y="130"/>
                    <a:pt x="42" y="131"/>
                    <a:pt x="43" y="131"/>
                  </a:cubicBezTo>
                  <a:cubicBezTo>
                    <a:pt x="42" y="133"/>
                    <a:pt x="42" y="135"/>
                    <a:pt x="42" y="136"/>
                  </a:cubicBezTo>
                  <a:cubicBezTo>
                    <a:pt x="42" y="136"/>
                    <a:pt x="42" y="136"/>
                    <a:pt x="42" y="137"/>
                  </a:cubicBezTo>
                  <a:cubicBezTo>
                    <a:pt x="42" y="137"/>
                    <a:pt x="42" y="137"/>
                    <a:pt x="43" y="137"/>
                  </a:cubicBezTo>
                  <a:cubicBezTo>
                    <a:pt x="43" y="138"/>
                    <a:pt x="43" y="138"/>
                    <a:pt x="44" y="138"/>
                  </a:cubicBezTo>
                  <a:cubicBezTo>
                    <a:pt x="44" y="137"/>
                    <a:pt x="44" y="137"/>
                    <a:pt x="45" y="137"/>
                  </a:cubicBezTo>
                  <a:cubicBezTo>
                    <a:pt x="45" y="136"/>
                    <a:pt x="46" y="135"/>
                    <a:pt x="47" y="133"/>
                  </a:cubicBezTo>
                  <a:cubicBezTo>
                    <a:pt x="48" y="133"/>
                    <a:pt x="49" y="134"/>
                    <a:pt x="49" y="134"/>
                  </a:cubicBezTo>
                  <a:cubicBezTo>
                    <a:pt x="49" y="136"/>
                    <a:pt x="49" y="138"/>
                    <a:pt x="49" y="138"/>
                  </a:cubicBezTo>
                  <a:cubicBezTo>
                    <a:pt x="48" y="139"/>
                    <a:pt x="49" y="139"/>
                    <a:pt x="49" y="139"/>
                  </a:cubicBezTo>
                  <a:cubicBezTo>
                    <a:pt x="49" y="140"/>
                    <a:pt x="49" y="140"/>
                    <a:pt x="50" y="140"/>
                  </a:cubicBezTo>
                  <a:cubicBezTo>
                    <a:pt x="50" y="140"/>
                    <a:pt x="50" y="140"/>
                    <a:pt x="51" y="140"/>
                  </a:cubicBezTo>
                  <a:cubicBezTo>
                    <a:pt x="51" y="140"/>
                    <a:pt x="51" y="140"/>
                    <a:pt x="51" y="139"/>
                  </a:cubicBezTo>
                  <a:cubicBezTo>
                    <a:pt x="52" y="139"/>
                    <a:pt x="52" y="137"/>
                    <a:pt x="53" y="135"/>
                  </a:cubicBezTo>
                  <a:cubicBezTo>
                    <a:pt x="54" y="136"/>
                    <a:pt x="55" y="136"/>
                    <a:pt x="56" y="136"/>
                  </a:cubicBezTo>
                  <a:cubicBezTo>
                    <a:pt x="56" y="138"/>
                    <a:pt x="56" y="140"/>
                    <a:pt x="56" y="140"/>
                  </a:cubicBezTo>
                  <a:cubicBezTo>
                    <a:pt x="55" y="141"/>
                    <a:pt x="56" y="141"/>
                    <a:pt x="56" y="142"/>
                  </a:cubicBezTo>
                  <a:cubicBezTo>
                    <a:pt x="56" y="142"/>
                    <a:pt x="56" y="142"/>
                    <a:pt x="57" y="142"/>
                  </a:cubicBezTo>
                  <a:cubicBezTo>
                    <a:pt x="57" y="142"/>
                    <a:pt x="58" y="142"/>
                    <a:pt x="58" y="142"/>
                  </a:cubicBezTo>
                  <a:cubicBezTo>
                    <a:pt x="58" y="142"/>
                    <a:pt x="58" y="141"/>
                    <a:pt x="59" y="141"/>
                  </a:cubicBezTo>
                  <a:cubicBezTo>
                    <a:pt x="59" y="141"/>
                    <a:pt x="59" y="139"/>
                    <a:pt x="60" y="137"/>
                  </a:cubicBezTo>
                  <a:cubicBezTo>
                    <a:pt x="61" y="137"/>
                    <a:pt x="62" y="137"/>
                    <a:pt x="63" y="137"/>
                  </a:cubicBezTo>
                  <a:cubicBezTo>
                    <a:pt x="63" y="139"/>
                    <a:pt x="63" y="141"/>
                    <a:pt x="63" y="142"/>
                  </a:cubicBezTo>
                  <a:cubicBezTo>
                    <a:pt x="63" y="142"/>
                    <a:pt x="63" y="143"/>
                    <a:pt x="63" y="143"/>
                  </a:cubicBezTo>
                  <a:cubicBezTo>
                    <a:pt x="63" y="143"/>
                    <a:pt x="64" y="143"/>
                    <a:pt x="64" y="143"/>
                  </a:cubicBezTo>
                  <a:cubicBezTo>
                    <a:pt x="65" y="143"/>
                    <a:pt x="65" y="143"/>
                    <a:pt x="65" y="143"/>
                  </a:cubicBezTo>
                  <a:cubicBezTo>
                    <a:pt x="66" y="143"/>
                    <a:pt x="66" y="142"/>
                    <a:pt x="66" y="142"/>
                  </a:cubicBezTo>
                  <a:cubicBezTo>
                    <a:pt x="66" y="142"/>
                    <a:pt x="66" y="140"/>
                    <a:pt x="67" y="138"/>
                  </a:cubicBezTo>
                  <a:cubicBezTo>
                    <a:pt x="68" y="138"/>
                    <a:pt x="69" y="138"/>
                    <a:pt x="70" y="138"/>
                  </a:cubicBezTo>
                  <a:cubicBezTo>
                    <a:pt x="70" y="140"/>
                    <a:pt x="70" y="142"/>
                    <a:pt x="70" y="142"/>
                  </a:cubicBezTo>
                  <a:cubicBezTo>
                    <a:pt x="70" y="143"/>
                    <a:pt x="70" y="143"/>
                    <a:pt x="71" y="143"/>
                  </a:cubicBezTo>
                  <a:cubicBezTo>
                    <a:pt x="71" y="143"/>
                    <a:pt x="71" y="144"/>
                    <a:pt x="72" y="144"/>
                  </a:cubicBezTo>
                  <a:cubicBezTo>
                    <a:pt x="72" y="144"/>
                    <a:pt x="73" y="143"/>
                    <a:pt x="73" y="143"/>
                  </a:cubicBezTo>
                  <a:cubicBezTo>
                    <a:pt x="73" y="143"/>
                    <a:pt x="73" y="143"/>
                    <a:pt x="73" y="142"/>
                  </a:cubicBezTo>
                  <a:cubicBezTo>
                    <a:pt x="73" y="142"/>
                    <a:pt x="74" y="140"/>
                    <a:pt x="74" y="138"/>
                  </a:cubicBezTo>
                  <a:cubicBezTo>
                    <a:pt x="75" y="138"/>
                    <a:pt x="76" y="138"/>
                    <a:pt x="77" y="138"/>
                  </a:cubicBezTo>
                  <a:cubicBezTo>
                    <a:pt x="77" y="140"/>
                    <a:pt x="77" y="142"/>
                    <a:pt x="78" y="142"/>
                  </a:cubicBezTo>
                  <a:cubicBezTo>
                    <a:pt x="78" y="142"/>
                    <a:pt x="78" y="143"/>
                    <a:pt x="78" y="143"/>
                  </a:cubicBezTo>
                  <a:cubicBezTo>
                    <a:pt x="78" y="143"/>
                    <a:pt x="79" y="143"/>
                    <a:pt x="79" y="143"/>
                  </a:cubicBezTo>
                  <a:cubicBezTo>
                    <a:pt x="80" y="143"/>
                    <a:pt x="80" y="143"/>
                    <a:pt x="80" y="143"/>
                  </a:cubicBezTo>
                  <a:cubicBezTo>
                    <a:pt x="81" y="143"/>
                    <a:pt x="81" y="142"/>
                    <a:pt x="81" y="142"/>
                  </a:cubicBezTo>
                  <a:cubicBezTo>
                    <a:pt x="81" y="141"/>
                    <a:pt x="81" y="139"/>
                    <a:pt x="81" y="137"/>
                  </a:cubicBezTo>
                  <a:cubicBezTo>
                    <a:pt x="82" y="137"/>
                    <a:pt x="83" y="137"/>
                    <a:pt x="83" y="137"/>
                  </a:cubicBezTo>
                  <a:cubicBezTo>
                    <a:pt x="84" y="139"/>
                    <a:pt x="85" y="141"/>
                    <a:pt x="85" y="141"/>
                  </a:cubicBezTo>
                  <a:cubicBezTo>
                    <a:pt x="85" y="141"/>
                    <a:pt x="85" y="142"/>
                    <a:pt x="86" y="142"/>
                  </a:cubicBezTo>
                  <a:cubicBezTo>
                    <a:pt x="86" y="142"/>
                    <a:pt x="86" y="142"/>
                    <a:pt x="87" y="142"/>
                  </a:cubicBezTo>
                  <a:cubicBezTo>
                    <a:pt x="87" y="142"/>
                    <a:pt x="87" y="142"/>
                    <a:pt x="88" y="142"/>
                  </a:cubicBezTo>
                  <a:cubicBezTo>
                    <a:pt x="88" y="141"/>
                    <a:pt x="88" y="141"/>
                    <a:pt x="88" y="140"/>
                  </a:cubicBezTo>
                  <a:cubicBezTo>
                    <a:pt x="88" y="140"/>
                    <a:pt x="88" y="138"/>
                    <a:pt x="87" y="136"/>
                  </a:cubicBezTo>
                  <a:cubicBezTo>
                    <a:pt x="88" y="136"/>
                    <a:pt x="89" y="136"/>
                    <a:pt x="90" y="135"/>
                  </a:cubicBezTo>
                  <a:cubicBezTo>
                    <a:pt x="91" y="137"/>
                    <a:pt x="92" y="139"/>
                    <a:pt x="92" y="139"/>
                  </a:cubicBezTo>
                  <a:cubicBezTo>
                    <a:pt x="92" y="140"/>
                    <a:pt x="93" y="140"/>
                    <a:pt x="93" y="140"/>
                  </a:cubicBezTo>
                  <a:cubicBezTo>
                    <a:pt x="93" y="140"/>
                    <a:pt x="94" y="140"/>
                    <a:pt x="94" y="140"/>
                  </a:cubicBezTo>
                  <a:cubicBezTo>
                    <a:pt x="94" y="140"/>
                    <a:pt x="95" y="140"/>
                    <a:pt x="95" y="139"/>
                  </a:cubicBezTo>
                  <a:cubicBezTo>
                    <a:pt x="95" y="139"/>
                    <a:pt x="95" y="139"/>
                    <a:pt x="95" y="138"/>
                  </a:cubicBezTo>
                  <a:cubicBezTo>
                    <a:pt x="95" y="138"/>
                    <a:pt x="94" y="136"/>
                    <a:pt x="94" y="134"/>
                  </a:cubicBezTo>
                  <a:cubicBezTo>
                    <a:pt x="95" y="134"/>
                    <a:pt x="96" y="133"/>
                    <a:pt x="97" y="133"/>
                  </a:cubicBezTo>
                  <a:cubicBezTo>
                    <a:pt x="98" y="135"/>
                    <a:pt x="99" y="136"/>
                    <a:pt x="99" y="137"/>
                  </a:cubicBezTo>
                  <a:cubicBezTo>
                    <a:pt x="99" y="137"/>
                    <a:pt x="100" y="137"/>
                    <a:pt x="100" y="138"/>
                  </a:cubicBezTo>
                  <a:cubicBezTo>
                    <a:pt x="100" y="138"/>
                    <a:pt x="101" y="138"/>
                    <a:pt x="101" y="137"/>
                  </a:cubicBezTo>
                  <a:cubicBezTo>
                    <a:pt x="101" y="137"/>
                    <a:pt x="102" y="137"/>
                    <a:pt x="102" y="137"/>
                  </a:cubicBezTo>
                  <a:cubicBezTo>
                    <a:pt x="102" y="136"/>
                    <a:pt x="102" y="136"/>
                    <a:pt x="102" y="136"/>
                  </a:cubicBezTo>
                  <a:cubicBezTo>
                    <a:pt x="102" y="135"/>
                    <a:pt x="101" y="133"/>
                    <a:pt x="100" y="131"/>
                  </a:cubicBezTo>
                  <a:cubicBezTo>
                    <a:pt x="101" y="131"/>
                    <a:pt x="102" y="130"/>
                    <a:pt x="103" y="130"/>
                  </a:cubicBezTo>
                  <a:cubicBezTo>
                    <a:pt x="104" y="132"/>
                    <a:pt x="105" y="133"/>
                    <a:pt x="106" y="134"/>
                  </a:cubicBezTo>
                  <a:cubicBezTo>
                    <a:pt x="106" y="134"/>
                    <a:pt x="106" y="134"/>
                    <a:pt x="107" y="134"/>
                  </a:cubicBezTo>
                  <a:cubicBezTo>
                    <a:pt x="107" y="134"/>
                    <a:pt x="107" y="134"/>
                    <a:pt x="108" y="134"/>
                  </a:cubicBezTo>
                  <a:cubicBezTo>
                    <a:pt x="108" y="134"/>
                    <a:pt x="108" y="134"/>
                    <a:pt x="108" y="133"/>
                  </a:cubicBezTo>
                  <a:cubicBezTo>
                    <a:pt x="108" y="133"/>
                    <a:pt x="108" y="132"/>
                    <a:pt x="108" y="132"/>
                  </a:cubicBezTo>
                  <a:cubicBezTo>
                    <a:pt x="108" y="132"/>
                    <a:pt x="107" y="130"/>
                    <a:pt x="106" y="128"/>
                  </a:cubicBezTo>
                  <a:cubicBezTo>
                    <a:pt x="107" y="127"/>
                    <a:pt x="108" y="127"/>
                    <a:pt x="109" y="126"/>
                  </a:cubicBezTo>
                  <a:cubicBezTo>
                    <a:pt x="110" y="128"/>
                    <a:pt x="112" y="129"/>
                    <a:pt x="112" y="130"/>
                  </a:cubicBezTo>
                  <a:cubicBezTo>
                    <a:pt x="112" y="130"/>
                    <a:pt x="113" y="130"/>
                    <a:pt x="113" y="130"/>
                  </a:cubicBezTo>
                  <a:cubicBezTo>
                    <a:pt x="113" y="130"/>
                    <a:pt x="114" y="130"/>
                    <a:pt x="114" y="130"/>
                  </a:cubicBezTo>
                  <a:cubicBezTo>
                    <a:pt x="114" y="130"/>
                    <a:pt x="114" y="129"/>
                    <a:pt x="115" y="129"/>
                  </a:cubicBezTo>
                  <a:cubicBezTo>
                    <a:pt x="115" y="129"/>
                    <a:pt x="115" y="128"/>
                    <a:pt x="114" y="128"/>
                  </a:cubicBezTo>
                  <a:cubicBezTo>
                    <a:pt x="114" y="128"/>
                    <a:pt x="113" y="126"/>
                    <a:pt x="112" y="124"/>
                  </a:cubicBezTo>
                  <a:cubicBezTo>
                    <a:pt x="113" y="123"/>
                    <a:pt x="114" y="123"/>
                    <a:pt x="114" y="122"/>
                  </a:cubicBezTo>
                  <a:cubicBezTo>
                    <a:pt x="116" y="123"/>
                    <a:pt x="117" y="125"/>
                    <a:pt x="118" y="125"/>
                  </a:cubicBezTo>
                  <a:cubicBezTo>
                    <a:pt x="118" y="126"/>
                    <a:pt x="118" y="126"/>
                    <a:pt x="119" y="126"/>
                  </a:cubicBezTo>
                  <a:cubicBezTo>
                    <a:pt x="119" y="126"/>
                    <a:pt x="120" y="125"/>
                    <a:pt x="120" y="125"/>
                  </a:cubicBezTo>
                  <a:cubicBezTo>
                    <a:pt x="120" y="125"/>
                    <a:pt x="120" y="125"/>
                    <a:pt x="120" y="124"/>
                  </a:cubicBezTo>
                  <a:cubicBezTo>
                    <a:pt x="120" y="124"/>
                    <a:pt x="120" y="123"/>
                    <a:pt x="120" y="123"/>
                  </a:cubicBezTo>
                  <a:cubicBezTo>
                    <a:pt x="120" y="123"/>
                    <a:pt x="118" y="121"/>
                    <a:pt x="117" y="120"/>
                  </a:cubicBezTo>
                  <a:cubicBezTo>
                    <a:pt x="118" y="119"/>
                    <a:pt x="119" y="118"/>
                    <a:pt x="120" y="117"/>
                  </a:cubicBezTo>
                  <a:cubicBezTo>
                    <a:pt x="121" y="119"/>
                    <a:pt x="123" y="120"/>
                    <a:pt x="123" y="120"/>
                  </a:cubicBezTo>
                  <a:cubicBezTo>
                    <a:pt x="123" y="120"/>
                    <a:pt x="124" y="120"/>
                    <a:pt x="124" y="120"/>
                  </a:cubicBezTo>
                  <a:cubicBezTo>
                    <a:pt x="125" y="120"/>
                    <a:pt x="125" y="120"/>
                    <a:pt x="125" y="120"/>
                  </a:cubicBezTo>
                  <a:cubicBezTo>
                    <a:pt x="125" y="120"/>
                    <a:pt x="125" y="119"/>
                    <a:pt x="125" y="119"/>
                  </a:cubicBezTo>
                  <a:cubicBezTo>
                    <a:pt x="126" y="118"/>
                    <a:pt x="125" y="118"/>
                    <a:pt x="125" y="118"/>
                  </a:cubicBezTo>
                  <a:cubicBezTo>
                    <a:pt x="125" y="118"/>
                    <a:pt x="123" y="116"/>
                    <a:pt x="122" y="115"/>
                  </a:cubicBezTo>
                  <a:cubicBezTo>
                    <a:pt x="123" y="114"/>
                    <a:pt x="123" y="113"/>
                    <a:pt x="124" y="112"/>
                  </a:cubicBezTo>
                  <a:cubicBezTo>
                    <a:pt x="126" y="113"/>
                    <a:pt x="128" y="114"/>
                    <a:pt x="128" y="114"/>
                  </a:cubicBezTo>
                  <a:cubicBezTo>
                    <a:pt x="128" y="115"/>
                    <a:pt x="129" y="115"/>
                    <a:pt x="129" y="115"/>
                  </a:cubicBezTo>
                  <a:cubicBezTo>
                    <a:pt x="129" y="115"/>
                    <a:pt x="130" y="114"/>
                    <a:pt x="130" y="114"/>
                  </a:cubicBezTo>
                  <a:cubicBezTo>
                    <a:pt x="130" y="114"/>
                    <a:pt x="130" y="113"/>
                    <a:pt x="130" y="113"/>
                  </a:cubicBezTo>
                  <a:cubicBezTo>
                    <a:pt x="130" y="113"/>
                    <a:pt x="130" y="112"/>
                    <a:pt x="130" y="112"/>
                  </a:cubicBezTo>
                  <a:cubicBezTo>
                    <a:pt x="129" y="112"/>
                    <a:pt x="128" y="110"/>
                    <a:pt x="126" y="109"/>
                  </a:cubicBezTo>
                  <a:cubicBezTo>
                    <a:pt x="127" y="108"/>
                    <a:pt x="127" y="107"/>
                    <a:pt x="128" y="107"/>
                  </a:cubicBezTo>
                  <a:cubicBezTo>
                    <a:pt x="130" y="107"/>
                    <a:pt x="132" y="108"/>
                    <a:pt x="132" y="108"/>
                  </a:cubicBezTo>
                  <a:cubicBezTo>
                    <a:pt x="132" y="108"/>
                    <a:pt x="133" y="108"/>
                    <a:pt x="133" y="108"/>
                  </a:cubicBezTo>
                  <a:cubicBezTo>
                    <a:pt x="133" y="108"/>
                    <a:pt x="134" y="108"/>
                    <a:pt x="134" y="108"/>
                  </a:cubicBezTo>
                  <a:cubicBezTo>
                    <a:pt x="134" y="107"/>
                    <a:pt x="134" y="107"/>
                    <a:pt x="134" y="107"/>
                  </a:cubicBezTo>
                  <a:cubicBezTo>
                    <a:pt x="134" y="106"/>
                    <a:pt x="134" y="106"/>
                    <a:pt x="134" y="106"/>
                  </a:cubicBezTo>
                  <a:cubicBezTo>
                    <a:pt x="133" y="105"/>
                    <a:pt x="132" y="104"/>
                    <a:pt x="130" y="103"/>
                  </a:cubicBezTo>
                  <a:cubicBezTo>
                    <a:pt x="130" y="102"/>
                    <a:pt x="131" y="101"/>
                    <a:pt x="131" y="100"/>
                  </a:cubicBezTo>
                  <a:cubicBezTo>
                    <a:pt x="133" y="101"/>
                    <a:pt x="135" y="102"/>
                    <a:pt x="136" y="102"/>
                  </a:cubicBezTo>
                  <a:cubicBezTo>
                    <a:pt x="136" y="102"/>
                    <a:pt x="136" y="102"/>
                    <a:pt x="137" y="102"/>
                  </a:cubicBezTo>
                  <a:cubicBezTo>
                    <a:pt x="137" y="102"/>
                    <a:pt x="137" y="101"/>
                    <a:pt x="137" y="101"/>
                  </a:cubicBezTo>
                  <a:cubicBezTo>
                    <a:pt x="137" y="101"/>
                    <a:pt x="137" y="100"/>
                    <a:pt x="137" y="100"/>
                  </a:cubicBezTo>
                  <a:cubicBezTo>
                    <a:pt x="137" y="100"/>
                    <a:pt x="137" y="99"/>
                    <a:pt x="137" y="99"/>
                  </a:cubicBezTo>
                  <a:cubicBezTo>
                    <a:pt x="136" y="99"/>
                    <a:pt x="134" y="98"/>
                    <a:pt x="133" y="97"/>
                  </a:cubicBezTo>
                  <a:cubicBezTo>
                    <a:pt x="133" y="96"/>
                    <a:pt x="134" y="95"/>
                    <a:pt x="134" y="94"/>
                  </a:cubicBezTo>
                  <a:cubicBezTo>
                    <a:pt x="136" y="94"/>
                    <a:pt x="138" y="95"/>
                    <a:pt x="138" y="95"/>
                  </a:cubicBezTo>
                  <a:cubicBezTo>
                    <a:pt x="139" y="95"/>
                    <a:pt x="139" y="95"/>
                    <a:pt x="139" y="95"/>
                  </a:cubicBezTo>
                  <a:cubicBezTo>
                    <a:pt x="140" y="95"/>
                    <a:pt x="140" y="94"/>
                    <a:pt x="140" y="94"/>
                  </a:cubicBezTo>
                  <a:cubicBezTo>
                    <a:pt x="140" y="94"/>
                    <a:pt x="140" y="93"/>
                    <a:pt x="140" y="93"/>
                  </a:cubicBezTo>
                  <a:cubicBezTo>
                    <a:pt x="140" y="92"/>
                    <a:pt x="140" y="92"/>
                    <a:pt x="139" y="92"/>
                  </a:cubicBezTo>
                  <a:cubicBezTo>
                    <a:pt x="139" y="92"/>
                    <a:pt x="137" y="91"/>
                    <a:pt x="135" y="90"/>
                  </a:cubicBezTo>
                  <a:cubicBezTo>
                    <a:pt x="135" y="89"/>
                    <a:pt x="136" y="88"/>
                    <a:pt x="136" y="87"/>
                  </a:cubicBezTo>
                  <a:cubicBezTo>
                    <a:pt x="138" y="88"/>
                    <a:pt x="140" y="88"/>
                    <a:pt x="140" y="88"/>
                  </a:cubicBezTo>
                  <a:cubicBezTo>
                    <a:pt x="141" y="88"/>
                    <a:pt x="141" y="88"/>
                    <a:pt x="141" y="88"/>
                  </a:cubicBezTo>
                  <a:cubicBezTo>
                    <a:pt x="142" y="87"/>
                    <a:pt x="142" y="87"/>
                    <a:pt x="142" y="87"/>
                  </a:cubicBezTo>
                  <a:cubicBezTo>
                    <a:pt x="142" y="86"/>
                    <a:pt x="142" y="86"/>
                    <a:pt x="142" y="86"/>
                  </a:cubicBezTo>
                  <a:cubicBezTo>
                    <a:pt x="142" y="85"/>
                    <a:pt x="141" y="85"/>
                    <a:pt x="141" y="85"/>
                  </a:cubicBezTo>
                  <a:cubicBezTo>
                    <a:pt x="141" y="85"/>
                    <a:pt x="139" y="84"/>
                    <a:pt x="137" y="84"/>
                  </a:cubicBezTo>
                  <a:cubicBezTo>
                    <a:pt x="137" y="83"/>
                    <a:pt x="137" y="82"/>
                    <a:pt x="137" y="81"/>
                  </a:cubicBezTo>
                  <a:cubicBezTo>
                    <a:pt x="139" y="81"/>
                    <a:pt x="141" y="81"/>
                    <a:pt x="142" y="81"/>
                  </a:cubicBezTo>
                  <a:cubicBezTo>
                    <a:pt x="142" y="81"/>
                    <a:pt x="142" y="80"/>
                    <a:pt x="143" y="80"/>
                  </a:cubicBezTo>
                  <a:cubicBezTo>
                    <a:pt x="143" y="80"/>
                    <a:pt x="143" y="80"/>
                    <a:pt x="143" y="79"/>
                  </a:cubicBezTo>
                  <a:cubicBezTo>
                    <a:pt x="143" y="79"/>
                    <a:pt x="143" y="79"/>
                    <a:pt x="143" y="78"/>
                  </a:cubicBezTo>
                  <a:cubicBezTo>
                    <a:pt x="143" y="78"/>
                    <a:pt x="142" y="78"/>
                    <a:pt x="142" y="78"/>
                  </a:cubicBezTo>
                  <a:cubicBezTo>
                    <a:pt x="142" y="78"/>
                    <a:pt x="140" y="77"/>
                    <a:pt x="138" y="77"/>
                  </a:cubicBezTo>
                  <a:cubicBezTo>
                    <a:pt x="138" y="76"/>
                    <a:pt x="138" y="75"/>
                    <a:pt x="138" y="74"/>
                  </a:cubicBezTo>
                  <a:cubicBezTo>
                    <a:pt x="140" y="74"/>
                    <a:pt x="142" y="73"/>
                    <a:pt x="142" y="73"/>
                  </a:cubicBezTo>
                  <a:close/>
                  <a:moveTo>
                    <a:pt x="72" y="129"/>
                  </a:moveTo>
                  <a:cubicBezTo>
                    <a:pt x="40" y="129"/>
                    <a:pt x="15" y="103"/>
                    <a:pt x="15" y="72"/>
                  </a:cubicBezTo>
                  <a:cubicBezTo>
                    <a:pt x="15" y="40"/>
                    <a:pt x="40" y="14"/>
                    <a:pt x="72" y="14"/>
                  </a:cubicBezTo>
                  <a:cubicBezTo>
                    <a:pt x="103" y="14"/>
                    <a:pt x="129" y="40"/>
                    <a:pt x="129" y="72"/>
                  </a:cubicBezTo>
                  <a:cubicBezTo>
                    <a:pt x="129" y="103"/>
                    <a:pt x="103" y="129"/>
                    <a:pt x="72" y="12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14" name="Group 540">
              <a:extLst>
                <a:ext uri="{FF2B5EF4-FFF2-40B4-BE49-F238E27FC236}">
                  <a16:creationId xmlns:a16="http://schemas.microsoft.com/office/drawing/2014/main" id="{DFF013C2-890A-4957-AE71-082518C4AC87}"/>
                </a:ext>
              </a:extLst>
            </p:cNvPr>
            <p:cNvGrpSpPr>
              <a:grpSpLocks noChangeAspect="1"/>
            </p:cNvGrpSpPr>
            <p:nvPr/>
          </p:nvGrpSpPr>
          <p:grpSpPr bwMode="auto">
            <a:xfrm>
              <a:off x="1474401" y="5136128"/>
              <a:ext cx="169581" cy="169581"/>
              <a:chOff x="5047" y="2094"/>
              <a:chExt cx="184" cy="184"/>
            </a:xfrm>
            <a:solidFill>
              <a:srgbClr val="43B02A"/>
            </a:solidFill>
          </p:grpSpPr>
          <p:sp>
            <p:nvSpPr>
              <p:cNvPr id="215" name="Freeform 541">
                <a:extLst>
                  <a:ext uri="{FF2B5EF4-FFF2-40B4-BE49-F238E27FC236}">
                    <a16:creationId xmlns:a16="http://schemas.microsoft.com/office/drawing/2014/main" id="{D822C7A0-C93A-4C8B-BCB1-A509B5033099}"/>
                  </a:ext>
                </a:extLst>
              </p:cNvPr>
              <p:cNvSpPr>
                <a:spLocks/>
              </p:cNvSpPr>
              <p:nvPr/>
            </p:nvSpPr>
            <p:spPr bwMode="auto">
              <a:xfrm>
                <a:off x="5047" y="2094"/>
                <a:ext cx="184" cy="184"/>
              </a:xfrm>
              <a:custGeom>
                <a:avLst/>
                <a:gdLst>
                  <a:gd name="T0" fmla="*/ 267 w 277"/>
                  <a:gd name="T1" fmla="*/ 139 h 277"/>
                  <a:gd name="T2" fmla="*/ 256 w 277"/>
                  <a:gd name="T3" fmla="*/ 149 h 277"/>
                  <a:gd name="T4" fmla="*/ 256 w 277"/>
                  <a:gd name="T5" fmla="*/ 256 h 277"/>
                  <a:gd name="T6" fmla="*/ 21 w 277"/>
                  <a:gd name="T7" fmla="*/ 256 h 277"/>
                  <a:gd name="T8" fmla="*/ 21 w 277"/>
                  <a:gd name="T9" fmla="*/ 21 h 277"/>
                  <a:gd name="T10" fmla="*/ 128 w 277"/>
                  <a:gd name="T11" fmla="*/ 21 h 277"/>
                  <a:gd name="T12" fmla="*/ 139 w 277"/>
                  <a:gd name="T13" fmla="*/ 11 h 277"/>
                  <a:gd name="T14" fmla="*/ 128 w 277"/>
                  <a:gd name="T15" fmla="*/ 0 h 277"/>
                  <a:gd name="T16" fmla="*/ 11 w 277"/>
                  <a:gd name="T17" fmla="*/ 0 h 277"/>
                  <a:gd name="T18" fmla="*/ 0 w 277"/>
                  <a:gd name="T19" fmla="*/ 11 h 277"/>
                  <a:gd name="T20" fmla="*/ 0 w 277"/>
                  <a:gd name="T21" fmla="*/ 267 h 277"/>
                  <a:gd name="T22" fmla="*/ 11 w 277"/>
                  <a:gd name="T23" fmla="*/ 277 h 277"/>
                  <a:gd name="T24" fmla="*/ 267 w 277"/>
                  <a:gd name="T25" fmla="*/ 277 h 277"/>
                  <a:gd name="T26" fmla="*/ 277 w 277"/>
                  <a:gd name="T27" fmla="*/ 267 h 277"/>
                  <a:gd name="T28" fmla="*/ 277 w 277"/>
                  <a:gd name="T29" fmla="*/ 149 h 277"/>
                  <a:gd name="T30" fmla="*/ 267 w 277"/>
                  <a:gd name="T31" fmla="*/ 13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77">
                    <a:moveTo>
                      <a:pt x="267" y="139"/>
                    </a:moveTo>
                    <a:cubicBezTo>
                      <a:pt x="261" y="139"/>
                      <a:pt x="256" y="143"/>
                      <a:pt x="256" y="149"/>
                    </a:cubicBezTo>
                    <a:cubicBezTo>
                      <a:pt x="256" y="256"/>
                      <a:pt x="256" y="256"/>
                      <a:pt x="256" y="256"/>
                    </a:cubicBezTo>
                    <a:cubicBezTo>
                      <a:pt x="21" y="256"/>
                      <a:pt x="21" y="256"/>
                      <a:pt x="21" y="256"/>
                    </a:cubicBezTo>
                    <a:cubicBezTo>
                      <a:pt x="21" y="21"/>
                      <a:pt x="21" y="21"/>
                      <a:pt x="21" y="21"/>
                    </a:cubicBezTo>
                    <a:cubicBezTo>
                      <a:pt x="128" y="21"/>
                      <a:pt x="128" y="21"/>
                      <a:pt x="128" y="21"/>
                    </a:cubicBezTo>
                    <a:cubicBezTo>
                      <a:pt x="134" y="21"/>
                      <a:pt x="139" y="17"/>
                      <a:pt x="139" y="11"/>
                    </a:cubicBezTo>
                    <a:cubicBezTo>
                      <a:pt x="139" y="5"/>
                      <a:pt x="134" y="0"/>
                      <a:pt x="128"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49"/>
                      <a:pt x="277" y="149"/>
                      <a:pt x="277" y="149"/>
                    </a:cubicBezTo>
                    <a:cubicBezTo>
                      <a:pt x="277" y="143"/>
                      <a:pt x="273" y="139"/>
                      <a:pt x="26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16" name="Freeform 542">
                <a:extLst>
                  <a:ext uri="{FF2B5EF4-FFF2-40B4-BE49-F238E27FC236}">
                    <a16:creationId xmlns:a16="http://schemas.microsoft.com/office/drawing/2014/main" id="{43F4F054-D438-4C1F-8F4F-5B9C419FE29D}"/>
                  </a:ext>
                </a:extLst>
              </p:cNvPr>
              <p:cNvSpPr>
                <a:spLocks/>
              </p:cNvSpPr>
              <p:nvPr/>
            </p:nvSpPr>
            <p:spPr bwMode="auto">
              <a:xfrm>
                <a:off x="5131" y="2094"/>
                <a:ext cx="100" cy="99"/>
              </a:xfrm>
              <a:custGeom>
                <a:avLst/>
                <a:gdLst>
                  <a:gd name="T0" fmla="*/ 150 w 150"/>
                  <a:gd name="T1" fmla="*/ 7 h 149"/>
                  <a:gd name="T2" fmla="*/ 144 w 150"/>
                  <a:gd name="T3" fmla="*/ 1 h 149"/>
                  <a:gd name="T4" fmla="*/ 140 w 150"/>
                  <a:gd name="T5" fmla="*/ 0 h 149"/>
                  <a:gd name="T6" fmla="*/ 54 w 150"/>
                  <a:gd name="T7" fmla="*/ 0 h 149"/>
                  <a:gd name="T8" fmla="*/ 44 w 150"/>
                  <a:gd name="T9" fmla="*/ 11 h 149"/>
                  <a:gd name="T10" fmla="*/ 54 w 150"/>
                  <a:gd name="T11" fmla="*/ 21 h 149"/>
                  <a:gd name="T12" fmla="*/ 114 w 150"/>
                  <a:gd name="T13" fmla="*/ 21 h 149"/>
                  <a:gd name="T14" fmla="*/ 4 w 150"/>
                  <a:gd name="T15" fmla="*/ 131 h 149"/>
                  <a:gd name="T16" fmla="*/ 4 w 150"/>
                  <a:gd name="T17" fmla="*/ 146 h 149"/>
                  <a:gd name="T18" fmla="*/ 12 w 150"/>
                  <a:gd name="T19" fmla="*/ 149 h 149"/>
                  <a:gd name="T20" fmla="*/ 19 w 150"/>
                  <a:gd name="T21" fmla="*/ 146 h 149"/>
                  <a:gd name="T22" fmla="*/ 129 w 150"/>
                  <a:gd name="T23" fmla="*/ 36 h 149"/>
                  <a:gd name="T24" fmla="*/ 129 w 150"/>
                  <a:gd name="T25" fmla="*/ 96 h 149"/>
                  <a:gd name="T26" fmla="*/ 140 w 150"/>
                  <a:gd name="T27" fmla="*/ 107 h 149"/>
                  <a:gd name="T28" fmla="*/ 150 w 150"/>
                  <a:gd name="T29" fmla="*/ 96 h 149"/>
                  <a:gd name="T30" fmla="*/ 150 w 150"/>
                  <a:gd name="T31" fmla="*/ 11 h 149"/>
                  <a:gd name="T32" fmla="*/ 150 w 150"/>
                  <a:gd name="T33" fmla="*/ 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49">
                    <a:moveTo>
                      <a:pt x="150" y="7"/>
                    </a:moveTo>
                    <a:cubicBezTo>
                      <a:pt x="148" y="4"/>
                      <a:pt x="146" y="2"/>
                      <a:pt x="144" y="1"/>
                    </a:cubicBezTo>
                    <a:cubicBezTo>
                      <a:pt x="142" y="0"/>
                      <a:pt x="141" y="0"/>
                      <a:pt x="140" y="0"/>
                    </a:cubicBezTo>
                    <a:cubicBezTo>
                      <a:pt x="54" y="0"/>
                      <a:pt x="54" y="0"/>
                      <a:pt x="54" y="0"/>
                    </a:cubicBezTo>
                    <a:cubicBezTo>
                      <a:pt x="48" y="0"/>
                      <a:pt x="44" y="5"/>
                      <a:pt x="44" y="11"/>
                    </a:cubicBezTo>
                    <a:cubicBezTo>
                      <a:pt x="44" y="17"/>
                      <a:pt x="48" y="21"/>
                      <a:pt x="54" y="21"/>
                    </a:cubicBezTo>
                    <a:cubicBezTo>
                      <a:pt x="114" y="21"/>
                      <a:pt x="114" y="21"/>
                      <a:pt x="114" y="21"/>
                    </a:cubicBezTo>
                    <a:cubicBezTo>
                      <a:pt x="4" y="131"/>
                      <a:pt x="4" y="131"/>
                      <a:pt x="4" y="131"/>
                    </a:cubicBezTo>
                    <a:cubicBezTo>
                      <a:pt x="0" y="135"/>
                      <a:pt x="0" y="142"/>
                      <a:pt x="4" y="146"/>
                    </a:cubicBezTo>
                    <a:cubicBezTo>
                      <a:pt x="6" y="148"/>
                      <a:pt x="9" y="149"/>
                      <a:pt x="12" y="149"/>
                    </a:cubicBezTo>
                    <a:cubicBezTo>
                      <a:pt x="14" y="149"/>
                      <a:pt x="17" y="148"/>
                      <a:pt x="19" y="146"/>
                    </a:cubicBezTo>
                    <a:cubicBezTo>
                      <a:pt x="129" y="36"/>
                      <a:pt x="129" y="36"/>
                      <a:pt x="129" y="36"/>
                    </a:cubicBezTo>
                    <a:cubicBezTo>
                      <a:pt x="129" y="96"/>
                      <a:pt x="129" y="96"/>
                      <a:pt x="129" y="96"/>
                    </a:cubicBezTo>
                    <a:cubicBezTo>
                      <a:pt x="129" y="102"/>
                      <a:pt x="134" y="107"/>
                      <a:pt x="140" y="107"/>
                    </a:cubicBezTo>
                    <a:cubicBezTo>
                      <a:pt x="146" y="107"/>
                      <a:pt x="150" y="102"/>
                      <a:pt x="150" y="96"/>
                    </a:cubicBezTo>
                    <a:cubicBezTo>
                      <a:pt x="150" y="11"/>
                      <a:pt x="150" y="11"/>
                      <a:pt x="150" y="11"/>
                    </a:cubicBezTo>
                    <a:cubicBezTo>
                      <a:pt x="150" y="9"/>
                      <a:pt x="150" y="8"/>
                      <a:pt x="15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217" name="Group 216">
            <a:extLst>
              <a:ext uri="{FF2B5EF4-FFF2-40B4-BE49-F238E27FC236}">
                <a16:creationId xmlns:a16="http://schemas.microsoft.com/office/drawing/2014/main" id="{B27309F6-9E46-4869-B976-50CF0E869872}"/>
              </a:ext>
            </a:extLst>
          </p:cNvPr>
          <p:cNvGrpSpPr/>
          <p:nvPr/>
        </p:nvGrpSpPr>
        <p:grpSpPr>
          <a:xfrm>
            <a:off x="476451" y="5341847"/>
            <a:ext cx="872480" cy="875100"/>
            <a:chOff x="507891" y="5074850"/>
            <a:chExt cx="872480" cy="875100"/>
          </a:xfrm>
        </p:grpSpPr>
        <p:sp>
          <p:nvSpPr>
            <p:cNvPr id="218" name="Freeform 8">
              <a:extLst>
                <a:ext uri="{FF2B5EF4-FFF2-40B4-BE49-F238E27FC236}">
                  <a16:creationId xmlns:a16="http://schemas.microsoft.com/office/drawing/2014/main" id="{F23DFDF6-6456-4E5F-BE60-9528D1F28A4A}"/>
                </a:ext>
              </a:extLst>
            </p:cNvPr>
            <p:cNvSpPr>
              <a:spLocks noEditPoints="1"/>
            </p:cNvSpPr>
            <p:nvPr/>
          </p:nvSpPr>
          <p:spPr bwMode="auto">
            <a:xfrm>
              <a:off x="507891"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19" name="Freeform 155">
              <a:extLst>
                <a:ext uri="{FF2B5EF4-FFF2-40B4-BE49-F238E27FC236}">
                  <a16:creationId xmlns:a16="http://schemas.microsoft.com/office/drawing/2014/main" id="{E15E0EDC-774D-4ED5-87E3-F182B0D6BC98}"/>
                </a:ext>
              </a:extLst>
            </p:cNvPr>
            <p:cNvSpPr>
              <a:spLocks noEditPoints="1"/>
            </p:cNvSpPr>
            <p:nvPr/>
          </p:nvSpPr>
          <p:spPr bwMode="auto">
            <a:xfrm>
              <a:off x="862121"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20" name="Group 219">
            <a:extLst>
              <a:ext uri="{FF2B5EF4-FFF2-40B4-BE49-F238E27FC236}">
                <a16:creationId xmlns:a16="http://schemas.microsoft.com/office/drawing/2014/main" id="{C6444464-8243-4883-8861-CCB3DCE75D56}"/>
              </a:ext>
            </a:extLst>
          </p:cNvPr>
          <p:cNvGrpSpPr/>
          <p:nvPr/>
        </p:nvGrpSpPr>
        <p:grpSpPr>
          <a:xfrm>
            <a:off x="10374308" y="1700793"/>
            <a:ext cx="482091" cy="480337"/>
            <a:chOff x="2216171" y="2903264"/>
            <a:chExt cx="482091" cy="480337"/>
          </a:xfrm>
        </p:grpSpPr>
        <p:sp>
          <p:nvSpPr>
            <p:cNvPr id="221" name="Freeform 6">
              <a:extLst>
                <a:ext uri="{FF2B5EF4-FFF2-40B4-BE49-F238E27FC236}">
                  <a16:creationId xmlns:a16="http://schemas.microsoft.com/office/drawing/2014/main" id="{D2C5E387-A104-49AC-B052-F45A91D03C28}"/>
                </a:ext>
              </a:extLst>
            </p:cNvPr>
            <p:cNvSpPr>
              <a:spLocks noEditPoints="1"/>
            </p:cNvSpPr>
            <p:nvPr/>
          </p:nvSpPr>
          <p:spPr bwMode="auto">
            <a:xfrm>
              <a:off x="2216171" y="2903264"/>
              <a:ext cx="482091" cy="480337"/>
            </a:xfrm>
            <a:custGeom>
              <a:avLst/>
              <a:gdLst>
                <a:gd name="T0" fmla="*/ 121 w 123"/>
                <a:gd name="T1" fmla="*/ 60 h 123"/>
                <a:gd name="T2" fmla="*/ 122 w 123"/>
                <a:gd name="T3" fmla="*/ 51 h 123"/>
                <a:gd name="T4" fmla="*/ 118 w 123"/>
                <a:gd name="T5" fmla="*/ 43 h 123"/>
                <a:gd name="T6" fmla="*/ 111 w 123"/>
                <a:gd name="T7" fmla="*/ 41 h 123"/>
                <a:gd name="T8" fmla="*/ 114 w 123"/>
                <a:gd name="T9" fmla="*/ 30 h 123"/>
                <a:gd name="T10" fmla="*/ 109 w 123"/>
                <a:gd name="T11" fmla="*/ 23 h 123"/>
                <a:gd name="T12" fmla="*/ 98 w 123"/>
                <a:gd name="T13" fmla="*/ 22 h 123"/>
                <a:gd name="T14" fmla="*/ 98 w 123"/>
                <a:gd name="T15" fmla="*/ 14 h 123"/>
                <a:gd name="T16" fmla="*/ 92 w 123"/>
                <a:gd name="T17" fmla="*/ 8 h 123"/>
                <a:gd name="T18" fmla="*/ 84 w 123"/>
                <a:gd name="T19" fmla="*/ 6 h 123"/>
                <a:gd name="T20" fmla="*/ 77 w 123"/>
                <a:gd name="T21" fmla="*/ 10 h 123"/>
                <a:gd name="T22" fmla="*/ 71 w 123"/>
                <a:gd name="T23" fmla="*/ 1 h 123"/>
                <a:gd name="T24" fmla="*/ 63 w 123"/>
                <a:gd name="T25" fmla="*/ 0 h 123"/>
                <a:gd name="T26" fmla="*/ 55 w 123"/>
                <a:gd name="T27" fmla="*/ 8 h 123"/>
                <a:gd name="T28" fmla="*/ 49 w 123"/>
                <a:gd name="T29" fmla="*/ 3 h 123"/>
                <a:gd name="T30" fmla="*/ 40 w 123"/>
                <a:gd name="T31" fmla="*/ 4 h 123"/>
                <a:gd name="T32" fmla="*/ 33 w 123"/>
                <a:gd name="T33" fmla="*/ 9 h 123"/>
                <a:gd name="T34" fmla="*/ 32 w 123"/>
                <a:gd name="T35" fmla="*/ 17 h 123"/>
                <a:gd name="T36" fmla="*/ 21 w 123"/>
                <a:gd name="T37" fmla="*/ 16 h 123"/>
                <a:gd name="T38" fmla="*/ 15 w 123"/>
                <a:gd name="T39" fmla="*/ 21 h 123"/>
                <a:gd name="T40" fmla="*/ 16 w 123"/>
                <a:gd name="T41" fmla="*/ 32 h 123"/>
                <a:gd name="T42" fmla="*/ 8 w 123"/>
                <a:gd name="T43" fmla="*/ 34 h 123"/>
                <a:gd name="T44" fmla="*/ 3 w 123"/>
                <a:gd name="T45" fmla="*/ 41 h 123"/>
                <a:gd name="T46" fmla="*/ 3 w 123"/>
                <a:gd name="T47" fmla="*/ 49 h 123"/>
                <a:gd name="T48" fmla="*/ 8 w 123"/>
                <a:gd name="T49" fmla="*/ 55 h 123"/>
                <a:gd name="T50" fmla="*/ 0 w 123"/>
                <a:gd name="T51" fmla="*/ 63 h 123"/>
                <a:gd name="T52" fmla="*/ 1 w 123"/>
                <a:gd name="T53" fmla="*/ 71 h 123"/>
                <a:gd name="T54" fmla="*/ 10 w 123"/>
                <a:gd name="T55" fmla="*/ 78 h 123"/>
                <a:gd name="T56" fmla="*/ 6 w 123"/>
                <a:gd name="T57" fmla="*/ 84 h 123"/>
                <a:gd name="T58" fmla="*/ 8 w 123"/>
                <a:gd name="T59" fmla="*/ 93 h 123"/>
                <a:gd name="T60" fmla="*/ 14 w 123"/>
                <a:gd name="T61" fmla="*/ 99 h 123"/>
                <a:gd name="T62" fmla="*/ 22 w 123"/>
                <a:gd name="T63" fmla="*/ 98 h 123"/>
                <a:gd name="T64" fmla="*/ 23 w 123"/>
                <a:gd name="T65" fmla="*/ 110 h 123"/>
                <a:gd name="T66" fmla="*/ 30 w 123"/>
                <a:gd name="T67" fmla="*/ 114 h 123"/>
                <a:gd name="T68" fmla="*/ 40 w 123"/>
                <a:gd name="T69" fmla="*/ 111 h 123"/>
                <a:gd name="T70" fmla="*/ 43 w 123"/>
                <a:gd name="T71" fmla="*/ 119 h 123"/>
                <a:gd name="T72" fmla="*/ 51 w 123"/>
                <a:gd name="T73" fmla="*/ 123 h 123"/>
                <a:gd name="T74" fmla="*/ 59 w 123"/>
                <a:gd name="T75" fmla="*/ 122 h 123"/>
                <a:gd name="T76" fmla="*/ 64 w 123"/>
                <a:gd name="T77" fmla="*/ 115 h 123"/>
                <a:gd name="T78" fmla="*/ 73 w 123"/>
                <a:gd name="T79" fmla="*/ 122 h 123"/>
                <a:gd name="T80" fmla="*/ 81 w 123"/>
                <a:gd name="T81" fmla="*/ 120 h 123"/>
                <a:gd name="T82" fmla="*/ 86 w 123"/>
                <a:gd name="T83" fmla="*/ 110 h 123"/>
                <a:gd name="T84" fmla="*/ 93 w 123"/>
                <a:gd name="T85" fmla="*/ 113 h 123"/>
                <a:gd name="T86" fmla="*/ 101 w 123"/>
                <a:gd name="T87" fmla="*/ 109 h 123"/>
                <a:gd name="T88" fmla="*/ 106 w 123"/>
                <a:gd name="T89" fmla="*/ 102 h 123"/>
                <a:gd name="T90" fmla="*/ 104 w 123"/>
                <a:gd name="T91" fmla="*/ 94 h 123"/>
                <a:gd name="T92" fmla="*/ 115 w 123"/>
                <a:gd name="T93" fmla="*/ 91 h 123"/>
                <a:gd name="T94" fmla="*/ 118 w 123"/>
                <a:gd name="T95" fmla="*/ 84 h 123"/>
                <a:gd name="T96" fmla="*/ 114 w 123"/>
                <a:gd name="T97" fmla="*/ 74 h 123"/>
                <a:gd name="T98" fmla="*/ 121 w 123"/>
                <a:gd name="T99" fmla="*/ 70 h 123"/>
                <a:gd name="T100" fmla="*/ 61 w 123"/>
                <a:gd name="T101" fmla="*/ 111 h 123"/>
                <a:gd name="T102" fmla="*/ 45 w 123"/>
                <a:gd name="T103" fmla="*/ 108 h 123"/>
                <a:gd name="T104" fmla="*/ 31 w 123"/>
                <a:gd name="T105"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3">
                  <a:moveTo>
                    <a:pt x="121" y="64"/>
                  </a:moveTo>
                  <a:cubicBezTo>
                    <a:pt x="122" y="64"/>
                    <a:pt x="122" y="63"/>
                    <a:pt x="123" y="63"/>
                  </a:cubicBezTo>
                  <a:cubicBezTo>
                    <a:pt x="123" y="63"/>
                    <a:pt x="123" y="62"/>
                    <a:pt x="123" y="62"/>
                  </a:cubicBezTo>
                  <a:cubicBezTo>
                    <a:pt x="123" y="61"/>
                    <a:pt x="123" y="61"/>
                    <a:pt x="123" y="60"/>
                  </a:cubicBezTo>
                  <a:cubicBezTo>
                    <a:pt x="122" y="60"/>
                    <a:pt x="122" y="60"/>
                    <a:pt x="121" y="60"/>
                  </a:cubicBezTo>
                  <a:cubicBezTo>
                    <a:pt x="121" y="59"/>
                    <a:pt x="118" y="59"/>
                    <a:pt x="115" y="59"/>
                  </a:cubicBezTo>
                  <a:cubicBezTo>
                    <a:pt x="115" y="58"/>
                    <a:pt x="115" y="56"/>
                    <a:pt x="115" y="55"/>
                  </a:cubicBezTo>
                  <a:cubicBezTo>
                    <a:pt x="117" y="54"/>
                    <a:pt x="120" y="54"/>
                    <a:pt x="121" y="53"/>
                  </a:cubicBezTo>
                  <a:cubicBezTo>
                    <a:pt x="121" y="53"/>
                    <a:pt x="122" y="53"/>
                    <a:pt x="122" y="53"/>
                  </a:cubicBezTo>
                  <a:cubicBezTo>
                    <a:pt x="122" y="52"/>
                    <a:pt x="122" y="51"/>
                    <a:pt x="122" y="51"/>
                  </a:cubicBezTo>
                  <a:cubicBezTo>
                    <a:pt x="122" y="50"/>
                    <a:pt x="122" y="50"/>
                    <a:pt x="121" y="50"/>
                  </a:cubicBezTo>
                  <a:cubicBezTo>
                    <a:pt x="121" y="49"/>
                    <a:pt x="121" y="49"/>
                    <a:pt x="120" y="49"/>
                  </a:cubicBezTo>
                  <a:cubicBezTo>
                    <a:pt x="119" y="49"/>
                    <a:pt x="116" y="50"/>
                    <a:pt x="114" y="50"/>
                  </a:cubicBezTo>
                  <a:cubicBezTo>
                    <a:pt x="113" y="48"/>
                    <a:pt x="113" y="47"/>
                    <a:pt x="113" y="46"/>
                  </a:cubicBezTo>
                  <a:cubicBezTo>
                    <a:pt x="115" y="45"/>
                    <a:pt x="118" y="43"/>
                    <a:pt x="118" y="43"/>
                  </a:cubicBezTo>
                  <a:cubicBezTo>
                    <a:pt x="119" y="43"/>
                    <a:pt x="119" y="43"/>
                    <a:pt x="119" y="42"/>
                  </a:cubicBezTo>
                  <a:cubicBezTo>
                    <a:pt x="120" y="42"/>
                    <a:pt x="120" y="41"/>
                    <a:pt x="119" y="41"/>
                  </a:cubicBezTo>
                  <a:cubicBezTo>
                    <a:pt x="119" y="40"/>
                    <a:pt x="119" y="40"/>
                    <a:pt x="118" y="39"/>
                  </a:cubicBezTo>
                  <a:cubicBezTo>
                    <a:pt x="118" y="39"/>
                    <a:pt x="117" y="39"/>
                    <a:pt x="117" y="39"/>
                  </a:cubicBezTo>
                  <a:cubicBezTo>
                    <a:pt x="116" y="39"/>
                    <a:pt x="113" y="40"/>
                    <a:pt x="111" y="41"/>
                  </a:cubicBezTo>
                  <a:cubicBezTo>
                    <a:pt x="110" y="40"/>
                    <a:pt x="110" y="38"/>
                    <a:pt x="109" y="37"/>
                  </a:cubicBezTo>
                  <a:cubicBezTo>
                    <a:pt x="111" y="36"/>
                    <a:pt x="114" y="34"/>
                    <a:pt x="114" y="34"/>
                  </a:cubicBezTo>
                  <a:cubicBezTo>
                    <a:pt x="115" y="33"/>
                    <a:pt x="115" y="33"/>
                    <a:pt x="115" y="32"/>
                  </a:cubicBezTo>
                  <a:cubicBezTo>
                    <a:pt x="115" y="32"/>
                    <a:pt x="115" y="31"/>
                    <a:pt x="115" y="31"/>
                  </a:cubicBezTo>
                  <a:cubicBezTo>
                    <a:pt x="115" y="30"/>
                    <a:pt x="114" y="30"/>
                    <a:pt x="114" y="30"/>
                  </a:cubicBezTo>
                  <a:cubicBezTo>
                    <a:pt x="113" y="30"/>
                    <a:pt x="113" y="30"/>
                    <a:pt x="112" y="30"/>
                  </a:cubicBezTo>
                  <a:cubicBezTo>
                    <a:pt x="112" y="30"/>
                    <a:pt x="109" y="31"/>
                    <a:pt x="106" y="32"/>
                  </a:cubicBezTo>
                  <a:cubicBezTo>
                    <a:pt x="106" y="31"/>
                    <a:pt x="105" y="30"/>
                    <a:pt x="104" y="29"/>
                  </a:cubicBezTo>
                  <a:cubicBezTo>
                    <a:pt x="106" y="27"/>
                    <a:pt x="108" y="25"/>
                    <a:pt x="109" y="25"/>
                  </a:cubicBezTo>
                  <a:cubicBezTo>
                    <a:pt x="109" y="24"/>
                    <a:pt x="109" y="24"/>
                    <a:pt x="109" y="23"/>
                  </a:cubicBezTo>
                  <a:cubicBezTo>
                    <a:pt x="109" y="23"/>
                    <a:pt x="109" y="22"/>
                    <a:pt x="109" y="22"/>
                  </a:cubicBezTo>
                  <a:cubicBezTo>
                    <a:pt x="108" y="22"/>
                    <a:pt x="108" y="21"/>
                    <a:pt x="107" y="21"/>
                  </a:cubicBezTo>
                  <a:cubicBezTo>
                    <a:pt x="107" y="21"/>
                    <a:pt x="106" y="21"/>
                    <a:pt x="106" y="22"/>
                  </a:cubicBezTo>
                  <a:cubicBezTo>
                    <a:pt x="105" y="22"/>
                    <a:pt x="103" y="24"/>
                    <a:pt x="101" y="25"/>
                  </a:cubicBezTo>
                  <a:cubicBezTo>
                    <a:pt x="100" y="24"/>
                    <a:pt x="99" y="23"/>
                    <a:pt x="98" y="22"/>
                  </a:cubicBezTo>
                  <a:cubicBezTo>
                    <a:pt x="99" y="20"/>
                    <a:pt x="101" y="18"/>
                    <a:pt x="102" y="17"/>
                  </a:cubicBezTo>
                  <a:cubicBezTo>
                    <a:pt x="102" y="17"/>
                    <a:pt x="102" y="16"/>
                    <a:pt x="102" y="16"/>
                  </a:cubicBezTo>
                  <a:cubicBezTo>
                    <a:pt x="102" y="15"/>
                    <a:pt x="101" y="15"/>
                    <a:pt x="101" y="14"/>
                  </a:cubicBezTo>
                  <a:cubicBezTo>
                    <a:pt x="101" y="14"/>
                    <a:pt x="100" y="14"/>
                    <a:pt x="100" y="14"/>
                  </a:cubicBezTo>
                  <a:cubicBezTo>
                    <a:pt x="99" y="14"/>
                    <a:pt x="99" y="14"/>
                    <a:pt x="98" y="14"/>
                  </a:cubicBezTo>
                  <a:cubicBezTo>
                    <a:pt x="98" y="15"/>
                    <a:pt x="96" y="17"/>
                    <a:pt x="94" y="19"/>
                  </a:cubicBezTo>
                  <a:cubicBezTo>
                    <a:pt x="93" y="18"/>
                    <a:pt x="92" y="17"/>
                    <a:pt x="91" y="17"/>
                  </a:cubicBezTo>
                  <a:cubicBezTo>
                    <a:pt x="92" y="14"/>
                    <a:pt x="93" y="11"/>
                    <a:pt x="93" y="11"/>
                  </a:cubicBezTo>
                  <a:cubicBezTo>
                    <a:pt x="93" y="10"/>
                    <a:pt x="93" y="10"/>
                    <a:pt x="93" y="9"/>
                  </a:cubicBezTo>
                  <a:cubicBezTo>
                    <a:pt x="93" y="9"/>
                    <a:pt x="93" y="8"/>
                    <a:pt x="92" y="8"/>
                  </a:cubicBezTo>
                  <a:cubicBezTo>
                    <a:pt x="92" y="8"/>
                    <a:pt x="91" y="8"/>
                    <a:pt x="91" y="8"/>
                  </a:cubicBezTo>
                  <a:cubicBezTo>
                    <a:pt x="90" y="8"/>
                    <a:pt x="90" y="8"/>
                    <a:pt x="90" y="9"/>
                  </a:cubicBezTo>
                  <a:cubicBezTo>
                    <a:pt x="89" y="9"/>
                    <a:pt x="87" y="12"/>
                    <a:pt x="86" y="14"/>
                  </a:cubicBezTo>
                  <a:cubicBezTo>
                    <a:pt x="85" y="13"/>
                    <a:pt x="83" y="13"/>
                    <a:pt x="82" y="12"/>
                  </a:cubicBezTo>
                  <a:cubicBezTo>
                    <a:pt x="83" y="10"/>
                    <a:pt x="84" y="7"/>
                    <a:pt x="84" y="6"/>
                  </a:cubicBezTo>
                  <a:cubicBezTo>
                    <a:pt x="84" y="6"/>
                    <a:pt x="84" y="5"/>
                    <a:pt x="84" y="5"/>
                  </a:cubicBezTo>
                  <a:cubicBezTo>
                    <a:pt x="83" y="4"/>
                    <a:pt x="83" y="4"/>
                    <a:pt x="83" y="4"/>
                  </a:cubicBezTo>
                  <a:cubicBezTo>
                    <a:pt x="82" y="3"/>
                    <a:pt x="81" y="3"/>
                    <a:pt x="81" y="4"/>
                  </a:cubicBezTo>
                  <a:cubicBezTo>
                    <a:pt x="81" y="4"/>
                    <a:pt x="80" y="4"/>
                    <a:pt x="80" y="5"/>
                  </a:cubicBezTo>
                  <a:cubicBezTo>
                    <a:pt x="80" y="5"/>
                    <a:pt x="78" y="8"/>
                    <a:pt x="77" y="10"/>
                  </a:cubicBezTo>
                  <a:cubicBezTo>
                    <a:pt x="76" y="10"/>
                    <a:pt x="75" y="10"/>
                    <a:pt x="73" y="9"/>
                  </a:cubicBezTo>
                  <a:cubicBezTo>
                    <a:pt x="74" y="7"/>
                    <a:pt x="74" y="4"/>
                    <a:pt x="74" y="3"/>
                  </a:cubicBezTo>
                  <a:cubicBezTo>
                    <a:pt x="74" y="3"/>
                    <a:pt x="74" y="2"/>
                    <a:pt x="73" y="2"/>
                  </a:cubicBezTo>
                  <a:cubicBezTo>
                    <a:pt x="73" y="1"/>
                    <a:pt x="73" y="1"/>
                    <a:pt x="72" y="1"/>
                  </a:cubicBezTo>
                  <a:cubicBezTo>
                    <a:pt x="72" y="1"/>
                    <a:pt x="71" y="1"/>
                    <a:pt x="71" y="1"/>
                  </a:cubicBezTo>
                  <a:cubicBezTo>
                    <a:pt x="70" y="1"/>
                    <a:pt x="70" y="2"/>
                    <a:pt x="70" y="2"/>
                  </a:cubicBezTo>
                  <a:cubicBezTo>
                    <a:pt x="70" y="3"/>
                    <a:pt x="69" y="6"/>
                    <a:pt x="68" y="8"/>
                  </a:cubicBezTo>
                  <a:cubicBezTo>
                    <a:pt x="67" y="8"/>
                    <a:pt x="65" y="8"/>
                    <a:pt x="64" y="8"/>
                  </a:cubicBezTo>
                  <a:cubicBezTo>
                    <a:pt x="64" y="5"/>
                    <a:pt x="64" y="2"/>
                    <a:pt x="64" y="2"/>
                  </a:cubicBezTo>
                  <a:cubicBezTo>
                    <a:pt x="63" y="1"/>
                    <a:pt x="63" y="1"/>
                    <a:pt x="63" y="0"/>
                  </a:cubicBezTo>
                  <a:cubicBezTo>
                    <a:pt x="62" y="0"/>
                    <a:pt x="62" y="0"/>
                    <a:pt x="61" y="0"/>
                  </a:cubicBezTo>
                  <a:cubicBezTo>
                    <a:pt x="61" y="0"/>
                    <a:pt x="60" y="0"/>
                    <a:pt x="60" y="0"/>
                  </a:cubicBezTo>
                  <a:cubicBezTo>
                    <a:pt x="60" y="1"/>
                    <a:pt x="59" y="1"/>
                    <a:pt x="59" y="2"/>
                  </a:cubicBezTo>
                  <a:cubicBezTo>
                    <a:pt x="59" y="2"/>
                    <a:pt x="59" y="5"/>
                    <a:pt x="59" y="8"/>
                  </a:cubicBezTo>
                  <a:cubicBezTo>
                    <a:pt x="57" y="8"/>
                    <a:pt x="56" y="8"/>
                    <a:pt x="55" y="8"/>
                  </a:cubicBezTo>
                  <a:cubicBezTo>
                    <a:pt x="54" y="6"/>
                    <a:pt x="53" y="3"/>
                    <a:pt x="53" y="2"/>
                  </a:cubicBezTo>
                  <a:cubicBezTo>
                    <a:pt x="53" y="2"/>
                    <a:pt x="53" y="1"/>
                    <a:pt x="52" y="1"/>
                  </a:cubicBezTo>
                  <a:cubicBezTo>
                    <a:pt x="52" y="1"/>
                    <a:pt x="51" y="1"/>
                    <a:pt x="51" y="1"/>
                  </a:cubicBezTo>
                  <a:cubicBezTo>
                    <a:pt x="50" y="1"/>
                    <a:pt x="50" y="1"/>
                    <a:pt x="49" y="2"/>
                  </a:cubicBezTo>
                  <a:cubicBezTo>
                    <a:pt x="49" y="2"/>
                    <a:pt x="49" y="3"/>
                    <a:pt x="49" y="3"/>
                  </a:cubicBezTo>
                  <a:cubicBezTo>
                    <a:pt x="49" y="4"/>
                    <a:pt x="49" y="7"/>
                    <a:pt x="49" y="9"/>
                  </a:cubicBezTo>
                  <a:cubicBezTo>
                    <a:pt x="48" y="10"/>
                    <a:pt x="47" y="10"/>
                    <a:pt x="46" y="10"/>
                  </a:cubicBezTo>
                  <a:cubicBezTo>
                    <a:pt x="44" y="8"/>
                    <a:pt x="43" y="5"/>
                    <a:pt x="43" y="5"/>
                  </a:cubicBezTo>
                  <a:cubicBezTo>
                    <a:pt x="43" y="4"/>
                    <a:pt x="42" y="4"/>
                    <a:pt x="42" y="4"/>
                  </a:cubicBezTo>
                  <a:cubicBezTo>
                    <a:pt x="41" y="3"/>
                    <a:pt x="41" y="3"/>
                    <a:pt x="40" y="4"/>
                  </a:cubicBezTo>
                  <a:cubicBezTo>
                    <a:pt x="40" y="4"/>
                    <a:pt x="39" y="4"/>
                    <a:pt x="39" y="5"/>
                  </a:cubicBezTo>
                  <a:cubicBezTo>
                    <a:pt x="39" y="5"/>
                    <a:pt x="39" y="6"/>
                    <a:pt x="39" y="6"/>
                  </a:cubicBezTo>
                  <a:cubicBezTo>
                    <a:pt x="39" y="7"/>
                    <a:pt x="40" y="10"/>
                    <a:pt x="40" y="12"/>
                  </a:cubicBezTo>
                  <a:cubicBezTo>
                    <a:pt x="39" y="13"/>
                    <a:pt x="38" y="13"/>
                    <a:pt x="37" y="14"/>
                  </a:cubicBezTo>
                  <a:cubicBezTo>
                    <a:pt x="35" y="12"/>
                    <a:pt x="34" y="9"/>
                    <a:pt x="33" y="9"/>
                  </a:cubicBezTo>
                  <a:cubicBezTo>
                    <a:pt x="33" y="8"/>
                    <a:pt x="32" y="8"/>
                    <a:pt x="32" y="8"/>
                  </a:cubicBezTo>
                  <a:cubicBezTo>
                    <a:pt x="32" y="8"/>
                    <a:pt x="31" y="8"/>
                    <a:pt x="31" y="8"/>
                  </a:cubicBezTo>
                  <a:cubicBezTo>
                    <a:pt x="30" y="8"/>
                    <a:pt x="30" y="9"/>
                    <a:pt x="30" y="9"/>
                  </a:cubicBezTo>
                  <a:cubicBezTo>
                    <a:pt x="29" y="10"/>
                    <a:pt x="29" y="10"/>
                    <a:pt x="30" y="11"/>
                  </a:cubicBezTo>
                  <a:cubicBezTo>
                    <a:pt x="30" y="11"/>
                    <a:pt x="31" y="14"/>
                    <a:pt x="32" y="17"/>
                  </a:cubicBezTo>
                  <a:cubicBezTo>
                    <a:pt x="31" y="17"/>
                    <a:pt x="30" y="18"/>
                    <a:pt x="29" y="19"/>
                  </a:cubicBezTo>
                  <a:cubicBezTo>
                    <a:pt x="27" y="17"/>
                    <a:pt x="25" y="15"/>
                    <a:pt x="25" y="14"/>
                  </a:cubicBezTo>
                  <a:cubicBezTo>
                    <a:pt x="24" y="14"/>
                    <a:pt x="24" y="14"/>
                    <a:pt x="23" y="14"/>
                  </a:cubicBezTo>
                  <a:cubicBezTo>
                    <a:pt x="23" y="14"/>
                    <a:pt x="22" y="14"/>
                    <a:pt x="22" y="14"/>
                  </a:cubicBezTo>
                  <a:cubicBezTo>
                    <a:pt x="21" y="15"/>
                    <a:pt x="21" y="15"/>
                    <a:pt x="21" y="16"/>
                  </a:cubicBezTo>
                  <a:cubicBezTo>
                    <a:pt x="21" y="16"/>
                    <a:pt x="21" y="17"/>
                    <a:pt x="21" y="17"/>
                  </a:cubicBezTo>
                  <a:cubicBezTo>
                    <a:pt x="22" y="18"/>
                    <a:pt x="23" y="20"/>
                    <a:pt x="25" y="22"/>
                  </a:cubicBezTo>
                  <a:cubicBezTo>
                    <a:pt x="24" y="23"/>
                    <a:pt x="23" y="24"/>
                    <a:pt x="22" y="25"/>
                  </a:cubicBezTo>
                  <a:cubicBezTo>
                    <a:pt x="20" y="24"/>
                    <a:pt x="17" y="22"/>
                    <a:pt x="17" y="22"/>
                  </a:cubicBezTo>
                  <a:cubicBezTo>
                    <a:pt x="16" y="21"/>
                    <a:pt x="16" y="21"/>
                    <a:pt x="15" y="21"/>
                  </a:cubicBezTo>
                  <a:cubicBezTo>
                    <a:pt x="15" y="21"/>
                    <a:pt x="15" y="22"/>
                    <a:pt x="14" y="22"/>
                  </a:cubicBezTo>
                  <a:cubicBezTo>
                    <a:pt x="14" y="22"/>
                    <a:pt x="14" y="23"/>
                    <a:pt x="14" y="23"/>
                  </a:cubicBezTo>
                  <a:cubicBezTo>
                    <a:pt x="14" y="24"/>
                    <a:pt x="14" y="24"/>
                    <a:pt x="14" y="25"/>
                  </a:cubicBezTo>
                  <a:cubicBezTo>
                    <a:pt x="15" y="25"/>
                    <a:pt x="17" y="27"/>
                    <a:pt x="19" y="29"/>
                  </a:cubicBezTo>
                  <a:cubicBezTo>
                    <a:pt x="18" y="30"/>
                    <a:pt x="17" y="31"/>
                    <a:pt x="16" y="32"/>
                  </a:cubicBezTo>
                  <a:cubicBezTo>
                    <a:pt x="14" y="31"/>
                    <a:pt x="11" y="30"/>
                    <a:pt x="11" y="30"/>
                  </a:cubicBezTo>
                  <a:cubicBezTo>
                    <a:pt x="10" y="30"/>
                    <a:pt x="10" y="30"/>
                    <a:pt x="9" y="30"/>
                  </a:cubicBezTo>
                  <a:cubicBezTo>
                    <a:pt x="9" y="30"/>
                    <a:pt x="8" y="30"/>
                    <a:pt x="8" y="31"/>
                  </a:cubicBezTo>
                  <a:cubicBezTo>
                    <a:pt x="8" y="31"/>
                    <a:pt x="8" y="32"/>
                    <a:pt x="8" y="32"/>
                  </a:cubicBezTo>
                  <a:cubicBezTo>
                    <a:pt x="8" y="33"/>
                    <a:pt x="8" y="33"/>
                    <a:pt x="8" y="34"/>
                  </a:cubicBezTo>
                  <a:cubicBezTo>
                    <a:pt x="9" y="34"/>
                    <a:pt x="11" y="36"/>
                    <a:pt x="14" y="37"/>
                  </a:cubicBezTo>
                  <a:cubicBezTo>
                    <a:pt x="13" y="38"/>
                    <a:pt x="12" y="40"/>
                    <a:pt x="12" y="41"/>
                  </a:cubicBezTo>
                  <a:cubicBezTo>
                    <a:pt x="9" y="40"/>
                    <a:pt x="7" y="39"/>
                    <a:pt x="6" y="39"/>
                  </a:cubicBezTo>
                  <a:cubicBezTo>
                    <a:pt x="5" y="39"/>
                    <a:pt x="5" y="39"/>
                    <a:pt x="4" y="39"/>
                  </a:cubicBezTo>
                  <a:cubicBezTo>
                    <a:pt x="4" y="40"/>
                    <a:pt x="4" y="40"/>
                    <a:pt x="3" y="41"/>
                  </a:cubicBezTo>
                  <a:cubicBezTo>
                    <a:pt x="3" y="41"/>
                    <a:pt x="3" y="42"/>
                    <a:pt x="3" y="42"/>
                  </a:cubicBezTo>
                  <a:cubicBezTo>
                    <a:pt x="4" y="43"/>
                    <a:pt x="4" y="43"/>
                    <a:pt x="4" y="43"/>
                  </a:cubicBezTo>
                  <a:cubicBezTo>
                    <a:pt x="5" y="43"/>
                    <a:pt x="8" y="45"/>
                    <a:pt x="10" y="46"/>
                  </a:cubicBezTo>
                  <a:cubicBezTo>
                    <a:pt x="10" y="47"/>
                    <a:pt x="9" y="48"/>
                    <a:pt x="9" y="50"/>
                  </a:cubicBezTo>
                  <a:cubicBezTo>
                    <a:pt x="6" y="50"/>
                    <a:pt x="3" y="49"/>
                    <a:pt x="3" y="49"/>
                  </a:cubicBezTo>
                  <a:cubicBezTo>
                    <a:pt x="2" y="49"/>
                    <a:pt x="2" y="49"/>
                    <a:pt x="1" y="50"/>
                  </a:cubicBezTo>
                  <a:cubicBezTo>
                    <a:pt x="1" y="50"/>
                    <a:pt x="1" y="50"/>
                    <a:pt x="1" y="51"/>
                  </a:cubicBezTo>
                  <a:cubicBezTo>
                    <a:pt x="1" y="51"/>
                    <a:pt x="1" y="52"/>
                    <a:pt x="1" y="53"/>
                  </a:cubicBezTo>
                  <a:cubicBezTo>
                    <a:pt x="1" y="53"/>
                    <a:pt x="2" y="53"/>
                    <a:pt x="2" y="53"/>
                  </a:cubicBezTo>
                  <a:cubicBezTo>
                    <a:pt x="3" y="54"/>
                    <a:pt x="6" y="54"/>
                    <a:pt x="8" y="55"/>
                  </a:cubicBezTo>
                  <a:cubicBezTo>
                    <a:pt x="8" y="56"/>
                    <a:pt x="8" y="58"/>
                    <a:pt x="8" y="59"/>
                  </a:cubicBezTo>
                  <a:cubicBezTo>
                    <a:pt x="5" y="59"/>
                    <a:pt x="2" y="59"/>
                    <a:pt x="2" y="60"/>
                  </a:cubicBezTo>
                  <a:cubicBezTo>
                    <a:pt x="1" y="60"/>
                    <a:pt x="1" y="60"/>
                    <a:pt x="0" y="60"/>
                  </a:cubicBezTo>
                  <a:cubicBezTo>
                    <a:pt x="0" y="61"/>
                    <a:pt x="0" y="61"/>
                    <a:pt x="0" y="62"/>
                  </a:cubicBezTo>
                  <a:cubicBezTo>
                    <a:pt x="0" y="62"/>
                    <a:pt x="0" y="63"/>
                    <a:pt x="0" y="63"/>
                  </a:cubicBezTo>
                  <a:cubicBezTo>
                    <a:pt x="1" y="63"/>
                    <a:pt x="1" y="64"/>
                    <a:pt x="2" y="64"/>
                  </a:cubicBezTo>
                  <a:cubicBezTo>
                    <a:pt x="2" y="64"/>
                    <a:pt x="5" y="64"/>
                    <a:pt x="8" y="64"/>
                  </a:cubicBezTo>
                  <a:cubicBezTo>
                    <a:pt x="8" y="66"/>
                    <a:pt x="8" y="67"/>
                    <a:pt x="8" y="68"/>
                  </a:cubicBezTo>
                  <a:cubicBezTo>
                    <a:pt x="6" y="69"/>
                    <a:pt x="3" y="70"/>
                    <a:pt x="2" y="70"/>
                  </a:cubicBezTo>
                  <a:cubicBezTo>
                    <a:pt x="2" y="70"/>
                    <a:pt x="1" y="71"/>
                    <a:pt x="1" y="71"/>
                  </a:cubicBezTo>
                  <a:cubicBezTo>
                    <a:pt x="1" y="71"/>
                    <a:pt x="1" y="72"/>
                    <a:pt x="1" y="72"/>
                  </a:cubicBezTo>
                  <a:cubicBezTo>
                    <a:pt x="1" y="73"/>
                    <a:pt x="1" y="73"/>
                    <a:pt x="1" y="74"/>
                  </a:cubicBezTo>
                  <a:cubicBezTo>
                    <a:pt x="2" y="74"/>
                    <a:pt x="2" y="74"/>
                    <a:pt x="3" y="74"/>
                  </a:cubicBezTo>
                  <a:cubicBezTo>
                    <a:pt x="3" y="74"/>
                    <a:pt x="6" y="74"/>
                    <a:pt x="9" y="74"/>
                  </a:cubicBezTo>
                  <a:cubicBezTo>
                    <a:pt x="9" y="75"/>
                    <a:pt x="10" y="76"/>
                    <a:pt x="10" y="78"/>
                  </a:cubicBezTo>
                  <a:cubicBezTo>
                    <a:pt x="8" y="79"/>
                    <a:pt x="5" y="80"/>
                    <a:pt x="4" y="80"/>
                  </a:cubicBezTo>
                  <a:cubicBezTo>
                    <a:pt x="4" y="80"/>
                    <a:pt x="4" y="81"/>
                    <a:pt x="3" y="81"/>
                  </a:cubicBezTo>
                  <a:cubicBezTo>
                    <a:pt x="3" y="82"/>
                    <a:pt x="3" y="82"/>
                    <a:pt x="3" y="83"/>
                  </a:cubicBezTo>
                  <a:cubicBezTo>
                    <a:pt x="4" y="83"/>
                    <a:pt x="4" y="84"/>
                    <a:pt x="4" y="84"/>
                  </a:cubicBezTo>
                  <a:cubicBezTo>
                    <a:pt x="5" y="84"/>
                    <a:pt x="5" y="84"/>
                    <a:pt x="6" y="84"/>
                  </a:cubicBezTo>
                  <a:cubicBezTo>
                    <a:pt x="7" y="84"/>
                    <a:pt x="9" y="83"/>
                    <a:pt x="12" y="83"/>
                  </a:cubicBezTo>
                  <a:cubicBezTo>
                    <a:pt x="12" y="84"/>
                    <a:pt x="13" y="85"/>
                    <a:pt x="14" y="86"/>
                  </a:cubicBezTo>
                  <a:cubicBezTo>
                    <a:pt x="11" y="88"/>
                    <a:pt x="9" y="89"/>
                    <a:pt x="8" y="90"/>
                  </a:cubicBezTo>
                  <a:cubicBezTo>
                    <a:pt x="8" y="90"/>
                    <a:pt x="8" y="91"/>
                    <a:pt x="8" y="91"/>
                  </a:cubicBezTo>
                  <a:cubicBezTo>
                    <a:pt x="8" y="92"/>
                    <a:pt x="8" y="92"/>
                    <a:pt x="8" y="93"/>
                  </a:cubicBezTo>
                  <a:cubicBezTo>
                    <a:pt x="8" y="93"/>
                    <a:pt x="9" y="93"/>
                    <a:pt x="9" y="94"/>
                  </a:cubicBezTo>
                  <a:cubicBezTo>
                    <a:pt x="10" y="94"/>
                    <a:pt x="10" y="94"/>
                    <a:pt x="11" y="94"/>
                  </a:cubicBezTo>
                  <a:cubicBezTo>
                    <a:pt x="11" y="93"/>
                    <a:pt x="14" y="92"/>
                    <a:pt x="16" y="91"/>
                  </a:cubicBezTo>
                  <a:cubicBezTo>
                    <a:pt x="17" y="92"/>
                    <a:pt x="18" y="93"/>
                    <a:pt x="19" y="94"/>
                  </a:cubicBezTo>
                  <a:cubicBezTo>
                    <a:pt x="17" y="96"/>
                    <a:pt x="15" y="98"/>
                    <a:pt x="14" y="99"/>
                  </a:cubicBezTo>
                  <a:cubicBezTo>
                    <a:pt x="14" y="99"/>
                    <a:pt x="14" y="99"/>
                    <a:pt x="14" y="100"/>
                  </a:cubicBezTo>
                  <a:cubicBezTo>
                    <a:pt x="14" y="101"/>
                    <a:pt x="14" y="101"/>
                    <a:pt x="14" y="101"/>
                  </a:cubicBezTo>
                  <a:cubicBezTo>
                    <a:pt x="15" y="102"/>
                    <a:pt x="15" y="102"/>
                    <a:pt x="15" y="102"/>
                  </a:cubicBezTo>
                  <a:cubicBezTo>
                    <a:pt x="16" y="102"/>
                    <a:pt x="16" y="102"/>
                    <a:pt x="17" y="102"/>
                  </a:cubicBezTo>
                  <a:cubicBezTo>
                    <a:pt x="17" y="102"/>
                    <a:pt x="20" y="100"/>
                    <a:pt x="22" y="98"/>
                  </a:cubicBezTo>
                  <a:cubicBezTo>
                    <a:pt x="23" y="99"/>
                    <a:pt x="24" y="100"/>
                    <a:pt x="25" y="101"/>
                  </a:cubicBezTo>
                  <a:cubicBezTo>
                    <a:pt x="23" y="103"/>
                    <a:pt x="22" y="106"/>
                    <a:pt x="21" y="106"/>
                  </a:cubicBezTo>
                  <a:cubicBezTo>
                    <a:pt x="21" y="107"/>
                    <a:pt x="21" y="107"/>
                    <a:pt x="21" y="108"/>
                  </a:cubicBezTo>
                  <a:cubicBezTo>
                    <a:pt x="21" y="108"/>
                    <a:pt x="21" y="109"/>
                    <a:pt x="22" y="109"/>
                  </a:cubicBezTo>
                  <a:cubicBezTo>
                    <a:pt x="22" y="109"/>
                    <a:pt x="23" y="110"/>
                    <a:pt x="23" y="110"/>
                  </a:cubicBezTo>
                  <a:cubicBezTo>
                    <a:pt x="24" y="110"/>
                    <a:pt x="24" y="109"/>
                    <a:pt x="25" y="109"/>
                  </a:cubicBezTo>
                  <a:cubicBezTo>
                    <a:pt x="25" y="109"/>
                    <a:pt x="27" y="106"/>
                    <a:pt x="29" y="105"/>
                  </a:cubicBezTo>
                  <a:cubicBezTo>
                    <a:pt x="30" y="105"/>
                    <a:pt x="31" y="106"/>
                    <a:pt x="32" y="107"/>
                  </a:cubicBezTo>
                  <a:cubicBezTo>
                    <a:pt x="31" y="109"/>
                    <a:pt x="30" y="112"/>
                    <a:pt x="30" y="113"/>
                  </a:cubicBezTo>
                  <a:cubicBezTo>
                    <a:pt x="29" y="113"/>
                    <a:pt x="29" y="114"/>
                    <a:pt x="30" y="114"/>
                  </a:cubicBezTo>
                  <a:cubicBezTo>
                    <a:pt x="30" y="115"/>
                    <a:pt x="30" y="115"/>
                    <a:pt x="31" y="115"/>
                  </a:cubicBezTo>
                  <a:cubicBezTo>
                    <a:pt x="31" y="115"/>
                    <a:pt x="32" y="116"/>
                    <a:pt x="32" y="115"/>
                  </a:cubicBezTo>
                  <a:cubicBezTo>
                    <a:pt x="33" y="115"/>
                    <a:pt x="33" y="115"/>
                    <a:pt x="33" y="115"/>
                  </a:cubicBezTo>
                  <a:cubicBezTo>
                    <a:pt x="34" y="114"/>
                    <a:pt x="35" y="112"/>
                    <a:pt x="37" y="110"/>
                  </a:cubicBezTo>
                  <a:cubicBezTo>
                    <a:pt x="38" y="110"/>
                    <a:pt x="39" y="111"/>
                    <a:pt x="40" y="111"/>
                  </a:cubicBezTo>
                  <a:cubicBezTo>
                    <a:pt x="40" y="114"/>
                    <a:pt x="39" y="117"/>
                    <a:pt x="39" y="117"/>
                  </a:cubicBezTo>
                  <a:cubicBezTo>
                    <a:pt x="39" y="118"/>
                    <a:pt x="39" y="118"/>
                    <a:pt x="39" y="119"/>
                  </a:cubicBezTo>
                  <a:cubicBezTo>
                    <a:pt x="39" y="119"/>
                    <a:pt x="40" y="120"/>
                    <a:pt x="40" y="120"/>
                  </a:cubicBezTo>
                  <a:cubicBezTo>
                    <a:pt x="41" y="120"/>
                    <a:pt x="41" y="120"/>
                    <a:pt x="42" y="120"/>
                  </a:cubicBezTo>
                  <a:cubicBezTo>
                    <a:pt x="42" y="120"/>
                    <a:pt x="43" y="119"/>
                    <a:pt x="43" y="119"/>
                  </a:cubicBezTo>
                  <a:cubicBezTo>
                    <a:pt x="43" y="118"/>
                    <a:pt x="44" y="115"/>
                    <a:pt x="46" y="113"/>
                  </a:cubicBezTo>
                  <a:cubicBezTo>
                    <a:pt x="47" y="113"/>
                    <a:pt x="48" y="114"/>
                    <a:pt x="49" y="114"/>
                  </a:cubicBezTo>
                  <a:cubicBezTo>
                    <a:pt x="49" y="117"/>
                    <a:pt x="49" y="120"/>
                    <a:pt x="49" y="120"/>
                  </a:cubicBezTo>
                  <a:cubicBezTo>
                    <a:pt x="49" y="121"/>
                    <a:pt x="49" y="121"/>
                    <a:pt x="49" y="122"/>
                  </a:cubicBezTo>
                  <a:cubicBezTo>
                    <a:pt x="50" y="122"/>
                    <a:pt x="50" y="122"/>
                    <a:pt x="51" y="123"/>
                  </a:cubicBezTo>
                  <a:cubicBezTo>
                    <a:pt x="51" y="123"/>
                    <a:pt x="52" y="123"/>
                    <a:pt x="52" y="122"/>
                  </a:cubicBezTo>
                  <a:cubicBezTo>
                    <a:pt x="53" y="122"/>
                    <a:pt x="53" y="122"/>
                    <a:pt x="53" y="121"/>
                  </a:cubicBezTo>
                  <a:cubicBezTo>
                    <a:pt x="53" y="121"/>
                    <a:pt x="54" y="118"/>
                    <a:pt x="55" y="115"/>
                  </a:cubicBezTo>
                  <a:cubicBezTo>
                    <a:pt x="56" y="115"/>
                    <a:pt x="57" y="115"/>
                    <a:pt x="59" y="115"/>
                  </a:cubicBezTo>
                  <a:cubicBezTo>
                    <a:pt x="59" y="118"/>
                    <a:pt x="59" y="121"/>
                    <a:pt x="59" y="122"/>
                  </a:cubicBezTo>
                  <a:cubicBezTo>
                    <a:pt x="59" y="122"/>
                    <a:pt x="60" y="123"/>
                    <a:pt x="60" y="123"/>
                  </a:cubicBezTo>
                  <a:cubicBezTo>
                    <a:pt x="60" y="123"/>
                    <a:pt x="61" y="123"/>
                    <a:pt x="61" y="123"/>
                  </a:cubicBezTo>
                  <a:cubicBezTo>
                    <a:pt x="62" y="123"/>
                    <a:pt x="62" y="123"/>
                    <a:pt x="63" y="123"/>
                  </a:cubicBezTo>
                  <a:cubicBezTo>
                    <a:pt x="63" y="123"/>
                    <a:pt x="63" y="122"/>
                    <a:pt x="64" y="122"/>
                  </a:cubicBezTo>
                  <a:cubicBezTo>
                    <a:pt x="64" y="121"/>
                    <a:pt x="64" y="118"/>
                    <a:pt x="64" y="115"/>
                  </a:cubicBezTo>
                  <a:cubicBezTo>
                    <a:pt x="65" y="115"/>
                    <a:pt x="67" y="115"/>
                    <a:pt x="68" y="115"/>
                  </a:cubicBezTo>
                  <a:cubicBezTo>
                    <a:pt x="69" y="118"/>
                    <a:pt x="70" y="121"/>
                    <a:pt x="70" y="121"/>
                  </a:cubicBezTo>
                  <a:cubicBezTo>
                    <a:pt x="70" y="122"/>
                    <a:pt x="70" y="122"/>
                    <a:pt x="71" y="122"/>
                  </a:cubicBezTo>
                  <a:cubicBezTo>
                    <a:pt x="71" y="123"/>
                    <a:pt x="72" y="123"/>
                    <a:pt x="72" y="123"/>
                  </a:cubicBezTo>
                  <a:cubicBezTo>
                    <a:pt x="73" y="122"/>
                    <a:pt x="73" y="122"/>
                    <a:pt x="73" y="122"/>
                  </a:cubicBezTo>
                  <a:cubicBezTo>
                    <a:pt x="74" y="121"/>
                    <a:pt x="74" y="121"/>
                    <a:pt x="74" y="120"/>
                  </a:cubicBezTo>
                  <a:cubicBezTo>
                    <a:pt x="74" y="120"/>
                    <a:pt x="74" y="117"/>
                    <a:pt x="73" y="114"/>
                  </a:cubicBezTo>
                  <a:cubicBezTo>
                    <a:pt x="75" y="114"/>
                    <a:pt x="76" y="113"/>
                    <a:pt x="77" y="113"/>
                  </a:cubicBezTo>
                  <a:cubicBezTo>
                    <a:pt x="78" y="115"/>
                    <a:pt x="80" y="118"/>
                    <a:pt x="80" y="119"/>
                  </a:cubicBezTo>
                  <a:cubicBezTo>
                    <a:pt x="80" y="119"/>
                    <a:pt x="81" y="120"/>
                    <a:pt x="81" y="120"/>
                  </a:cubicBezTo>
                  <a:cubicBezTo>
                    <a:pt x="81" y="120"/>
                    <a:pt x="82" y="120"/>
                    <a:pt x="83" y="120"/>
                  </a:cubicBezTo>
                  <a:cubicBezTo>
                    <a:pt x="83" y="120"/>
                    <a:pt x="83" y="119"/>
                    <a:pt x="84" y="119"/>
                  </a:cubicBezTo>
                  <a:cubicBezTo>
                    <a:pt x="84" y="118"/>
                    <a:pt x="84" y="118"/>
                    <a:pt x="84" y="117"/>
                  </a:cubicBezTo>
                  <a:cubicBezTo>
                    <a:pt x="84" y="117"/>
                    <a:pt x="83" y="114"/>
                    <a:pt x="82" y="111"/>
                  </a:cubicBezTo>
                  <a:cubicBezTo>
                    <a:pt x="83" y="111"/>
                    <a:pt x="85" y="110"/>
                    <a:pt x="86" y="110"/>
                  </a:cubicBezTo>
                  <a:cubicBezTo>
                    <a:pt x="87" y="112"/>
                    <a:pt x="89" y="114"/>
                    <a:pt x="90" y="115"/>
                  </a:cubicBezTo>
                  <a:cubicBezTo>
                    <a:pt x="90" y="115"/>
                    <a:pt x="90" y="115"/>
                    <a:pt x="91" y="115"/>
                  </a:cubicBezTo>
                  <a:cubicBezTo>
                    <a:pt x="91" y="116"/>
                    <a:pt x="92" y="115"/>
                    <a:pt x="92" y="115"/>
                  </a:cubicBezTo>
                  <a:cubicBezTo>
                    <a:pt x="93" y="115"/>
                    <a:pt x="93" y="115"/>
                    <a:pt x="93" y="114"/>
                  </a:cubicBezTo>
                  <a:cubicBezTo>
                    <a:pt x="93" y="114"/>
                    <a:pt x="93" y="113"/>
                    <a:pt x="93" y="113"/>
                  </a:cubicBezTo>
                  <a:cubicBezTo>
                    <a:pt x="93" y="112"/>
                    <a:pt x="92" y="109"/>
                    <a:pt x="91" y="107"/>
                  </a:cubicBezTo>
                  <a:cubicBezTo>
                    <a:pt x="92" y="106"/>
                    <a:pt x="93" y="105"/>
                    <a:pt x="94" y="105"/>
                  </a:cubicBezTo>
                  <a:cubicBezTo>
                    <a:pt x="96" y="106"/>
                    <a:pt x="98" y="109"/>
                    <a:pt x="98" y="109"/>
                  </a:cubicBezTo>
                  <a:cubicBezTo>
                    <a:pt x="99" y="109"/>
                    <a:pt x="99" y="110"/>
                    <a:pt x="100" y="110"/>
                  </a:cubicBezTo>
                  <a:cubicBezTo>
                    <a:pt x="100" y="110"/>
                    <a:pt x="101" y="109"/>
                    <a:pt x="101" y="109"/>
                  </a:cubicBezTo>
                  <a:cubicBezTo>
                    <a:pt x="101" y="109"/>
                    <a:pt x="102" y="108"/>
                    <a:pt x="102" y="108"/>
                  </a:cubicBezTo>
                  <a:cubicBezTo>
                    <a:pt x="102" y="107"/>
                    <a:pt x="102" y="107"/>
                    <a:pt x="102" y="106"/>
                  </a:cubicBezTo>
                  <a:cubicBezTo>
                    <a:pt x="101" y="106"/>
                    <a:pt x="99" y="103"/>
                    <a:pt x="98" y="101"/>
                  </a:cubicBezTo>
                  <a:cubicBezTo>
                    <a:pt x="99" y="100"/>
                    <a:pt x="100" y="99"/>
                    <a:pt x="101" y="98"/>
                  </a:cubicBezTo>
                  <a:cubicBezTo>
                    <a:pt x="103" y="100"/>
                    <a:pt x="105" y="102"/>
                    <a:pt x="106" y="102"/>
                  </a:cubicBezTo>
                  <a:cubicBezTo>
                    <a:pt x="106" y="102"/>
                    <a:pt x="107" y="102"/>
                    <a:pt x="107" y="102"/>
                  </a:cubicBezTo>
                  <a:cubicBezTo>
                    <a:pt x="108" y="102"/>
                    <a:pt x="108" y="102"/>
                    <a:pt x="109" y="101"/>
                  </a:cubicBezTo>
                  <a:cubicBezTo>
                    <a:pt x="109" y="101"/>
                    <a:pt x="109" y="101"/>
                    <a:pt x="109" y="100"/>
                  </a:cubicBezTo>
                  <a:cubicBezTo>
                    <a:pt x="109" y="99"/>
                    <a:pt x="109" y="99"/>
                    <a:pt x="109" y="99"/>
                  </a:cubicBezTo>
                  <a:cubicBezTo>
                    <a:pt x="108" y="98"/>
                    <a:pt x="106" y="96"/>
                    <a:pt x="104" y="94"/>
                  </a:cubicBezTo>
                  <a:cubicBezTo>
                    <a:pt x="105" y="93"/>
                    <a:pt x="106" y="92"/>
                    <a:pt x="106" y="91"/>
                  </a:cubicBezTo>
                  <a:cubicBezTo>
                    <a:pt x="109" y="92"/>
                    <a:pt x="112" y="93"/>
                    <a:pt x="112" y="94"/>
                  </a:cubicBezTo>
                  <a:cubicBezTo>
                    <a:pt x="113" y="94"/>
                    <a:pt x="113" y="94"/>
                    <a:pt x="114" y="94"/>
                  </a:cubicBezTo>
                  <a:cubicBezTo>
                    <a:pt x="114" y="93"/>
                    <a:pt x="115" y="93"/>
                    <a:pt x="115" y="93"/>
                  </a:cubicBezTo>
                  <a:cubicBezTo>
                    <a:pt x="115" y="92"/>
                    <a:pt x="115" y="92"/>
                    <a:pt x="115" y="91"/>
                  </a:cubicBezTo>
                  <a:cubicBezTo>
                    <a:pt x="115" y="91"/>
                    <a:pt x="115" y="90"/>
                    <a:pt x="114" y="90"/>
                  </a:cubicBezTo>
                  <a:cubicBezTo>
                    <a:pt x="114" y="89"/>
                    <a:pt x="111" y="88"/>
                    <a:pt x="109" y="86"/>
                  </a:cubicBezTo>
                  <a:cubicBezTo>
                    <a:pt x="110" y="85"/>
                    <a:pt x="110" y="84"/>
                    <a:pt x="111" y="83"/>
                  </a:cubicBezTo>
                  <a:cubicBezTo>
                    <a:pt x="113" y="83"/>
                    <a:pt x="116" y="84"/>
                    <a:pt x="117" y="84"/>
                  </a:cubicBezTo>
                  <a:cubicBezTo>
                    <a:pt x="117" y="84"/>
                    <a:pt x="118" y="84"/>
                    <a:pt x="118" y="84"/>
                  </a:cubicBezTo>
                  <a:cubicBezTo>
                    <a:pt x="119" y="84"/>
                    <a:pt x="119" y="83"/>
                    <a:pt x="119" y="83"/>
                  </a:cubicBezTo>
                  <a:cubicBezTo>
                    <a:pt x="120" y="82"/>
                    <a:pt x="120" y="82"/>
                    <a:pt x="119" y="81"/>
                  </a:cubicBezTo>
                  <a:cubicBezTo>
                    <a:pt x="119" y="81"/>
                    <a:pt x="119" y="80"/>
                    <a:pt x="118" y="80"/>
                  </a:cubicBezTo>
                  <a:cubicBezTo>
                    <a:pt x="118" y="80"/>
                    <a:pt x="115" y="79"/>
                    <a:pt x="113" y="78"/>
                  </a:cubicBezTo>
                  <a:cubicBezTo>
                    <a:pt x="113" y="76"/>
                    <a:pt x="113" y="75"/>
                    <a:pt x="114" y="74"/>
                  </a:cubicBezTo>
                  <a:cubicBezTo>
                    <a:pt x="116" y="74"/>
                    <a:pt x="119" y="74"/>
                    <a:pt x="120" y="74"/>
                  </a:cubicBezTo>
                  <a:cubicBezTo>
                    <a:pt x="121" y="74"/>
                    <a:pt x="121" y="74"/>
                    <a:pt x="121" y="74"/>
                  </a:cubicBezTo>
                  <a:cubicBezTo>
                    <a:pt x="122" y="73"/>
                    <a:pt x="122" y="73"/>
                    <a:pt x="122" y="72"/>
                  </a:cubicBezTo>
                  <a:cubicBezTo>
                    <a:pt x="122" y="72"/>
                    <a:pt x="122" y="71"/>
                    <a:pt x="122" y="71"/>
                  </a:cubicBezTo>
                  <a:cubicBezTo>
                    <a:pt x="122" y="71"/>
                    <a:pt x="121" y="70"/>
                    <a:pt x="121" y="70"/>
                  </a:cubicBezTo>
                  <a:cubicBezTo>
                    <a:pt x="120" y="70"/>
                    <a:pt x="117" y="69"/>
                    <a:pt x="115" y="68"/>
                  </a:cubicBezTo>
                  <a:cubicBezTo>
                    <a:pt x="115" y="67"/>
                    <a:pt x="115" y="66"/>
                    <a:pt x="115" y="64"/>
                  </a:cubicBezTo>
                  <a:cubicBezTo>
                    <a:pt x="118" y="64"/>
                    <a:pt x="121" y="64"/>
                    <a:pt x="121" y="64"/>
                  </a:cubicBezTo>
                  <a:close/>
                  <a:moveTo>
                    <a:pt x="62" y="111"/>
                  </a:moveTo>
                  <a:cubicBezTo>
                    <a:pt x="61" y="111"/>
                    <a:pt x="61" y="111"/>
                    <a:pt x="61" y="111"/>
                  </a:cubicBezTo>
                  <a:cubicBezTo>
                    <a:pt x="61" y="111"/>
                    <a:pt x="61" y="111"/>
                    <a:pt x="61" y="111"/>
                  </a:cubicBezTo>
                  <a:cubicBezTo>
                    <a:pt x="61" y="111"/>
                    <a:pt x="61" y="111"/>
                    <a:pt x="62" y="111"/>
                  </a:cubicBezTo>
                  <a:close/>
                  <a:moveTo>
                    <a:pt x="45" y="108"/>
                  </a:moveTo>
                  <a:cubicBezTo>
                    <a:pt x="45" y="108"/>
                    <a:pt x="44" y="107"/>
                    <a:pt x="44" y="107"/>
                  </a:cubicBezTo>
                  <a:cubicBezTo>
                    <a:pt x="44" y="107"/>
                    <a:pt x="44" y="108"/>
                    <a:pt x="45" y="108"/>
                  </a:cubicBezTo>
                  <a:cubicBezTo>
                    <a:pt x="45" y="108"/>
                    <a:pt x="45" y="108"/>
                    <a:pt x="45" y="108"/>
                  </a:cubicBezTo>
                  <a:close/>
                  <a:moveTo>
                    <a:pt x="31" y="100"/>
                  </a:moveTo>
                  <a:cubicBezTo>
                    <a:pt x="30" y="99"/>
                    <a:pt x="30" y="99"/>
                    <a:pt x="29" y="99"/>
                  </a:cubicBezTo>
                  <a:cubicBezTo>
                    <a:pt x="30" y="99"/>
                    <a:pt x="30" y="99"/>
                    <a:pt x="30" y="99"/>
                  </a:cubicBezTo>
                  <a:cubicBezTo>
                    <a:pt x="30" y="99"/>
                    <a:pt x="30" y="99"/>
                    <a:pt x="31" y="100"/>
                  </a:cubicBezTo>
                  <a:close/>
                  <a:moveTo>
                    <a:pt x="19" y="87"/>
                  </a:moveTo>
                  <a:cubicBezTo>
                    <a:pt x="19" y="86"/>
                    <a:pt x="19" y="86"/>
                    <a:pt x="19" y="86"/>
                  </a:cubicBezTo>
                  <a:cubicBezTo>
                    <a:pt x="19" y="86"/>
                    <a:pt x="19" y="86"/>
                    <a:pt x="19" y="86"/>
                  </a:cubicBezTo>
                  <a:cubicBezTo>
                    <a:pt x="19" y="86"/>
                    <a:pt x="19" y="87"/>
                    <a:pt x="19" y="87"/>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2" name="Freeform 343">
              <a:extLst>
                <a:ext uri="{FF2B5EF4-FFF2-40B4-BE49-F238E27FC236}">
                  <a16:creationId xmlns:a16="http://schemas.microsoft.com/office/drawing/2014/main" id="{D2D8B1B5-642B-4CBD-A08B-52128C78D98E}"/>
                </a:ext>
              </a:extLst>
            </p:cNvPr>
            <p:cNvSpPr>
              <a:spLocks noEditPoints="1"/>
            </p:cNvSpPr>
            <p:nvPr/>
          </p:nvSpPr>
          <p:spPr bwMode="auto">
            <a:xfrm>
              <a:off x="2335102" y="3012035"/>
              <a:ext cx="244229" cy="262795"/>
            </a:xfrm>
            <a:custGeom>
              <a:avLst/>
              <a:gdLst>
                <a:gd name="T0" fmla="*/ 224 w 256"/>
                <a:gd name="T1" fmla="*/ 213 h 277"/>
                <a:gd name="T2" fmla="*/ 224 w 256"/>
                <a:gd name="T3" fmla="*/ 267 h 277"/>
                <a:gd name="T4" fmla="*/ 213 w 256"/>
                <a:gd name="T5" fmla="*/ 277 h 277"/>
                <a:gd name="T6" fmla="*/ 202 w 256"/>
                <a:gd name="T7" fmla="*/ 267 h 277"/>
                <a:gd name="T8" fmla="*/ 202 w 256"/>
                <a:gd name="T9" fmla="*/ 242 h 277"/>
                <a:gd name="T10" fmla="*/ 128 w 256"/>
                <a:gd name="T11" fmla="*/ 267 h 277"/>
                <a:gd name="T12" fmla="*/ 0 w 256"/>
                <a:gd name="T13" fmla="*/ 139 h 277"/>
                <a:gd name="T14" fmla="*/ 10 w 256"/>
                <a:gd name="T15" fmla="*/ 128 h 277"/>
                <a:gd name="T16" fmla="*/ 21 w 256"/>
                <a:gd name="T17" fmla="*/ 139 h 277"/>
                <a:gd name="T18" fmla="*/ 128 w 256"/>
                <a:gd name="T19" fmla="*/ 245 h 277"/>
                <a:gd name="T20" fmla="*/ 192 w 256"/>
                <a:gd name="T21" fmla="*/ 224 h 277"/>
                <a:gd name="T22" fmla="*/ 160 w 256"/>
                <a:gd name="T23" fmla="*/ 224 h 277"/>
                <a:gd name="T24" fmla="*/ 149 w 256"/>
                <a:gd name="T25" fmla="*/ 213 h 277"/>
                <a:gd name="T26" fmla="*/ 160 w 256"/>
                <a:gd name="T27" fmla="*/ 203 h 277"/>
                <a:gd name="T28" fmla="*/ 213 w 256"/>
                <a:gd name="T29" fmla="*/ 203 h 277"/>
                <a:gd name="T30" fmla="*/ 224 w 256"/>
                <a:gd name="T31" fmla="*/ 213 h 277"/>
                <a:gd name="T32" fmla="*/ 128 w 256"/>
                <a:gd name="T33" fmla="*/ 11 h 277"/>
                <a:gd name="T34" fmla="*/ 53 w 256"/>
                <a:gd name="T35" fmla="*/ 35 h 277"/>
                <a:gd name="T36" fmla="*/ 53 w 256"/>
                <a:gd name="T37" fmla="*/ 11 h 277"/>
                <a:gd name="T38" fmla="*/ 42 w 256"/>
                <a:gd name="T39" fmla="*/ 0 h 277"/>
                <a:gd name="T40" fmla="*/ 32 w 256"/>
                <a:gd name="T41" fmla="*/ 11 h 277"/>
                <a:gd name="T42" fmla="*/ 32 w 256"/>
                <a:gd name="T43" fmla="*/ 64 h 277"/>
                <a:gd name="T44" fmla="*/ 42 w 256"/>
                <a:gd name="T45" fmla="*/ 75 h 277"/>
                <a:gd name="T46" fmla="*/ 96 w 256"/>
                <a:gd name="T47" fmla="*/ 75 h 277"/>
                <a:gd name="T48" fmla="*/ 106 w 256"/>
                <a:gd name="T49" fmla="*/ 64 h 277"/>
                <a:gd name="T50" fmla="*/ 96 w 256"/>
                <a:gd name="T51" fmla="*/ 53 h 277"/>
                <a:gd name="T52" fmla="*/ 64 w 256"/>
                <a:gd name="T53" fmla="*/ 53 h 277"/>
                <a:gd name="T54" fmla="*/ 128 w 256"/>
                <a:gd name="T55" fmla="*/ 32 h 277"/>
                <a:gd name="T56" fmla="*/ 234 w 256"/>
                <a:gd name="T57" fmla="*/ 139 h 277"/>
                <a:gd name="T58" fmla="*/ 245 w 256"/>
                <a:gd name="T59" fmla="*/ 149 h 277"/>
                <a:gd name="T60" fmla="*/ 256 w 256"/>
                <a:gd name="T61" fmla="*/ 139 h 277"/>
                <a:gd name="T62" fmla="*/ 128 w 256"/>
                <a:gd name="T63" fmla="*/ 11 h 277"/>
                <a:gd name="T64" fmla="*/ 117 w 256"/>
                <a:gd name="T65" fmla="*/ 181 h 277"/>
                <a:gd name="T66" fmla="*/ 125 w 256"/>
                <a:gd name="T67" fmla="*/ 178 h 277"/>
                <a:gd name="T68" fmla="*/ 189 w 256"/>
                <a:gd name="T69" fmla="*/ 114 h 277"/>
                <a:gd name="T70" fmla="*/ 189 w 256"/>
                <a:gd name="T71" fmla="*/ 99 h 277"/>
                <a:gd name="T72" fmla="*/ 173 w 256"/>
                <a:gd name="T73" fmla="*/ 99 h 277"/>
                <a:gd name="T74" fmla="*/ 117 w 256"/>
                <a:gd name="T75" fmla="*/ 156 h 277"/>
                <a:gd name="T76" fmla="*/ 93 w 256"/>
                <a:gd name="T77" fmla="*/ 131 h 277"/>
                <a:gd name="T78" fmla="*/ 77 w 256"/>
                <a:gd name="T79" fmla="*/ 131 h 277"/>
                <a:gd name="T80" fmla="*/ 77 w 256"/>
                <a:gd name="T81" fmla="*/ 146 h 277"/>
                <a:gd name="T82" fmla="*/ 109 w 256"/>
                <a:gd name="T83" fmla="*/ 178 h 277"/>
                <a:gd name="T84" fmla="*/ 117 w 256"/>
                <a:gd name="T85"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77">
                  <a:moveTo>
                    <a:pt x="224" y="213"/>
                  </a:moveTo>
                  <a:cubicBezTo>
                    <a:pt x="224" y="267"/>
                    <a:pt x="224" y="267"/>
                    <a:pt x="224" y="267"/>
                  </a:cubicBezTo>
                  <a:cubicBezTo>
                    <a:pt x="224" y="273"/>
                    <a:pt x="219" y="277"/>
                    <a:pt x="213" y="277"/>
                  </a:cubicBezTo>
                  <a:cubicBezTo>
                    <a:pt x="207" y="277"/>
                    <a:pt x="202" y="273"/>
                    <a:pt x="202" y="267"/>
                  </a:cubicBezTo>
                  <a:cubicBezTo>
                    <a:pt x="202" y="242"/>
                    <a:pt x="202" y="242"/>
                    <a:pt x="202" y="242"/>
                  </a:cubicBezTo>
                  <a:cubicBezTo>
                    <a:pt x="181" y="258"/>
                    <a:pt x="155" y="267"/>
                    <a:pt x="128" y="267"/>
                  </a:cubicBezTo>
                  <a:cubicBezTo>
                    <a:pt x="57" y="267"/>
                    <a:pt x="0" y="209"/>
                    <a:pt x="0" y="139"/>
                  </a:cubicBezTo>
                  <a:cubicBezTo>
                    <a:pt x="0" y="133"/>
                    <a:pt x="4" y="128"/>
                    <a:pt x="10" y="128"/>
                  </a:cubicBezTo>
                  <a:cubicBezTo>
                    <a:pt x="16" y="128"/>
                    <a:pt x="21" y="133"/>
                    <a:pt x="21" y="139"/>
                  </a:cubicBezTo>
                  <a:cubicBezTo>
                    <a:pt x="21" y="197"/>
                    <a:pt x="69" y="245"/>
                    <a:pt x="128" y="245"/>
                  </a:cubicBezTo>
                  <a:cubicBezTo>
                    <a:pt x="151" y="245"/>
                    <a:pt x="173" y="238"/>
                    <a:pt x="192" y="224"/>
                  </a:cubicBezTo>
                  <a:cubicBezTo>
                    <a:pt x="160" y="224"/>
                    <a:pt x="160" y="224"/>
                    <a:pt x="160" y="224"/>
                  </a:cubicBezTo>
                  <a:cubicBezTo>
                    <a:pt x="154" y="224"/>
                    <a:pt x="149" y="219"/>
                    <a:pt x="149" y="213"/>
                  </a:cubicBezTo>
                  <a:cubicBezTo>
                    <a:pt x="149" y="207"/>
                    <a:pt x="154" y="203"/>
                    <a:pt x="160" y="203"/>
                  </a:cubicBezTo>
                  <a:cubicBezTo>
                    <a:pt x="213" y="203"/>
                    <a:pt x="213" y="203"/>
                    <a:pt x="213" y="203"/>
                  </a:cubicBezTo>
                  <a:cubicBezTo>
                    <a:pt x="219" y="203"/>
                    <a:pt x="224" y="207"/>
                    <a:pt x="224" y="213"/>
                  </a:cubicBezTo>
                  <a:close/>
                  <a:moveTo>
                    <a:pt x="128" y="11"/>
                  </a:moveTo>
                  <a:cubicBezTo>
                    <a:pt x="101" y="11"/>
                    <a:pt x="75" y="19"/>
                    <a:pt x="53" y="35"/>
                  </a:cubicBezTo>
                  <a:cubicBezTo>
                    <a:pt x="53" y="11"/>
                    <a:pt x="53" y="11"/>
                    <a:pt x="53" y="11"/>
                  </a:cubicBezTo>
                  <a:cubicBezTo>
                    <a:pt x="53" y="5"/>
                    <a:pt x="48" y="0"/>
                    <a:pt x="42" y="0"/>
                  </a:cubicBezTo>
                  <a:cubicBezTo>
                    <a:pt x="36" y="0"/>
                    <a:pt x="32" y="5"/>
                    <a:pt x="32" y="11"/>
                  </a:cubicBezTo>
                  <a:cubicBezTo>
                    <a:pt x="32" y="64"/>
                    <a:pt x="32" y="64"/>
                    <a:pt x="32" y="64"/>
                  </a:cubicBezTo>
                  <a:cubicBezTo>
                    <a:pt x="32" y="70"/>
                    <a:pt x="36" y="75"/>
                    <a:pt x="42" y="75"/>
                  </a:cubicBezTo>
                  <a:cubicBezTo>
                    <a:pt x="96" y="75"/>
                    <a:pt x="96" y="75"/>
                    <a:pt x="96" y="75"/>
                  </a:cubicBezTo>
                  <a:cubicBezTo>
                    <a:pt x="102" y="75"/>
                    <a:pt x="106" y="70"/>
                    <a:pt x="106" y="64"/>
                  </a:cubicBezTo>
                  <a:cubicBezTo>
                    <a:pt x="106" y="58"/>
                    <a:pt x="102" y="53"/>
                    <a:pt x="96" y="53"/>
                  </a:cubicBezTo>
                  <a:cubicBezTo>
                    <a:pt x="64" y="53"/>
                    <a:pt x="64" y="53"/>
                    <a:pt x="64" y="53"/>
                  </a:cubicBezTo>
                  <a:cubicBezTo>
                    <a:pt x="82" y="40"/>
                    <a:pt x="104" y="32"/>
                    <a:pt x="128" y="32"/>
                  </a:cubicBezTo>
                  <a:cubicBezTo>
                    <a:pt x="186" y="32"/>
                    <a:pt x="234" y="80"/>
                    <a:pt x="234" y="139"/>
                  </a:cubicBezTo>
                  <a:cubicBezTo>
                    <a:pt x="234" y="145"/>
                    <a:pt x="239" y="149"/>
                    <a:pt x="245" y="149"/>
                  </a:cubicBezTo>
                  <a:cubicBezTo>
                    <a:pt x="251" y="149"/>
                    <a:pt x="256" y="145"/>
                    <a:pt x="256" y="139"/>
                  </a:cubicBezTo>
                  <a:cubicBezTo>
                    <a:pt x="256" y="68"/>
                    <a:pt x="198" y="11"/>
                    <a:pt x="128" y="11"/>
                  </a:cubicBezTo>
                  <a:close/>
                  <a:moveTo>
                    <a:pt x="117" y="181"/>
                  </a:moveTo>
                  <a:cubicBezTo>
                    <a:pt x="120" y="181"/>
                    <a:pt x="122" y="180"/>
                    <a:pt x="125" y="178"/>
                  </a:cubicBezTo>
                  <a:cubicBezTo>
                    <a:pt x="189" y="114"/>
                    <a:pt x="189" y="114"/>
                    <a:pt x="189" y="114"/>
                  </a:cubicBezTo>
                  <a:cubicBezTo>
                    <a:pt x="193" y="110"/>
                    <a:pt x="193" y="103"/>
                    <a:pt x="189" y="99"/>
                  </a:cubicBezTo>
                  <a:cubicBezTo>
                    <a:pt x="184" y="95"/>
                    <a:pt x="178" y="95"/>
                    <a:pt x="173" y="99"/>
                  </a:cubicBezTo>
                  <a:cubicBezTo>
                    <a:pt x="117" y="156"/>
                    <a:pt x="117" y="156"/>
                    <a:pt x="117" y="156"/>
                  </a:cubicBezTo>
                  <a:cubicBezTo>
                    <a:pt x="93" y="131"/>
                    <a:pt x="93" y="131"/>
                    <a:pt x="93" y="131"/>
                  </a:cubicBezTo>
                  <a:cubicBezTo>
                    <a:pt x="88" y="127"/>
                    <a:pt x="82" y="127"/>
                    <a:pt x="77" y="131"/>
                  </a:cubicBezTo>
                  <a:cubicBezTo>
                    <a:pt x="73" y="135"/>
                    <a:pt x="73" y="142"/>
                    <a:pt x="77" y="146"/>
                  </a:cubicBezTo>
                  <a:cubicBezTo>
                    <a:pt x="109" y="178"/>
                    <a:pt x="109" y="178"/>
                    <a:pt x="109" y="178"/>
                  </a:cubicBezTo>
                  <a:cubicBezTo>
                    <a:pt x="112" y="180"/>
                    <a:pt x="114" y="181"/>
                    <a:pt x="117" y="18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23" name="Group 222">
            <a:extLst>
              <a:ext uri="{FF2B5EF4-FFF2-40B4-BE49-F238E27FC236}">
                <a16:creationId xmlns:a16="http://schemas.microsoft.com/office/drawing/2014/main" id="{30075317-C474-4999-B71E-CEF6ACD645FA}"/>
              </a:ext>
            </a:extLst>
          </p:cNvPr>
          <p:cNvGrpSpPr/>
          <p:nvPr/>
        </p:nvGrpSpPr>
        <p:grpSpPr>
          <a:xfrm>
            <a:off x="11320665" y="2697129"/>
            <a:ext cx="400869" cy="396939"/>
            <a:chOff x="515752" y="2484921"/>
            <a:chExt cx="400869" cy="396939"/>
          </a:xfrm>
        </p:grpSpPr>
        <p:sp>
          <p:nvSpPr>
            <p:cNvPr id="224" name="Freeform 14">
              <a:extLst>
                <a:ext uri="{FF2B5EF4-FFF2-40B4-BE49-F238E27FC236}">
                  <a16:creationId xmlns:a16="http://schemas.microsoft.com/office/drawing/2014/main" id="{D4943E3D-0FFB-4B59-8F5C-B964B269B6CA}"/>
                </a:ext>
              </a:extLst>
            </p:cNvPr>
            <p:cNvSpPr>
              <a:spLocks/>
            </p:cNvSpPr>
            <p:nvPr/>
          </p:nvSpPr>
          <p:spPr bwMode="auto">
            <a:xfrm>
              <a:off x="515752" y="2484921"/>
              <a:ext cx="400869" cy="396939"/>
            </a:xfrm>
            <a:custGeom>
              <a:avLst/>
              <a:gdLst>
                <a:gd name="T0" fmla="*/ 101 w 137"/>
                <a:gd name="T1" fmla="*/ 127 h 136"/>
                <a:gd name="T2" fmla="*/ 107 w 137"/>
                <a:gd name="T3" fmla="*/ 122 h 136"/>
                <a:gd name="T4" fmla="*/ 110 w 137"/>
                <a:gd name="T5" fmla="*/ 119 h 136"/>
                <a:gd name="T6" fmla="*/ 117 w 137"/>
                <a:gd name="T7" fmla="*/ 115 h 136"/>
                <a:gd name="T8" fmla="*/ 114 w 137"/>
                <a:gd name="T9" fmla="*/ 106 h 136"/>
                <a:gd name="T10" fmla="*/ 126 w 137"/>
                <a:gd name="T11" fmla="*/ 105 h 136"/>
                <a:gd name="T12" fmla="*/ 122 w 137"/>
                <a:gd name="T13" fmla="*/ 93 h 136"/>
                <a:gd name="T14" fmla="*/ 131 w 137"/>
                <a:gd name="T15" fmla="*/ 92 h 136"/>
                <a:gd name="T16" fmla="*/ 132 w 137"/>
                <a:gd name="T17" fmla="*/ 85 h 136"/>
                <a:gd name="T18" fmla="*/ 133 w 137"/>
                <a:gd name="T19" fmla="*/ 80 h 136"/>
                <a:gd name="T20" fmla="*/ 136 w 137"/>
                <a:gd name="T21" fmla="*/ 72 h 136"/>
                <a:gd name="T22" fmla="*/ 128 w 137"/>
                <a:gd name="T23" fmla="*/ 68 h 136"/>
                <a:gd name="T24" fmla="*/ 136 w 137"/>
                <a:gd name="T25" fmla="*/ 59 h 136"/>
                <a:gd name="T26" fmla="*/ 126 w 137"/>
                <a:gd name="T27" fmla="*/ 53 h 136"/>
                <a:gd name="T28" fmla="*/ 132 w 137"/>
                <a:gd name="T29" fmla="*/ 46 h 136"/>
                <a:gd name="T30" fmla="*/ 128 w 137"/>
                <a:gd name="T31" fmla="*/ 39 h 136"/>
                <a:gd name="T32" fmla="*/ 126 w 137"/>
                <a:gd name="T33" fmla="*/ 35 h 136"/>
                <a:gd name="T34" fmla="*/ 123 w 137"/>
                <a:gd name="T35" fmla="*/ 28 h 136"/>
                <a:gd name="T36" fmla="*/ 113 w 137"/>
                <a:gd name="T37" fmla="*/ 29 h 136"/>
                <a:gd name="T38" fmla="*/ 114 w 137"/>
                <a:gd name="T39" fmla="*/ 18 h 136"/>
                <a:gd name="T40" fmla="*/ 103 w 137"/>
                <a:gd name="T41" fmla="*/ 20 h 136"/>
                <a:gd name="T42" fmla="*/ 103 w 137"/>
                <a:gd name="T43" fmla="*/ 10 h 136"/>
                <a:gd name="T44" fmla="*/ 96 w 137"/>
                <a:gd name="T45" fmla="*/ 8 h 136"/>
                <a:gd name="T46" fmla="*/ 92 w 137"/>
                <a:gd name="T47" fmla="*/ 6 h 136"/>
                <a:gd name="T48" fmla="*/ 85 w 137"/>
                <a:gd name="T49" fmla="*/ 2 h 136"/>
                <a:gd name="T50" fmla="*/ 78 w 137"/>
                <a:gd name="T51" fmla="*/ 9 h 136"/>
                <a:gd name="T52" fmla="*/ 71 w 137"/>
                <a:gd name="T53" fmla="*/ 0 h 136"/>
                <a:gd name="T54" fmla="*/ 64 w 137"/>
                <a:gd name="T55" fmla="*/ 9 h 136"/>
                <a:gd name="T56" fmla="*/ 58 w 137"/>
                <a:gd name="T57" fmla="*/ 1 h 136"/>
                <a:gd name="T58" fmla="*/ 51 w 137"/>
                <a:gd name="T59" fmla="*/ 4 h 136"/>
                <a:gd name="T60" fmla="*/ 46 w 137"/>
                <a:gd name="T61" fmla="*/ 5 h 136"/>
                <a:gd name="T62" fmla="*/ 38 w 137"/>
                <a:gd name="T63" fmla="*/ 7 h 136"/>
                <a:gd name="T64" fmla="*/ 38 w 137"/>
                <a:gd name="T65" fmla="*/ 17 h 136"/>
                <a:gd name="T66" fmla="*/ 27 w 137"/>
                <a:gd name="T67" fmla="*/ 14 h 136"/>
                <a:gd name="T68" fmla="*/ 27 w 137"/>
                <a:gd name="T69" fmla="*/ 26 h 136"/>
                <a:gd name="T70" fmla="*/ 17 w 137"/>
                <a:gd name="T71" fmla="*/ 23 h 136"/>
                <a:gd name="T72" fmla="*/ 14 w 137"/>
                <a:gd name="T73" fmla="*/ 30 h 136"/>
                <a:gd name="T74" fmla="*/ 11 w 137"/>
                <a:gd name="T75" fmla="*/ 34 h 136"/>
                <a:gd name="T76" fmla="*/ 6 w 137"/>
                <a:gd name="T77" fmla="*/ 41 h 136"/>
                <a:gd name="T78" fmla="*/ 12 w 137"/>
                <a:gd name="T79" fmla="*/ 48 h 136"/>
                <a:gd name="T80" fmla="*/ 2 w 137"/>
                <a:gd name="T81" fmla="*/ 53 h 136"/>
                <a:gd name="T82" fmla="*/ 9 w 137"/>
                <a:gd name="T83" fmla="*/ 62 h 136"/>
                <a:gd name="T84" fmla="*/ 1 w 137"/>
                <a:gd name="T85" fmla="*/ 67 h 136"/>
                <a:gd name="T86" fmla="*/ 2 w 137"/>
                <a:gd name="T87" fmla="*/ 74 h 136"/>
                <a:gd name="T88" fmla="*/ 3 w 137"/>
                <a:gd name="T89" fmla="*/ 79 h 136"/>
                <a:gd name="T90" fmla="*/ 3 w 137"/>
                <a:gd name="T91" fmla="*/ 87 h 136"/>
                <a:gd name="T92" fmla="*/ 13 w 137"/>
                <a:gd name="T93" fmla="*/ 89 h 136"/>
                <a:gd name="T94" fmla="*/ 8 w 137"/>
                <a:gd name="T95" fmla="*/ 100 h 136"/>
                <a:gd name="T96" fmla="*/ 20 w 137"/>
                <a:gd name="T97" fmla="*/ 102 h 136"/>
                <a:gd name="T98" fmla="*/ 16 w 137"/>
                <a:gd name="T99" fmla="*/ 111 h 136"/>
                <a:gd name="T100" fmla="*/ 22 w 137"/>
                <a:gd name="T101" fmla="*/ 115 h 136"/>
                <a:gd name="T102" fmla="*/ 25 w 137"/>
                <a:gd name="T103" fmla="*/ 119 h 136"/>
                <a:gd name="T104" fmla="*/ 31 w 137"/>
                <a:gd name="T105" fmla="*/ 124 h 136"/>
                <a:gd name="T106" fmla="*/ 39 w 137"/>
                <a:gd name="T107" fmla="*/ 120 h 136"/>
                <a:gd name="T108" fmla="*/ 42 w 137"/>
                <a:gd name="T109" fmla="*/ 131 h 136"/>
                <a:gd name="T110" fmla="*/ 53 w 137"/>
                <a:gd name="T111" fmla="*/ 125 h 136"/>
                <a:gd name="T112" fmla="*/ 55 w 137"/>
                <a:gd name="T113" fmla="*/ 135 h 136"/>
                <a:gd name="T114" fmla="*/ 63 w 137"/>
                <a:gd name="T115" fmla="*/ 134 h 136"/>
                <a:gd name="T116" fmla="*/ 68 w 137"/>
                <a:gd name="T117" fmla="*/ 134 h 136"/>
                <a:gd name="T118" fmla="*/ 76 w 137"/>
                <a:gd name="T119" fmla="*/ 135 h 136"/>
                <a:gd name="T120" fmla="*/ 79 w 137"/>
                <a:gd name="T121" fmla="*/ 126 h 136"/>
                <a:gd name="T122" fmla="*/ 89 w 137"/>
                <a:gd name="T123" fmla="*/ 133 h 136"/>
                <a:gd name="T124" fmla="*/ 93 w 137"/>
                <a:gd name="T125" fmla="*/ 12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 h="136">
                  <a:moveTo>
                    <a:pt x="97" y="128"/>
                  </a:moveTo>
                  <a:cubicBezTo>
                    <a:pt x="97" y="128"/>
                    <a:pt x="98" y="129"/>
                    <a:pt x="98" y="129"/>
                  </a:cubicBezTo>
                  <a:cubicBezTo>
                    <a:pt x="99" y="129"/>
                    <a:pt x="99" y="129"/>
                    <a:pt x="100" y="129"/>
                  </a:cubicBezTo>
                  <a:cubicBezTo>
                    <a:pt x="100" y="128"/>
                    <a:pt x="101" y="128"/>
                    <a:pt x="101" y="127"/>
                  </a:cubicBezTo>
                  <a:cubicBezTo>
                    <a:pt x="101" y="127"/>
                    <a:pt x="101" y="126"/>
                    <a:pt x="101" y="126"/>
                  </a:cubicBezTo>
                  <a:cubicBezTo>
                    <a:pt x="101" y="125"/>
                    <a:pt x="100" y="122"/>
                    <a:pt x="98" y="119"/>
                  </a:cubicBezTo>
                  <a:cubicBezTo>
                    <a:pt x="100" y="119"/>
                    <a:pt x="101" y="118"/>
                    <a:pt x="102" y="117"/>
                  </a:cubicBezTo>
                  <a:cubicBezTo>
                    <a:pt x="104" y="119"/>
                    <a:pt x="106" y="121"/>
                    <a:pt x="107" y="122"/>
                  </a:cubicBezTo>
                  <a:cubicBezTo>
                    <a:pt x="107" y="122"/>
                    <a:pt x="108" y="123"/>
                    <a:pt x="108" y="123"/>
                  </a:cubicBezTo>
                  <a:cubicBezTo>
                    <a:pt x="109" y="123"/>
                    <a:pt x="109" y="123"/>
                    <a:pt x="110" y="122"/>
                  </a:cubicBezTo>
                  <a:cubicBezTo>
                    <a:pt x="110" y="122"/>
                    <a:pt x="111" y="121"/>
                    <a:pt x="111" y="121"/>
                  </a:cubicBezTo>
                  <a:cubicBezTo>
                    <a:pt x="111" y="120"/>
                    <a:pt x="111" y="120"/>
                    <a:pt x="110" y="119"/>
                  </a:cubicBezTo>
                  <a:cubicBezTo>
                    <a:pt x="110" y="119"/>
                    <a:pt x="108" y="116"/>
                    <a:pt x="107" y="113"/>
                  </a:cubicBezTo>
                  <a:cubicBezTo>
                    <a:pt x="108" y="112"/>
                    <a:pt x="109" y="111"/>
                    <a:pt x="110" y="110"/>
                  </a:cubicBezTo>
                  <a:cubicBezTo>
                    <a:pt x="112" y="112"/>
                    <a:pt x="115" y="114"/>
                    <a:pt x="116" y="115"/>
                  </a:cubicBezTo>
                  <a:cubicBezTo>
                    <a:pt x="116" y="115"/>
                    <a:pt x="117" y="115"/>
                    <a:pt x="117" y="115"/>
                  </a:cubicBezTo>
                  <a:cubicBezTo>
                    <a:pt x="118" y="115"/>
                    <a:pt x="118" y="115"/>
                    <a:pt x="119" y="114"/>
                  </a:cubicBezTo>
                  <a:cubicBezTo>
                    <a:pt x="119" y="114"/>
                    <a:pt x="119" y="113"/>
                    <a:pt x="119" y="113"/>
                  </a:cubicBezTo>
                  <a:cubicBezTo>
                    <a:pt x="119" y="112"/>
                    <a:pt x="119" y="111"/>
                    <a:pt x="119" y="111"/>
                  </a:cubicBezTo>
                  <a:cubicBezTo>
                    <a:pt x="118" y="111"/>
                    <a:pt x="116" y="108"/>
                    <a:pt x="114" y="106"/>
                  </a:cubicBezTo>
                  <a:cubicBezTo>
                    <a:pt x="115" y="105"/>
                    <a:pt x="116" y="104"/>
                    <a:pt x="117" y="102"/>
                  </a:cubicBezTo>
                  <a:cubicBezTo>
                    <a:pt x="119" y="104"/>
                    <a:pt x="122" y="105"/>
                    <a:pt x="123" y="106"/>
                  </a:cubicBezTo>
                  <a:cubicBezTo>
                    <a:pt x="123" y="106"/>
                    <a:pt x="124" y="106"/>
                    <a:pt x="125" y="106"/>
                  </a:cubicBezTo>
                  <a:cubicBezTo>
                    <a:pt x="125" y="105"/>
                    <a:pt x="126" y="105"/>
                    <a:pt x="126" y="105"/>
                  </a:cubicBezTo>
                  <a:cubicBezTo>
                    <a:pt x="126" y="104"/>
                    <a:pt x="126" y="104"/>
                    <a:pt x="126" y="103"/>
                  </a:cubicBezTo>
                  <a:cubicBezTo>
                    <a:pt x="126" y="102"/>
                    <a:pt x="126" y="102"/>
                    <a:pt x="125" y="102"/>
                  </a:cubicBezTo>
                  <a:cubicBezTo>
                    <a:pt x="125" y="101"/>
                    <a:pt x="122" y="99"/>
                    <a:pt x="120" y="97"/>
                  </a:cubicBezTo>
                  <a:cubicBezTo>
                    <a:pt x="121" y="96"/>
                    <a:pt x="121" y="95"/>
                    <a:pt x="122" y="93"/>
                  </a:cubicBezTo>
                  <a:cubicBezTo>
                    <a:pt x="125" y="94"/>
                    <a:pt x="128" y="95"/>
                    <a:pt x="129" y="96"/>
                  </a:cubicBezTo>
                  <a:cubicBezTo>
                    <a:pt x="129" y="96"/>
                    <a:pt x="130" y="96"/>
                    <a:pt x="130" y="95"/>
                  </a:cubicBezTo>
                  <a:cubicBezTo>
                    <a:pt x="131" y="95"/>
                    <a:pt x="131" y="95"/>
                    <a:pt x="131" y="94"/>
                  </a:cubicBezTo>
                  <a:cubicBezTo>
                    <a:pt x="132" y="94"/>
                    <a:pt x="132" y="93"/>
                    <a:pt x="131" y="92"/>
                  </a:cubicBezTo>
                  <a:cubicBezTo>
                    <a:pt x="131" y="92"/>
                    <a:pt x="131" y="91"/>
                    <a:pt x="130" y="91"/>
                  </a:cubicBezTo>
                  <a:cubicBezTo>
                    <a:pt x="130" y="91"/>
                    <a:pt x="127" y="89"/>
                    <a:pt x="124" y="88"/>
                  </a:cubicBezTo>
                  <a:cubicBezTo>
                    <a:pt x="125" y="86"/>
                    <a:pt x="125" y="85"/>
                    <a:pt x="126" y="84"/>
                  </a:cubicBezTo>
                  <a:cubicBezTo>
                    <a:pt x="129" y="84"/>
                    <a:pt x="132" y="85"/>
                    <a:pt x="132" y="85"/>
                  </a:cubicBezTo>
                  <a:cubicBezTo>
                    <a:pt x="133" y="85"/>
                    <a:pt x="134" y="84"/>
                    <a:pt x="134" y="84"/>
                  </a:cubicBezTo>
                  <a:cubicBezTo>
                    <a:pt x="135" y="84"/>
                    <a:pt x="135" y="83"/>
                    <a:pt x="135" y="83"/>
                  </a:cubicBezTo>
                  <a:cubicBezTo>
                    <a:pt x="135" y="82"/>
                    <a:pt x="135" y="82"/>
                    <a:pt x="135" y="81"/>
                  </a:cubicBezTo>
                  <a:cubicBezTo>
                    <a:pt x="135" y="81"/>
                    <a:pt x="134" y="80"/>
                    <a:pt x="133" y="80"/>
                  </a:cubicBezTo>
                  <a:cubicBezTo>
                    <a:pt x="133" y="80"/>
                    <a:pt x="130" y="79"/>
                    <a:pt x="127" y="78"/>
                  </a:cubicBezTo>
                  <a:cubicBezTo>
                    <a:pt x="127" y="76"/>
                    <a:pt x="127" y="75"/>
                    <a:pt x="127" y="74"/>
                  </a:cubicBezTo>
                  <a:cubicBezTo>
                    <a:pt x="130" y="73"/>
                    <a:pt x="134" y="73"/>
                    <a:pt x="134" y="73"/>
                  </a:cubicBezTo>
                  <a:cubicBezTo>
                    <a:pt x="135" y="73"/>
                    <a:pt x="136" y="73"/>
                    <a:pt x="136" y="72"/>
                  </a:cubicBezTo>
                  <a:cubicBezTo>
                    <a:pt x="136" y="72"/>
                    <a:pt x="136" y="72"/>
                    <a:pt x="137" y="71"/>
                  </a:cubicBezTo>
                  <a:cubicBezTo>
                    <a:pt x="137" y="70"/>
                    <a:pt x="136" y="70"/>
                    <a:pt x="136" y="69"/>
                  </a:cubicBezTo>
                  <a:cubicBezTo>
                    <a:pt x="136" y="69"/>
                    <a:pt x="135" y="69"/>
                    <a:pt x="135" y="68"/>
                  </a:cubicBezTo>
                  <a:cubicBezTo>
                    <a:pt x="134" y="68"/>
                    <a:pt x="131" y="68"/>
                    <a:pt x="128" y="68"/>
                  </a:cubicBezTo>
                  <a:cubicBezTo>
                    <a:pt x="128" y="66"/>
                    <a:pt x="128" y="65"/>
                    <a:pt x="128" y="63"/>
                  </a:cubicBezTo>
                  <a:cubicBezTo>
                    <a:pt x="130" y="62"/>
                    <a:pt x="134" y="62"/>
                    <a:pt x="134" y="62"/>
                  </a:cubicBezTo>
                  <a:cubicBezTo>
                    <a:pt x="135" y="61"/>
                    <a:pt x="135" y="61"/>
                    <a:pt x="136" y="61"/>
                  </a:cubicBezTo>
                  <a:cubicBezTo>
                    <a:pt x="136" y="60"/>
                    <a:pt x="136" y="60"/>
                    <a:pt x="136" y="59"/>
                  </a:cubicBezTo>
                  <a:cubicBezTo>
                    <a:pt x="136" y="58"/>
                    <a:pt x="136" y="58"/>
                    <a:pt x="135" y="58"/>
                  </a:cubicBezTo>
                  <a:cubicBezTo>
                    <a:pt x="135" y="57"/>
                    <a:pt x="134" y="57"/>
                    <a:pt x="134" y="57"/>
                  </a:cubicBezTo>
                  <a:cubicBezTo>
                    <a:pt x="133" y="57"/>
                    <a:pt x="130" y="57"/>
                    <a:pt x="127" y="57"/>
                  </a:cubicBezTo>
                  <a:cubicBezTo>
                    <a:pt x="127" y="56"/>
                    <a:pt x="126" y="54"/>
                    <a:pt x="126" y="53"/>
                  </a:cubicBezTo>
                  <a:cubicBezTo>
                    <a:pt x="129" y="52"/>
                    <a:pt x="132" y="50"/>
                    <a:pt x="132" y="50"/>
                  </a:cubicBezTo>
                  <a:cubicBezTo>
                    <a:pt x="133" y="50"/>
                    <a:pt x="133" y="50"/>
                    <a:pt x="133" y="49"/>
                  </a:cubicBezTo>
                  <a:cubicBezTo>
                    <a:pt x="134" y="49"/>
                    <a:pt x="134" y="48"/>
                    <a:pt x="133" y="47"/>
                  </a:cubicBezTo>
                  <a:cubicBezTo>
                    <a:pt x="133" y="47"/>
                    <a:pt x="133" y="46"/>
                    <a:pt x="132" y="46"/>
                  </a:cubicBezTo>
                  <a:cubicBezTo>
                    <a:pt x="132" y="46"/>
                    <a:pt x="131" y="46"/>
                    <a:pt x="131" y="46"/>
                  </a:cubicBezTo>
                  <a:cubicBezTo>
                    <a:pt x="130" y="46"/>
                    <a:pt x="127" y="47"/>
                    <a:pt x="124" y="47"/>
                  </a:cubicBezTo>
                  <a:cubicBezTo>
                    <a:pt x="123" y="46"/>
                    <a:pt x="123" y="45"/>
                    <a:pt x="122" y="43"/>
                  </a:cubicBezTo>
                  <a:cubicBezTo>
                    <a:pt x="125" y="42"/>
                    <a:pt x="128" y="40"/>
                    <a:pt x="128" y="39"/>
                  </a:cubicBezTo>
                  <a:cubicBezTo>
                    <a:pt x="129" y="39"/>
                    <a:pt x="129" y="39"/>
                    <a:pt x="129" y="38"/>
                  </a:cubicBezTo>
                  <a:cubicBezTo>
                    <a:pt x="129" y="37"/>
                    <a:pt x="129" y="37"/>
                    <a:pt x="129" y="36"/>
                  </a:cubicBezTo>
                  <a:cubicBezTo>
                    <a:pt x="129" y="36"/>
                    <a:pt x="128" y="36"/>
                    <a:pt x="128" y="35"/>
                  </a:cubicBezTo>
                  <a:cubicBezTo>
                    <a:pt x="127" y="35"/>
                    <a:pt x="127" y="35"/>
                    <a:pt x="126" y="35"/>
                  </a:cubicBezTo>
                  <a:cubicBezTo>
                    <a:pt x="125" y="36"/>
                    <a:pt x="122" y="37"/>
                    <a:pt x="120" y="38"/>
                  </a:cubicBezTo>
                  <a:cubicBezTo>
                    <a:pt x="119" y="37"/>
                    <a:pt x="118" y="35"/>
                    <a:pt x="117" y="34"/>
                  </a:cubicBezTo>
                  <a:cubicBezTo>
                    <a:pt x="119" y="32"/>
                    <a:pt x="122" y="30"/>
                    <a:pt x="122" y="29"/>
                  </a:cubicBezTo>
                  <a:cubicBezTo>
                    <a:pt x="123" y="29"/>
                    <a:pt x="123" y="29"/>
                    <a:pt x="123" y="28"/>
                  </a:cubicBezTo>
                  <a:cubicBezTo>
                    <a:pt x="123" y="27"/>
                    <a:pt x="123" y="27"/>
                    <a:pt x="123" y="26"/>
                  </a:cubicBezTo>
                  <a:cubicBezTo>
                    <a:pt x="122" y="26"/>
                    <a:pt x="122" y="26"/>
                    <a:pt x="121" y="25"/>
                  </a:cubicBezTo>
                  <a:cubicBezTo>
                    <a:pt x="121" y="25"/>
                    <a:pt x="120" y="25"/>
                    <a:pt x="119" y="26"/>
                  </a:cubicBezTo>
                  <a:cubicBezTo>
                    <a:pt x="119" y="26"/>
                    <a:pt x="116" y="28"/>
                    <a:pt x="113" y="29"/>
                  </a:cubicBezTo>
                  <a:cubicBezTo>
                    <a:pt x="113" y="28"/>
                    <a:pt x="112" y="27"/>
                    <a:pt x="111" y="26"/>
                  </a:cubicBezTo>
                  <a:cubicBezTo>
                    <a:pt x="112" y="24"/>
                    <a:pt x="114" y="21"/>
                    <a:pt x="115" y="21"/>
                  </a:cubicBezTo>
                  <a:cubicBezTo>
                    <a:pt x="115" y="20"/>
                    <a:pt x="115" y="20"/>
                    <a:pt x="115" y="19"/>
                  </a:cubicBezTo>
                  <a:cubicBezTo>
                    <a:pt x="115" y="18"/>
                    <a:pt x="115" y="18"/>
                    <a:pt x="114" y="18"/>
                  </a:cubicBezTo>
                  <a:cubicBezTo>
                    <a:pt x="114" y="17"/>
                    <a:pt x="113" y="17"/>
                    <a:pt x="113" y="17"/>
                  </a:cubicBezTo>
                  <a:cubicBezTo>
                    <a:pt x="112" y="17"/>
                    <a:pt x="112" y="17"/>
                    <a:pt x="111" y="17"/>
                  </a:cubicBezTo>
                  <a:cubicBezTo>
                    <a:pt x="111" y="18"/>
                    <a:pt x="108" y="20"/>
                    <a:pt x="106" y="22"/>
                  </a:cubicBezTo>
                  <a:cubicBezTo>
                    <a:pt x="105" y="21"/>
                    <a:pt x="104" y="20"/>
                    <a:pt x="103" y="20"/>
                  </a:cubicBezTo>
                  <a:cubicBezTo>
                    <a:pt x="104" y="17"/>
                    <a:pt x="106" y="14"/>
                    <a:pt x="106" y="13"/>
                  </a:cubicBezTo>
                  <a:cubicBezTo>
                    <a:pt x="106" y="13"/>
                    <a:pt x="106" y="12"/>
                    <a:pt x="106" y="12"/>
                  </a:cubicBezTo>
                  <a:cubicBezTo>
                    <a:pt x="106" y="11"/>
                    <a:pt x="105" y="11"/>
                    <a:pt x="105" y="10"/>
                  </a:cubicBezTo>
                  <a:cubicBezTo>
                    <a:pt x="104" y="10"/>
                    <a:pt x="104" y="10"/>
                    <a:pt x="103" y="10"/>
                  </a:cubicBezTo>
                  <a:cubicBezTo>
                    <a:pt x="103" y="10"/>
                    <a:pt x="102" y="10"/>
                    <a:pt x="102" y="11"/>
                  </a:cubicBezTo>
                  <a:cubicBezTo>
                    <a:pt x="101" y="11"/>
                    <a:pt x="99" y="14"/>
                    <a:pt x="98" y="16"/>
                  </a:cubicBezTo>
                  <a:cubicBezTo>
                    <a:pt x="96" y="16"/>
                    <a:pt x="95" y="15"/>
                    <a:pt x="94" y="14"/>
                  </a:cubicBezTo>
                  <a:cubicBezTo>
                    <a:pt x="95" y="11"/>
                    <a:pt x="96" y="8"/>
                    <a:pt x="96" y="8"/>
                  </a:cubicBezTo>
                  <a:cubicBezTo>
                    <a:pt x="96" y="7"/>
                    <a:pt x="96" y="6"/>
                    <a:pt x="96" y="6"/>
                  </a:cubicBezTo>
                  <a:cubicBezTo>
                    <a:pt x="95" y="5"/>
                    <a:pt x="95" y="5"/>
                    <a:pt x="94" y="5"/>
                  </a:cubicBezTo>
                  <a:cubicBezTo>
                    <a:pt x="94" y="5"/>
                    <a:pt x="93" y="5"/>
                    <a:pt x="93" y="5"/>
                  </a:cubicBezTo>
                  <a:cubicBezTo>
                    <a:pt x="92" y="5"/>
                    <a:pt x="92" y="5"/>
                    <a:pt x="92" y="6"/>
                  </a:cubicBezTo>
                  <a:cubicBezTo>
                    <a:pt x="91" y="6"/>
                    <a:pt x="90" y="9"/>
                    <a:pt x="88" y="12"/>
                  </a:cubicBezTo>
                  <a:cubicBezTo>
                    <a:pt x="87" y="12"/>
                    <a:pt x="85" y="11"/>
                    <a:pt x="84" y="11"/>
                  </a:cubicBezTo>
                  <a:cubicBezTo>
                    <a:pt x="84" y="8"/>
                    <a:pt x="85" y="4"/>
                    <a:pt x="85" y="4"/>
                  </a:cubicBezTo>
                  <a:cubicBezTo>
                    <a:pt x="85" y="3"/>
                    <a:pt x="85" y="3"/>
                    <a:pt x="85" y="2"/>
                  </a:cubicBezTo>
                  <a:cubicBezTo>
                    <a:pt x="84" y="2"/>
                    <a:pt x="84" y="1"/>
                    <a:pt x="83" y="1"/>
                  </a:cubicBezTo>
                  <a:cubicBezTo>
                    <a:pt x="82" y="1"/>
                    <a:pt x="82" y="1"/>
                    <a:pt x="81" y="1"/>
                  </a:cubicBezTo>
                  <a:cubicBezTo>
                    <a:pt x="81" y="2"/>
                    <a:pt x="81" y="2"/>
                    <a:pt x="80" y="3"/>
                  </a:cubicBezTo>
                  <a:cubicBezTo>
                    <a:pt x="80" y="3"/>
                    <a:pt x="79" y="7"/>
                    <a:pt x="78" y="9"/>
                  </a:cubicBezTo>
                  <a:cubicBezTo>
                    <a:pt x="77" y="9"/>
                    <a:pt x="75" y="9"/>
                    <a:pt x="74" y="9"/>
                  </a:cubicBezTo>
                  <a:cubicBezTo>
                    <a:pt x="74" y="6"/>
                    <a:pt x="74" y="2"/>
                    <a:pt x="74" y="2"/>
                  </a:cubicBezTo>
                  <a:cubicBezTo>
                    <a:pt x="74" y="1"/>
                    <a:pt x="73" y="1"/>
                    <a:pt x="73" y="0"/>
                  </a:cubicBezTo>
                  <a:cubicBezTo>
                    <a:pt x="72" y="0"/>
                    <a:pt x="72" y="0"/>
                    <a:pt x="71" y="0"/>
                  </a:cubicBezTo>
                  <a:cubicBezTo>
                    <a:pt x="71" y="0"/>
                    <a:pt x="70" y="0"/>
                    <a:pt x="70" y="0"/>
                  </a:cubicBezTo>
                  <a:cubicBezTo>
                    <a:pt x="69" y="1"/>
                    <a:pt x="69" y="1"/>
                    <a:pt x="69" y="2"/>
                  </a:cubicBezTo>
                  <a:cubicBezTo>
                    <a:pt x="69" y="2"/>
                    <a:pt x="68" y="6"/>
                    <a:pt x="68" y="9"/>
                  </a:cubicBezTo>
                  <a:cubicBezTo>
                    <a:pt x="66" y="9"/>
                    <a:pt x="65" y="9"/>
                    <a:pt x="64" y="9"/>
                  </a:cubicBezTo>
                  <a:cubicBezTo>
                    <a:pt x="63" y="6"/>
                    <a:pt x="62" y="3"/>
                    <a:pt x="62" y="2"/>
                  </a:cubicBezTo>
                  <a:cubicBezTo>
                    <a:pt x="62" y="1"/>
                    <a:pt x="62" y="1"/>
                    <a:pt x="61" y="1"/>
                  </a:cubicBezTo>
                  <a:cubicBezTo>
                    <a:pt x="61" y="0"/>
                    <a:pt x="60" y="0"/>
                    <a:pt x="59" y="0"/>
                  </a:cubicBezTo>
                  <a:cubicBezTo>
                    <a:pt x="59" y="0"/>
                    <a:pt x="58" y="1"/>
                    <a:pt x="58" y="1"/>
                  </a:cubicBezTo>
                  <a:cubicBezTo>
                    <a:pt x="58" y="1"/>
                    <a:pt x="57" y="2"/>
                    <a:pt x="57" y="3"/>
                  </a:cubicBezTo>
                  <a:cubicBezTo>
                    <a:pt x="57" y="3"/>
                    <a:pt x="57" y="7"/>
                    <a:pt x="58" y="10"/>
                  </a:cubicBezTo>
                  <a:cubicBezTo>
                    <a:pt x="56" y="10"/>
                    <a:pt x="55" y="10"/>
                    <a:pt x="53" y="10"/>
                  </a:cubicBezTo>
                  <a:cubicBezTo>
                    <a:pt x="52" y="8"/>
                    <a:pt x="51" y="5"/>
                    <a:pt x="51" y="4"/>
                  </a:cubicBezTo>
                  <a:cubicBezTo>
                    <a:pt x="50" y="4"/>
                    <a:pt x="50" y="3"/>
                    <a:pt x="49" y="3"/>
                  </a:cubicBezTo>
                  <a:cubicBezTo>
                    <a:pt x="49" y="3"/>
                    <a:pt x="48" y="3"/>
                    <a:pt x="48" y="3"/>
                  </a:cubicBezTo>
                  <a:cubicBezTo>
                    <a:pt x="47" y="3"/>
                    <a:pt x="47" y="3"/>
                    <a:pt x="46" y="4"/>
                  </a:cubicBezTo>
                  <a:cubicBezTo>
                    <a:pt x="46" y="4"/>
                    <a:pt x="46" y="5"/>
                    <a:pt x="46" y="5"/>
                  </a:cubicBezTo>
                  <a:cubicBezTo>
                    <a:pt x="46" y="6"/>
                    <a:pt x="47" y="9"/>
                    <a:pt x="48" y="12"/>
                  </a:cubicBezTo>
                  <a:cubicBezTo>
                    <a:pt x="46" y="13"/>
                    <a:pt x="45" y="13"/>
                    <a:pt x="44" y="14"/>
                  </a:cubicBezTo>
                  <a:cubicBezTo>
                    <a:pt x="42" y="11"/>
                    <a:pt x="40" y="9"/>
                    <a:pt x="40" y="8"/>
                  </a:cubicBezTo>
                  <a:cubicBezTo>
                    <a:pt x="40" y="8"/>
                    <a:pt x="39" y="7"/>
                    <a:pt x="38" y="7"/>
                  </a:cubicBezTo>
                  <a:cubicBezTo>
                    <a:pt x="38" y="7"/>
                    <a:pt x="37" y="7"/>
                    <a:pt x="37" y="7"/>
                  </a:cubicBezTo>
                  <a:cubicBezTo>
                    <a:pt x="36" y="8"/>
                    <a:pt x="36" y="8"/>
                    <a:pt x="36" y="9"/>
                  </a:cubicBezTo>
                  <a:cubicBezTo>
                    <a:pt x="36" y="9"/>
                    <a:pt x="36" y="10"/>
                    <a:pt x="36" y="10"/>
                  </a:cubicBezTo>
                  <a:cubicBezTo>
                    <a:pt x="36" y="11"/>
                    <a:pt x="37" y="14"/>
                    <a:pt x="38" y="17"/>
                  </a:cubicBezTo>
                  <a:cubicBezTo>
                    <a:pt x="37" y="17"/>
                    <a:pt x="36" y="18"/>
                    <a:pt x="35" y="19"/>
                  </a:cubicBezTo>
                  <a:cubicBezTo>
                    <a:pt x="33" y="17"/>
                    <a:pt x="30" y="14"/>
                    <a:pt x="30" y="14"/>
                  </a:cubicBezTo>
                  <a:cubicBezTo>
                    <a:pt x="30" y="14"/>
                    <a:pt x="29" y="13"/>
                    <a:pt x="28" y="13"/>
                  </a:cubicBezTo>
                  <a:cubicBezTo>
                    <a:pt x="28" y="13"/>
                    <a:pt x="27" y="13"/>
                    <a:pt x="27" y="14"/>
                  </a:cubicBezTo>
                  <a:cubicBezTo>
                    <a:pt x="26" y="14"/>
                    <a:pt x="26" y="15"/>
                    <a:pt x="26" y="15"/>
                  </a:cubicBezTo>
                  <a:cubicBezTo>
                    <a:pt x="26" y="16"/>
                    <a:pt x="26" y="16"/>
                    <a:pt x="26" y="17"/>
                  </a:cubicBezTo>
                  <a:cubicBezTo>
                    <a:pt x="27" y="17"/>
                    <a:pt x="28" y="20"/>
                    <a:pt x="30" y="23"/>
                  </a:cubicBezTo>
                  <a:cubicBezTo>
                    <a:pt x="29" y="24"/>
                    <a:pt x="28" y="25"/>
                    <a:pt x="27" y="26"/>
                  </a:cubicBezTo>
                  <a:cubicBezTo>
                    <a:pt x="24" y="24"/>
                    <a:pt x="22" y="22"/>
                    <a:pt x="21" y="21"/>
                  </a:cubicBezTo>
                  <a:cubicBezTo>
                    <a:pt x="21" y="21"/>
                    <a:pt x="20" y="21"/>
                    <a:pt x="20" y="21"/>
                  </a:cubicBezTo>
                  <a:cubicBezTo>
                    <a:pt x="19" y="21"/>
                    <a:pt x="18" y="21"/>
                    <a:pt x="18" y="22"/>
                  </a:cubicBezTo>
                  <a:cubicBezTo>
                    <a:pt x="18" y="22"/>
                    <a:pt x="17" y="23"/>
                    <a:pt x="17" y="23"/>
                  </a:cubicBezTo>
                  <a:cubicBezTo>
                    <a:pt x="17" y="24"/>
                    <a:pt x="18" y="25"/>
                    <a:pt x="18" y="25"/>
                  </a:cubicBezTo>
                  <a:cubicBezTo>
                    <a:pt x="18" y="25"/>
                    <a:pt x="21" y="28"/>
                    <a:pt x="23" y="30"/>
                  </a:cubicBezTo>
                  <a:cubicBezTo>
                    <a:pt x="22" y="31"/>
                    <a:pt x="21" y="32"/>
                    <a:pt x="20" y="34"/>
                  </a:cubicBezTo>
                  <a:cubicBezTo>
                    <a:pt x="17" y="32"/>
                    <a:pt x="14" y="31"/>
                    <a:pt x="14" y="30"/>
                  </a:cubicBezTo>
                  <a:cubicBezTo>
                    <a:pt x="13" y="30"/>
                    <a:pt x="13" y="30"/>
                    <a:pt x="12" y="30"/>
                  </a:cubicBezTo>
                  <a:cubicBezTo>
                    <a:pt x="12" y="30"/>
                    <a:pt x="11" y="31"/>
                    <a:pt x="11" y="31"/>
                  </a:cubicBezTo>
                  <a:cubicBezTo>
                    <a:pt x="10" y="32"/>
                    <a:pt x="10" y="32"/>
                    <a:pt x="10" y="33"/>
                  </a:cubicBezTo>
                  <a:cubicBezTo>
                    <a:pt x="11" y="33"/>
                    <a:pt x="11" y="34"/>
                    <a:pt x="11" y="34"/>
                  </a:cubicBezTo>
                  <a:cubicBezTo>
                    <a:pt x="12" y="35"/>
                    <a:pt x="14" y="37"/>
                    <a:pt x="17" y="39"/>
                  </a:cubicBezTo>
                  <a:cubicBezTo>
                    <a:pt x="16" y="40"/>
                    <a:pt x="15" y="41"/>
                    <a:pt x="15" y="42"/>
                  </a:cubicBezTo>
                  <a:cubicBezTo>
                    <a:pt x="12" y="42"/>
                    <a:pt x="9" y="41"/>
                    <a:pt x="8" y="40"/>
                  </a:cubicBezTo>
                  <a:cubicBezTo>
                    <a:pt x="8" y="40"/>
                    <a:pt x="7" y="40"/>
                    <a:pt x="6" y="41"/>
                  </a:cubicBezTo>
                  <a:cubicBezTo>
                    <a:pt x="6" y="41"/>
                    <a:pt x="6" y="41"/>
                    <a:pt x="5" y="42"/>
                  </a:cubicBezTo>
                  <a:cubicBezTo>
                    <a:pt x="5" y="42"/>
                    <a:pt x="5" y="43"/>
                    <a:pt x="5" y="44"/>
                  </a:cubicBezTo>
                  <a:cubicBezTo>
                    <a:pt x="5" y="44"/>
                    <a:pt x="6" y="45"/>
                    <a:pt x="6" y="45"/>
                  </a:cubicBezTo>
                  <a:cubicBezTo>
                    <a:pt x="7" y="45"/>
                    <a:pt x="10" y="47"/>
                    <a:pt x="12" y="48"/>
                  </a:cubicBezTo>
                  <a:cubicBezTo>
                    <a:pt x="12" y="49"/>
                    <a:pt x="12" y="51"/>
                    <a:pt x="11" y="52"/>
                  </a:cubicBezTo>
                  <a:cubicBezTo>
                    <a:pt x="8" y="52"/>
                    <a:pt x="5" y="51"/>
                    <a:pt x="4" y="51"/>
                  </a:cubicBezTo>
                  <a:cubicBezTo>
                    <a:pt x="4" y="51"/>
                    <a:pt x="3" y="52"/>
                    <a:pt x="3" y="52"/>
                  </a:cubicBezTo>
                  <a:cubicBezTo>
                    <a:pt x="2" y="52"/>
                    <a:pt x="2" y="53"/>
                    <a:pt x="2" y="53"/>
                  </a:cubicBezTo>
                  <a:cubicBezTo>
                    <a:pt x="2" y="54"/>
                    <a:pt x="2" y="54"/>
                    <a:pt x="2" y="55"/>
                  </a:cubicBezTo>
                  <a:cubicBezTo>
                    <a:pt x="2" y="55"/>
                    <a:pt x="3" y="56"/>
                    <a:pt x="3" y="56"/>
                  </a:cubicBezTo>
                  <a:cubicBezTo>
                    <a:pt x="4" y="56"/>
                    <a:pt x="7" y="57"/>
                    <a:pt x="10" y="58"/>
                  </a:cubicBezTo>
                  <a:cubicBezTo>
                    <a:pt x="10" y="60"/>
                    <a:pt x="9" y="61"/>
                    <a:pt x="9" y="62"/>
                  </a:cubicBezTo>
                  <a:cubicBezTo>
                    <a:pt x="6" y="63"/>
                    <a:pt x="3" y="63"/>
                    <a:pt x="2" y="63"/>
                  </a:cubicBezTo>
                  <a:cubicBezTo>
                    <a:pt x="2" y="63"/>
                    <a:pt x="1" y="63"/>
                    <a:pt x="1" y="64"/>
                  </a:cubicBezTo>
                  <a:cubicBezTo>
                    <a:pt x="1" y="64"/>
                    <a:pt x="0" y="64"/>
                    <a:pt x="0" y="65"/>
                  </a:cubicBezTo>
                  <a:cubicBezTo>
                    <a:pt x="0" y="66"/>
                    <a:pt x="0" y="66"/>
                    <a:pt x="1" y="67"/>
                  </a:cubicBezTo>
                  <a:cubicBezTo>
                    <a:pt x="1" y="67"/>
                    <a:pt x="2" y="67"/>
                    <a:pt x="2" y="68"/>
                  </a:cubicBezTo>
                  <a:cubicBezTo>
                    <a:pt x="3" y="68"/>
                    <a:pt x="6" y="68"/>
                    <a:pt x="9" y="68"/>
                  </a:cubicBezTo>
                  <a:cubicBezTo>
                    <a:pt x="9" y="70"/>
                    <a:pt x="9" y="71"/>
                    <a:pt x="9" y="73"/>
                  </a:cubicBezTo>
                  <a:cubicBezTo>
                    <a:pt x="6" y="73"/>
                    <a:pt x="3" y="74"/>
                    <a:pt x="2" y="74"/>
                  </a:cubicBezTo>
                  <a:cubicBezTo>
                    <a:pt x="2" y="74"/>
                    <a:pt x="1" y="75"/>
                    <a:pt x="1" y="75"/>
                  </a:cubicBezTo>
                  <a:cubicBezTo>
                    <a:pt x="1" y="76"/>
                    <a:pt x="1" y="76"/>
                    <a:pt x="1" y="77"/>
                  </a:cubicBezTo>
                  <a:cubicBezTo>
                    <a:pt x="1" y="77"/>
                    <a:pt x="1" y="78"/>
                    <a:pt x="2" y="78"/>
                  </a:cubicBezTo>
                  <a:cubicBezTo>
                    <a:pt x="2" y="79"/>
                    <a:pt x="2" y="79"/>
                    <a:pt x="3" y="79"/>
                  </a:cubicBezTo>
                  <a:cubicBezTo>
                    <a:pt x="4" y="79"/>
                    <a:pt x="7" y="79"/>
                    <a:pt x="10" y="79"/>
                  </a:cubicBezTo>
                  <a:cubicBezTo>
                    <a:pt x="10" y="80"/>
                    <a:pt x="11" y="82"/>
                    <a:pt x="11" y="83"/>
                  </a:cubicBezTo>
                  <a:cubicBezTo>
                    <a:pt x="8" y="84"/>
                    <a:pt x="5" y="85"/>
                    <a:pt x="5" y="86"/>
                  </a:cubicBezTo>
                  <a:cubicBezTo>
                    <a:pt x="4" y="86"/>
                    <a:pt x="4" y="86"/>
                    <a:pt x="3" y="87"/>
                  </a:cubicBezTo>
                  <a:cubicBezTo>
                    <a:pt x="3" y="87"/>
                    <a:pt x="3" y="88"/>
                    <a:pt x="3" y="89"/>
                  </a:cubicBezTo>
                  <a:cubicBezTo>
                    <a:pt x="4" y="89"/>
                    <a:pt x="4" y="90"/>
                    <a:pt x="4" y="90"/>
                  </a:cubicBezTo>
                  <a:cubicBezTo>
                    <a:pt x="5" y="90"/>
                    <a:pt x="5" y="90"/>
                    <a:pt x="6" y="90"/>
                  </a:cubicBezTo>
                  <a:cubicBezTo>
                    <a:pt x="7" y="90"/>
                    <a:pt x="10" y="89"/>
                    <a:pt x="13" y="89"/>
                  </a:cubicBezTo>
                  <a:cubicBezTo>
                    <a:pt x="13" y="90"/>
                    <a:pt x="14" y="91"/>
                    <a:pt x="14" y="93"/>
                  </a:cubicBezTo>
                  <a:cubicBezTo>
                    <a:pt x="12" y="94"/>
                    <a:pt x="9" y="96"/>
                    <a:pt x="9" y="97"/>
                  </a:cubicBezTo>
                  <a:cubicBezTo>
                    <a:pt x="8" y="97"/>
                    <a:pt x="8" y="97"/>
                    <a:pt x="8" y="98"/>
                  </a:cubicBezTo>
                  <a:cubicBezTo>
                    <a:pt x="8" y="98"/>
                    <a:pt x="8" y="99"/>
                    <a:pt x="8" y="100"/>
                  </a:cubicBezTo>
                  <a:cubicBezTo>
                    <a:pt x="8" y="100"/>
                    <a:pt x="9" y="100"/>
                    <a:pt x="9" y="101"/>
                  </a:cubicBezTo>
                  <a:cubicBezTo>
                    <a:pt x="10" y="101"/>
                    <a:pt x="10" y="101"/>
                    <a:pt x="11" y="101"/>
                  </a:cubicBezTo>
                  <a:cubicBezTo>
                    <a:pt x="11" y="100"/>
                    <a:pt x="14" y="99"/>
                    <a:pt x="17" y="98"/>
                  </a:cubicBezTo>
                  <a:cubicBezTo>
                    <a:pt x="18" y="99"/>
                    <a:pt x="19" y="101"/>
                    <a:pt x="20" y="102"/>
                  </a:cubicBezTo>
                  <a:cubicBezTo>
                    <a:pt x="17" y="104"/>
                    <a:pt x="15" y="106"/>
                    <a:pt x="14" y="107"/>
                  </a:cubicBezTo>
                  <a:cubicBezTo>
                    <a:pt x="14" y="107"/>
                    <a:pt x="14" y="107"/>
                    <a:pt x="14" y="108"/>
                  </a:cubicBezTo>
                  <a:cubicBezTo>
                    <a:pt x="14" y="109"/>
                    <a:pt x="14" y="109"/>
                    <a:pt x="14" y="110"/>
                  </a:cubicBezTo>
                  <a:cubicBezTo>
                    <a:pt x="15" y="110"/>
                    <a:pt x="15" y="110"/>
                    <a:pt x="16" y="111"/>
                  </a:cubicBezTo>
                  <a:cubicBezTo>
                    <a:pt x="16" y="111"/>
                    <a:pt x="17" y="111"/>
                    <a:pt x="17" y="110"/>
                  </a:cubicBezTo>
                  <a:cubicBezTo>
                    <a:pt x="18" y="110"/>
                    <a:pt x="21" y="108"/>
                    <a:pt x="23" y="107"/>
                  </a:cubicBezTo>
                  <a:cubicBezTo>
                    <a:pt x="24" y="108"/>
                    <a:pt x="25" y="109"/>
                    <a:pt x="26" y="110"/>
                  </a:cubicBezTo>
                  <a:cubicBezTo>
                    <a:pt x="24" y="112"/>
                    <a:pt x="22" y="115"/>
                    <a:pt x="22" y="115"/>
                  </a:cubicBezTo>
                  <a:cubicBezTo>
                    <a:pt x="22" y="116"/>
                    <a:pt x="21" y="116"/>
                    <a:pt x="22" y="117"/>
                  </a:cubicBezTo>
                  <a:cubicBezTo>
                    <a:pt x="22" y="117"/>
                    <a:pt x="22" y="118"/>
                    <a:pt x="22" y="118"/>
                  </a:cubicBezTo>
                  <a:cubicBezTo>
                    <a:pt x="23" y="119"/>
                    <a:pt x="23" y="119"/>
                    <a:pt x="24" y="119"/>
                  </a:cubicBezTo>
                  <a:cubicBezTo>
                    <a:pt x="24" y="119"/>
                    <a:pt x="25" y="119"/>
                    <a:pt x="25" y="119"/>
                  </a:cubicBezTo>
                  <a:cubicBezTo>
                    <a:pt x="26" y="118"/>
                    <a:pt x="28" y="116"/>
                    <a:pt x="31" y="114"/>
                  </a:cubicBezTo>
                  <a:cubicBezTo>
                    <a:pt x="32" y="115"/>
                    <a:pt x="33" y="116"/>
                    <a:pt x="34" y="116"/>
                  </a:cubicBezTo>
                  <a:cubicBezTo>
                    <a:pt x="33" y="119"/>
                    <a:pt x="31" y="122"/>
                    <a:pt x="31" y="123"/>
                  </a:cubicBezTo>
                  <a:cubicBezTo>
                    <a:pt x="31" y="123"/>
                    <a:pt x="31" y="124"/>
                    <a:pt x="31" y="124"/>
                  </a:cubicBezTo>
                  <a:cubicBezTo>
                    <a:pt x="31" y="125"/>
                    <a:pt x="31" y="125"/>
                    <a:pt x="32" y="126"/>
                  </a:cubicBezTo>
                  <a:cubicBezTo>
                    <a:pt x="32" y="126"/>
                    <a:pt x="33" y="126"/>
                    <a:pt x="33" y="126"/>
                  </a:cubicBezTo>
                  <a:cubicBezTo>
                    <a:pt x="34" y="126"/>
                    <a:pt x="34" y="126"/>
                    <a:pt x="35" y="125"/>
                  </a:cubicBezTo>
                  <a:cubicBezTo>
                    <a:pt x="35" y="125"/>
                    <a:pt x="37" y="122"/>
                    <a:pt x="39" y="120"/>
                  </a:cubicBezTo>
                  <a:cubicBezTo>
                    <a:pt x="40" y="120"/>
                    <a:pt x="42" y="121"/>
                    <a:pt x="43" y="122"/>
                  </a:cubicBezTo>
                  <a:cubicBezTo>
                    <a:pt x="42" y="125"/>
                    <a:pt x="41" y="128"/>
                    <a:pt x="41" y="128"/>
                  </a:cubicBezTo>
                  <a:cubicBezTo>
                    <a:pt x="41" y="129"/>
                    <a:pt x="41" y="129"/>
                    <a:pt x="41" y="130"/>
                  </a:cubicBezTo>
                  <a:cubicBezTo>
                    <a:pt x="41" y="131"/>
                    <a:pt x="42" y="131"/>
                    <a:pt x="42" y="131"/>
                  </a:cubicBezTo>
                  <a:cubicBezTo>
                    <a:pt x="43" y="131"/>
                    <a:pt x="43" y="131"/>
                    <a:pt x="44" y="131"/>
                  </a:cubicBezTo>
                  <a:cubicBezTo>
                    <a:pt x="45" y="131"/>
                    <a:pt x="45" y="131"/>
                    <a:pt x="45" y="130"/>
                  </a:cubicBezTo>
                  <a:cubicBezTo>
                    <a:pt x="46" y="130"/>
                    <a:pt x="47" y="127"/>
                    <a:pt x="49" y="124"/>
                  </a:cubicBezTo>
                  <a:cubicBezTo>
                    <a:pt x="50" y="124"/>
                    <a:pt x="51" y="125"/>
                    <a:pt x="53" y="125"/>
                  </a:cubicBezTo>
                  <a:cubicBezTo>
                    <a:pt x="52" y="128"/>
                    <a:pt x="52" y="132"/>
                    <a:pt x="52" y="132"/>
                  </a:cubicBezTo>
                  <a:cubicBezTo>
                    <a:pt x="52" y="133"/>
                    <a:pt x="52" y="133"/>
                    <a:pt x="52" y="134"/>
                  </a:cubicBezTo>
                  <a:cubicBezTo>
                    <a:pt x="53" y="134"/>
                    <a:pt x="53" y="135"/>
                    <a:pt x="54" y="135"/>
                  </a:cubicBezTo>
                  <a:cubicBezTo>
                    <a:pt x="54" y="135"/>
                    <a:pt x="55" y="135"/>
                    <a:pt x="55" y="135"/>
                  </a:cubicBezTo>
                  <a:cubicBezTo>
                    <a:pt x="56" y="134"/>
                    <a:pt x="56" y="134"/>
                    <a:pt x="56" y="133"/>
                  </a:cubicBezTo>
                  <a:cubicBezTo>
                    <a:pt x="57" y="133"/>
                    <a:pt x="58" y="129"/>
                    <a:pt x="58" y="127"/>
                  </a:cubicBezTo>
                  <a:cubicBezTo>
                    <a:pt x="60" y="127"/>
                    <a:pt x="61" y="127"/>
                    <a:pt x="63" y="127"/>
                  </a:cubicBezTo>
                  <a:cubicBezTo>
                    <a:pt x="63" y="130"/>
                    <a:pt x="63" y="133"/>
                    <a:pt x="63" y="134"/>
                  </a:cubicBezTo>
                  <a:cubicBezTo>
                    <a:pt x="63" y="135"/>
                    <a:pt x="64" y="135"/>
                    <a:pt x="64" y="136"/>
                  </a:cubicBezTo>
                  <a:cubicBezTo>
                    <a:pt x="64" y="136"/>
                    <a:pt x="65" y="136"/>
                    <a:pt x="65" y="136"/>
                  </a:cubicBezTo>
                  <a:cubicBezTo>
                    <a:pt x="66" y="136"/>
                    <a:pt x="67" y="136"/>
                    <a:pt x="67" y="136"/>
                  </a:cubicBezTo>
                  <a:cubicBezTo>
                    <a:pt x="67" y="135"/>
                    <a:pt x="68" y="135"/>
                    <a:pt x="68" y="134"/>
                  </a:cubicBezTo>
                  <a:cubicBezTo>
                    <a:pt x="68" y="134"/>
                    <a:pt x="68" y="130"/>
                    <a:pt x="69" y="127"/>
                  </a:cubicBezTo>
                  <a:cubicBezTo>
                    <a:pt x="70" y="127"/>
                    <a:pt x="72" y="127"/>
                    <a:pt x="73" y="127"/>
                  </a:cubicBezTo>
                  <a:cubicBezTo>
                    <a:pt x="74" y="130"/>
                    <a:pt x="74" y="133"/>
                    <a:pt x="75" y="134"/>
                  </a:cubicBezTo>
                  <a:cubicBezTo>
                    <a:pt x="75" y="135"/>
                    <a:pt x="75" y="135"/>
                    <a:pt x="76" y="135"/>
                  </a:cubicBezTo>
                  <a:cubicBezTo>
                    <a:pt x="76" y="136"/>
                    <a:pt x="77" y="136"/>
                    <a:pt x="77" y="136"/>
                  </a:cubicBezTo>
                  <a:cubicBezTo>
                    <a:pt x="78" y="136"/>
                    <a:pt x="78" y="135"/>
                    <a:pt x="79" y="135"/>
                  </a:cubicBezTo>
                  <a:cubicBezTo>
                    <a:pt x="79" y="135"/>
                    <a:pt x="79" y="134"/>
                    <a:pt x="79" y="133"/>
                  </a:cubicBezTo>
                  <a:cubicBezTo>
                    <a:pt x="79" y="133"/>
                    <a:pt x="79" y="129"/>
                    <a:pt x="79" y="126"/>
                  </a:cubicBezTo>
                  <a:cubicBezTo>
                    <a:pt x="81" y="126"/>
                    <a:pt x="82" y="126"/>
                    <a:pt x="83" y="125"/>
                  </a:cubicBezTo>
                  <a:cubicBezTo>
                    <a:pt x="84" y="128"/>
                    <a:pt x="86" y="131"/>
                    <a:pt x="86" y="132"/>
                  </a:cubicBezTo>
                  <a:cubicBezTo>
                    <a:pt x="86" y="132"/>
                    <a:pt x="87" y="133"/>
                    <a:pt x="87" y="133"/>
                  </a:cubicBezTo>
                  <a:cubicBezTo>
                    <a:pt x="88" y="133"/>
                    <a:pt x="88" y="133"/>
                    <a:pt x="89" y="133"/>
                  </a:cubicBezTo>
                  <a:cubicBezTo>
                    <a:pt x="89" y="133"/>
                    <a:pt x="90" y="133"/>
                    <a:pt x="90" y="132"/>
                  </a:cubicBezTo>
                  <a:cubicBezTo>
                    <a:pt x="90" y="132"/>
                    <a:pt x="91" y="131"/>
                    <a:pt x="90" y="131"/>
                  </a:cubicBezTo>
                  <a:cubicBezTo>
                    <a:pt x="90" y="130"/>
                    <a:pt x="90" y="127"/>
                    <a:pt x="89" y="124"/>
                  </a:cubicBezTo>
                  <a:cubicBezTo>
                    <a:pt x="90" y="123"/>
                    <a:pt x="92" y="123"/>
                    <a:pt x="93" y="122"/>
                  </a:cubicBezTo>
                  <a:cubicBezTo>
                    <a:pt x="95" y="125"/>
                    <a:pt x="96" y="127"/>
                    <a:pt x="97" y="12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25" name="Freeform 419">
              <a:extLst>
                <a:ext uri="{FF2B5EF4-FFF2-40B4-BE49-F238E27FC236}">
                  <a16:creationId xmlns:a16="http://schemas.microsoft.com/office/drawing/2014/main" id="{D8A48860-3862-47B6-885C-5DCEF6F790BD}"/>
                </a:ext>
              </a:extLst>
            </p:cNvPr>
            <p:cNvSpPr>
              <a:spLocks noEditPoints="1"/>
            </p:cNvSpPr>
            <p:nvPr/>
          </p:nvSpPr>
          <p:spPr bwMode="auto">
            <a:xfrm>
              <a:off x="645134" y="2567089"/>
              <a:ext cx="143776" cy="196309"/>
            </a:xfrm>
            <a:custGeom>
              <a:avLst/>
              <a:gdLst>
                <a:gd name="T0" fmla="*/ 25 w 235"/>
                <a:gd name="T1" fmla="*/ 189 h 320"/>
                <a:gd name="T2" fmla="*/ 25 w 235"/>
                <a:gd name="T3" fmla="*/ 173 h 320"/>
                <a:gd name="T4" fmla="*/ 40 w 235"/>
                <a:gd name="T5" fmla="*/ 173 h 320"/>
                <a:gd name="T6" fmla="*/ 107 w 235"/>
                <a:gd name="T7" fmla="*/ 241 h 320"/>
                <a:gd name="T8" fmla="*/ 107 w 235"/>
                <a:gd name="T9" fmla="*/ 10 h 320"/>
                <a:gd name="T10" fmla="*/ 118 w 235"/>
                <a:gd name="T11" fmla="*/ 0 h 320"/>
                <a:gd name="T12" fmla="*/ 128 w 235"/>
                <a:gd name="T13" fmla="*/ 10 h 320"/>
                <a:gd name="T14" fmla="*/ 128 w 235"/>
                <a:gd name="T15" fmla="*/ 241 h 320"/>
                <a:gd name="T16" fmla="*/ 195 w 235"/>
                <a:gd name="T17" fmla="*/ 173 h 320"/>
                <a:gd name="T18" fmla="*/ 211 w 235"/>
                <a:gd name="T19" fmla="*/ 173 h 320"/>
                <a:gd name="T20" fmla="*/ 211 w 235"/>
                <a:gd name="T21" fmla="*/ 189 h 320"/>
                <a:gd name="T22" fmla="*/ 125 w 235"/>
                <a:gd name="T23" fmla="*/ 274 h 320"/>
                <a:gd name="T24" fmla="*/ 122 w 235"/>
                <a:gd name="T25" fmla="*/ 276 h 320"/>
                <a:gd name="T26" fmla="*/ 118 w 235"/>
                <a:gd name="T27" fmla="*/ 277 h 320"/>
                <a:gd name="T28" fmla="*/ 114 w 235"/>
                <a:gd name="T29" fmla="*/ 276 h 320"/>
                <a:gd name="T30" fmla="*/ 110 w 235"/>
                <a:gd name="T31" fmla="*/ 274 h 320"/>
                <a:gd name="T32" fmla="*/ 25 w 235"/>
                <a:gd name="T33" fmla="*/ 189 h 320"/>
                <a:gd name="T34" fmla="*/ 224 w 235"/>
                <a:gd name="T35" fmla="*/ 256 h 320"/>
                <a:gd name="T36" fmla="*/ 214 w 235"/>
                <a:gd name="T37" fmla="*/ 266 h 320"/>
                <a:gd name="T38" fmla="*/ 214 w 235"/>
                <a:gd name="T39" fmla="*/ 298 h 320"/>
                <a:gd name="T40" fmla="*/ 22 w 235"/>
                <a:gd name="T41" fmla="*/ 298 h 320"/>
                <a:gd name="T42" fmla="*/ 22 w 235"/>
                <a:gd name="T43" fmla="*/ 266 h 320"/>
                <a:gd name="T44" fmla="*/ 11 w 235"/>
                <a:gd name="T45" fmla="*/ 256 h 320"/>
                <a:gd name="T46" fmla="*/ 0 w 235"/>
                <a:gd name="T47" fmla="*/ 266 h 320"/>
                <a:gd name="T48" fmla="*/ 0 w 235"/>
                <a:gd name="T49" fmla="*/ 309 h 320"/>
                <a:gd name="T50" fmla="*/ 11 w 235"/>
                <a:gd name="T51" fmla="*/ 320 h 320"/>
                <a:gd name="T52" fmla="*/ 224 w 235"/>
                <a:gd name="T53" fmla="*/ 320 h 320"/>
                <a:gd name="T54" fmla="*/ 235 w 235"/>
                <a:gd name="T55" fmla="*/ 309 h 320"/>
                <a:gd name="T56" fmla="*/ 235 w 235"/>
                <a:gd name="T57" fmla="*/ 266 h 320"/>
                <a:gd name="T58" fmla="*/ 224 w 235"/>
                <a:gd name="T59"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5" h="320">
                  <a:moveTo>
                    <a:pt x="25" y="189"/>
                  </a:moveTo>
                  <a:cubicBezTo>
                    <a:pt x="21" y="184"/>
                    <a:pt x="21" y="178"/>
                    <a:pt x="25" y="173"/>
                  </a:cubicBezTo>
                  <a:cubicBezTo>
                    <a:pt x="29" y="169"/>
                    <a:pt x="36" y="169"/>
                    <a:pt x="40" y="173"/>
                  </a:cubicBezTo>
                  <a:cubicBezTo>
                    <a:pt x="107" y="241"/>
                    <a:pt x="107" y="241"/>
                    <a:pt x="107" y="241"/>
                  </a:cubicBezTo>
                  <a:cubicBezTo>
                    <a:pt x="107" y="10"/>
                    <a:pt x="107" y="10"/>
                    <a:pt x="107" y="10"/>
                  </a:cubicBezTo>
                  <a:cubicBezTo>
                    <a:pt x="107" y="4"/>
                    <a:pt x="112" y="0"/>
                    <a:pt x="118" y="0"/>
                  </a:cubicBezTo>
                  <a:cubicBezTo>
                    <a:pt x="124" y="0"/>
                    <a:pt x="128" y="4"/>
                    <a:pt x="128" y="10"/>
                  </a:cubicBezTo>
                  <a:cubicBezTo>
                    <a:pt x="128" y="241"/>
                    <a:pt x="128" y="241"/>
                    <a:pt x="128" y="241"/>
                  </a:cubicBezTo>
                  <a:cubicBezTo>
                    <a:pt x="195" y="173"/>
                    <a:pt x="195" y="173"/>
                    <a:pt x="195" y="173"/>
                  </a:cubicBezTo>
                  <a:cubicBezTo>
                    <a:pt x="200" y="169"/>
                    <a:pt x="206" y="169"/>
                    <a:pt x="211" y="173"/>
                  </a:cubicBezTo>
                  <a:cubicBezTo>
                    <a:pt x="215" y="178"/>
                    <a:pt x="215" y="184"/>
                    <a:pt x="211" y="189"/>
                  </a:cubicBezTo>
                  <a:cubicBezTo>
                    <a:pt x="125" y="274"/>
                    <a:pt x="125" y="274"/>
                    <a:pt x="125" y="274"/>
                  </a:cubicBezTo>
                  <a:cubicBezTo>
                    <a:pt x="124" y="275"/>
                    <a:pt x="123" y="276"/>
                    <a:pt x="122" y="276"/>
                  </a:cubicBezTo>
                  <a:cubicBezTo>
                    <a:pt x="120" y="277"/>
                    <a:pt x="119" y="277"/>
                    <a:pt x="118" y="277"/>
                  </a:cubicBezTo>
                  <a:cubicBezTo>
                    <a:pt x="116" y="277"/>
                    <a:pt x="115" y="277"/>
                    <a:pt x="114" y="276"/>
                  </a:cubicBezTo>
                  <a:cubicBezTo>
                    <a:pt x="112" y="276"/>
                    <a:pt x="111" y="275"/>
                    <a:pt x="110" y="274"/>
                  </a:cubicBezTo>
                  <a:lnTo>
                    <a:pt x="25" y="189"/>
                  </a:lnTo>
                  <a:close/>
                  <a:moveTo>
                    <a:pt x="224" y="256"/>
                  </a:moveTo>
                  <a:cubicBezTo>
                    <a:pt x="218" y="256"/>
                    <a:pt x="214" y="260"/>
                    <a:pt x="214" y="266"/>
                  </a:cubicBezTo>
                  <a:cubicBezTo>
                    <a:pt x="214" y="298"/>
                    <a:pt x="214" y="298"/>
                    <a:pt x="214" y="298"/>
                  </a:cubicBezTo>
                  <a:cubicBezTo>
                    <a:pt x="22" y="298"/>
                    <a:pt x="22" y="298"/>
                    <a:pt x="22" y="298"/>
                  </a:cubicBezTo>
                  <a:cubicBezTo>
                    <a:pt x="22" y="266"/>
                    <a:pt x="22" y="266"/>
                    <a:pt x="22" y="266"/>
                  </a:cubicBezTo>
                  <a:cubicBezTo>
                    <a:pt x="22" y="260"/>
                    <a:pt x="17" y="256"/>
                    <a:pt x="11" y="256"/>
                  </a:cubicBezTo>
                  <a:cubicBezTo>
                    <a:pt x="5" y="256"/>
                    <a:pt x="0" y="260"/>
                    <a:pt x="0" y="266"/>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266"/>
                    <a:pt x="235" y="266"/>
                    <a:pt x="235" y="266"/>
                  </a:cubicBezTo>
                  <a:cubicBezTo>
                    <a:pt x="235" y="260"/>
                    <a:pt x="230" y="256"/>
                    <a:pt x="224" y="256"/>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26" name="Group 225">
            <a:extLst>
              <a:ext uri="{FF2B5EF4-FFF2-40B4-BE49-F238E27FC236}">
                <a16:creationId xmlns:a16="http://schemas.microsoft.com/office/drawing/2014/main" id="{B3F3F614-D204-477C-8A21-9A70ECAEFCF9}"/>
              </a:ext>
            </a:extLst>
          </p:cNvPr>
          <p:cNvGrpSpPr/>
          <p:nvPr/>
        </p:nvGrpSpPr>
        <p:grpSpPr>
          <a:xfrm>
            <a:off x="10885275" y="2457748"/>
            <a:ext cx="311787" cy="311787"/>
            <a:chOff x="1179937" y="2513742"/>
            <a:chExt cx="311787" cy="311787"/>
          </a:xfrm>
        </p:grpSpPr>
        <p:sp>
          <p:nvSpPr>
            <p:cNvPr id="227" name="Freeform 16">
              <a:extLst>
                <a:ext uri="{FF2B5EF4-FFF2-40B4-BE49-F238E27FC236}">
                  <a16:creationId xmlns:a16="http://schemas.microsoft.com/office/drawing/2014/main" id="{A1B37354-CE7C-4462-AB47-9D1E51ABC2D6}"/>
                </a:ext>
              </a:extLst>
            </p:cNvPr>
            <p:cNvSpPr>
              <a:spLocks noEditPoints="1"/>
            </p:cNvSpPr>
            <p:nvPr/>
          </p:nvSpPr>
          <p:spPr bwMode="auto">
            <a:xfrm>
              <a:off x="1179937" y="2513742"/>
              <a:ext cx="311787" cy="311787"/>
            </a:xfrm>
            <a:custGeom>
              <a:avLst/>
              <a:gdLst>
                <a:gd name="T0" fmla="*/ 105 w 107"/>
                <a:gd name="T1" fmla="*/ 52 h 107"/>
                <a:gd name="T2" fmla="*/ 106 w 107"/>
                <a:gd name="T3" fmla="*/ 44 h 107"/>
                <a:gd name="T4" fmla="*/ 103 w 107"/>
                <a:gd name="T5" fmla="*/ 37 h 107"/>
                <a:gd name="T6" fmla="*/ 96 w 107"/>
                <a:gd name="T7" fmla="*/ 35 h 107"/>
                <a:gd name="T8" fmla="*/ 99 w 107"/>
                <a:gd name="T9" fmla="*/ 26 h 107"/>
                <a:gd name="T10" fmla="*/ 95 w 107"/>
                <a:gd name="T11" fmla="*/ 20 h 107"/>
                <a:gd name="T12" fmla="*/ 85 w 107"/>
                <a:gd name="T13" fmla="*/ 19 h 107"/>
                <a:gd name="T14" fmla="*/ 86 w 107"/>
                <a:gd name="T15" fmla="*/ 12 h 107"/>
                <a:gd name="T16" fmla="*/ 80 w 107"/>
                <a:gd name="T17" fmla="*/ 7 h 107"/>
                <a:gd name="T18" fmla="*/ 73 w 107"/>
                <a:gd name="T19" fmla="*/ 5 h 107"/>
                <a:gd name="T20" fmla="*/ 67 w 107"/>
                <a:gd name="T21" fmla="*/ 9 h 107"/>
                <a:gd name="T22" fmla="*/ 62 w 107"/>
                <a:gd name="T23" fmla="*/ 1 h 107"/>
                <a:gd name="T24" fmla="*/ 55 w 107"/>
                <a:gd name="T25" fmla="*/ 0 h 107"/>
                <a:gd name="T26" fmla="*/ 48 w 107"/>
                <a:gd name="T27" fmla="*/ 7 h 107"/>
                <a:gd name="T28" fmla="*/ 43 w 107"/>
                <a:gd name="T29" fmla="*/ 3 h 107"/>
                <a:gd name="T30" fmla="*/ 35 w 107"/>
                <a:gd name="T31" fmla="*/ 3 h 107"/>
                <a:gd name="T32" fmla="*/ 29 w 107"/>
                <a:gd name="T33" fmla="*/ 7 h 107"/>
                <a:gd name="T34" fmla="*/ 28 w 107"/>
                <a:gd name="T35" fmla="*/ 14 h 107"/>
                <a:gd name="T36" fmla="*/ 19 w 107"/>
                <a:gd name="T37" fmla="*/ 14 h 107"/>
                <a:gd name="T38" fmla="*/ 14 w 107"/>
                <a:gd name="T39" fmla="*/ 18 h 107"/>
                <a:gd name="T40" fmla="*/ 15 w 107"/>
                <a:gd name="T41" fmla="*/ 28 h 107"/>
                <a:gd name="T42" fmla="*/ 8 w 107"/>
                <a:gd name="T43" fmla="*/ 29 h 107"/>
                <a:gd name="T44" fmla="*/ 3 w 107"/>
                <a:gd name="T45" fmla="*/ 35 h 107"/>
                <a:gd name="T46" fmla="*/ 3 w 107"/>
                <a:gd name="T47" fmla="*/ 43 h 107"/>
                <a:gd name="T48" fmla="*/ 7 w 107"/>
                <a:gd name="T49" fmla="*/ 48 h 107"/>
                <a:gd name="T50" fmla="*/ 1 w 107"/>
                <a:gd name="T51" fmla="*/ 55 h 107"/>
                <a:gd name="T52" fmla="*/ 1 w 107"/>
                <a:gd name="T53" fmla="*/ 61 h 107"/>
                <a:gd name="T54" fmla="*/ 9 w 107"/>
                <a:gd name="T55" fmla="*/ 67 h 107"/>
                <a:gd name="T56" fmla="*/ 5 w 107"/>
                <a:gd name="T57" fmla="*/ 73 h 107"/>
                <a:gd name="T58" fmla="*/ 7 w 107"/>
                <a:gd name="T59" fmla="*/ 80 h 107"/>
                <a:gd name="T60" fmla="*/ 13 w 107"/>
                <a:gd name="T61" fmla="*/ 85 h 107"/>
                <a:gd name="T62" fmla="*/ 20 w 107"/>
                <a:gd name="T63" fmla="*/ 85 h 107"/>
                <a:gd name="T64" fmla="*/ 20 w 107"/>
                <a:gd name="T65" fmla="*/ 95 h 107"/>
                <a:gd name="T66" fmla="*/ 26 w 107"/>
                <a:gd name="T67" fmla="*/ 99 h 107"/>
                <a:gd name="T68" fmla="*/ 36 w 107"/>
                <a:gd name="T69" fmla="*/ 96 h 107"/>
                <a:gd name="T70" fmla="*/ 38 w 107"/>
                <a:gd name="T71" fmla="*/ 103 h 107"/>
                <a:gd name="T72" fmla="*/ 44 w 107"/>
                <a:gd name="T73" fmla="*/ 106 h 107"/>
                <a:gd name="T74" fmla="*/ 52 w 107"/>
                <a:gd name="T75" fmla="*/ 105 h 107"/>
                <a:gd name="T76" fmla="*/ 56 w 107"/>
                <a:gd name="T77" fmla="*/ 100 h 107"/>
                <a:gd name="T78" fmla="*/ 64 w 107"/>
                <a:gd name="T79" fmla="*/ 106 h 107"/>
                <a:gd name="T80" fmla="*/ 71 w 107"/>
                <a:gd name="T81" fmla="*/ 104 h 107"/>
                <a:gd name="T82" fmla="*/ 75 w 107"/>
                <a:gd name="T83" fmla="*/ 95 h 107"/>
                <a:gd name="T84" fmla="*/ 81 w 107"/>
                <a:gd name="T85" fmla="*/ 97 h 107"/>
                <a:gd name="T86" fmla="*/ 88 w 107"/>
                <a:gd name="T87" fmla="*/ 94 h 107"/>
                <a:gd name="T88" fmla="*/ 92 w 107"/>
                <a:gd name="T89" fmla="*/ 88 h 107"/>
                <a:gd name="T90" fmla="*/ 91 w 107"/>
                <a:gd name="T91" fmla="*/ 82 h 107"/>
                <a:gd name="T92" fmla="*/ 100 w 107"/>
                <a:gd name="T93" fmla="*/ 79 h 107"/>
                <a:gd name="T94" fmla="*/ 103 w 107"/>
                <a:gd name="T95" fmla="*/ 73 h 107"/>
                <a:gd name="T96" fmla="*/ 99 w 107"/>
                <a:gd name="T97" fmla="*/ 64 h 107"/>
                <a:gd name="T98" fmla="*/ 105 w 107"/>
                <a:gd name="T99" fmla="*/ 61 h 107"/>
                <a:gd name="T100" fmla="*/ 53 w 107"/>
                <a:gd name="T101" fmla="*/ 96 h 107"/>
                <a:gd name="T102" fmla="*/ 39 w 107"/>
                <a:gd name="T103" fmla="*/ 93 h 107"/>
                <a:gd name="T104" fmla="*/ 27 w 107"/>
                <a:gd name="T105"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107">
                  <a:moveTo>
                    <a:pt x="105" y="55"/>
                  </a:moveTo>
                  <a:cubicBezTo>
                    <a:pt x="106" y="55"/>
                    <a:pt x="106" y="55"/>
                    <a:pt x="107" y="55"/>
                  </a:cubicBezTo>
                  <a:cubicBezTo>
                    <a:pt x="107" y="54"/>
                    <a:pt x="107" y="54"/>
                    <a:pt x="107" y="53"/>
                  </a:cubicBezTo>
                  <a:cubicBezTo>
                    <a:pt x="107" y="53"/>
                    <a:pt x="107" y="52"/>
                    <a:pt x="107" y="52"/>
                  </a:cubicBezTo>
                  <a:cubicBezTo>
                    <a:pt x="106" y="52"/>
                    <a:pt x="106" y="52"/>
                    <a:pt x="105" y="52"/>
                  </a:cubicBezTo>
                  <a:cubicBezTo>
                    <a:pt x="105" y="51"/>
                    <a:pt x="102" y="51"/>
                    <a:pt x="100" y="51"/>
                  </a:cubicBezTo>
                  <a:cubicBezTo>
                    <a:pt x="100" y="50"/>
                    <a:pt x="100" y="49"/>
                    <a:pt x="100" y="48"/>
                  </a:cubicBezTo>
                  <a:cubicBezTo>
                    <a:pt x="102" y="47"/>
                    <a:pt x="105" y="46"/>
                    <a:pt x="105" y="46"/>
                  </a:cubicBezTo>
                  <a:cubicBezTo>
                    <a:pt x="105" y="46"/>
                    <a:pt x="106" y="46"/>
                    <a:pt x="106" y="45"/>
                  </a:cubicBezTo>
                  <a:cubicBezTo>
                    <a:pt x="106" y="45"/>
                    <a:pt x="106" y="44"/>
                    <a:pt x="106" y="44"/>
                  </a:cubicBezTo>
                  <a:cubicBezTo>
                    <a:pt x="106" y="44"/>
                    <a:pt x="106" y="43"/>
                    <a:pt x="106" y="43"/>
                  </a:cubicBezTo>
                  <a:cubicBezTo>
                    <a:pt x="105" y="43"/>
                    <a:pt x="105" y="42"/>
                    <a:pt x="104" y="43"/>
                  </a:cubicBezTo>
                  <a:cubicBezTo>
                    <a:pt x="104" y="43"/>
                    <a:pt x="101" y="43"/>
                    <a:pt x="99" y="43"/>
                  </a:cubicBezTo>
                  <a:cubicBezTo>
                    <a:pt x="99" y="42"/>
                    <a:pt x="98" y="41"/>
                    <a:pt x="98" y="40"/>
                  </a:cubicBezTo>
                  <a:cubicBezTo>
                    <a:pt x="100" y="39"/>
                    <a:pt x="103" y="38"/>
                    <a:pt x="103" y="37"/>
                  </a:cubicBezTo>
                  <a:cubicBezTo>
                    <a:pt x="103" y="37"/>
                    <a:pt x="104" y="37"/>
                    <a:pt x="104" y="36"/>
                  </a:cubicBezTo>
                  <a:cubicBezTo>
                    <a:pt x="104" y="36"/>
                    <a:pt x="104" y="35"/>
                    <a:pt x="104" y="35"/>
                  </a:cubicBezTo>
                  <a:cubicBezTo>
                    <a:pt x="104" y="35"/>
                    <a:pt x="103" y="34"/>
                    <a:pt x="103" y="34"/>
                  </a:cubicBezTo>
                  <a:cubicBezTo>
                    <a:pt x="103" y="34"/>
                    <a:pt x="102" y="34"/>
                    <a:pt x="102" y="34"/>
                  </a:cubicBezTo>
                  <a:cubicBezTo>
                    <a:pt x="101" y="34"/>
                    <a:pt x="99" y="35"/>
                    <a:pt x="96" y="35"/>
                  </a:cubicBezTo>
                  <a:cubicBezTo>
                    <a:pt x="96" y="34"/>
                    <a:pt x="96" y="33"/>
                    <a:pt x="95" y="32"/>
                  </a:cubicBezTo>
                  <a:cubicBezTo>
                    <a:pt x="97" y="31"/>
                    <a:pt x="99" y="29"/>
                    <a:pt x="99" y="29"/>
                  </a:cubicBezTo>
                  <a:cubicBezTo>
                    <a:pt x="100" y="29"/>
                    <a:pt x="100" y="28"/>
                    <a:pt x="100" y="28"/>
                  </a:cubicBezTo>
                  <a:cubicBezTo>
                    <a:pt x="100" y="27"/>
                    <a:pt x="100" y="27"/>
                    <a:pt x="100" y="27"/>
                  </a:cubicBezTo>
                  <a:cubicBezTo>
                    <a:pt x="100" y="26"/>
                    <a:pt x="99" y="26"/>
                    <a:pt x="99" y="26"/>
                  </a:cubicBezTo>
                  <a:cubicBezTo>
                    <a:pt x="99" y="26"/>
                    <a:pt x="98" y="26"/>
                    <a:pt x="98" y="26"/>
                  </a:cubicBezTo>
                  <a:cubicBezTo>
                    <a:pt x="97" y="26"/>
                    <a:pt x="95" y="27"/>
                    <a:pt x="93" y="28"/>
                  </a:cubicBezTo>
                  <a:cubicBezTo>
                    <a:pt x="92" y="27"/>
                    <a:pt x="91" y="26"/>
                    <a:pt x="91" y="25"/>
                  </a:cubicBezTo>
                  <a:cubicBezTo>
                    <a:pt x="92" y="24"/>
                    <a:pt x="94" y="22"/>
                    <a:pt x="95" y="21"/>
                  </a:cubicBezTo>
                  <a:cubicBezTo>
                    <a:pt x="95" y="21"/>
                    <a:pt x="95" y="21"/>
                    <a:pt x="95" y="20"/>
                  </a:cubicBezTo>
                  <a:cubicBezTo>
                    <a:pt x="95" y="20"/>
                    <a:pt x="95" y="19"/>
                    <a:pt x="95" y="19"/>
                  </a:cubicBezTo>
                  <a:cubicBezTo>
                    <a:pt x="94" y="19"/>
                    <a:pt x="94" y="18"/>
                    <a:pt x="93" y="18"/>
                  </a:cubicBezTo>
                  <a:cubicBezTo>
                    <a:pt x="93" y="18"/>
                    <a:pt x="93" y="18"/>
                    <a:pt x="92" y="19"/>
                  </a:cubicBezTo>
                  <a:cubicBezTo>
                    <a:pt x="92" y="19"/>
                    <a:pt x="90" y="20"/>
                    <a:pt x="88" y="22"/>
                  </a:cubicBezTo>
                  <a:cubicBezTo>
                    <a:pt x="87" y="21"/>
                    <a:pt x="86" y="20"/>
                    <a:pt x="85" y="19"/>
                  </a:cubicBezTo>
                  <a:cubicBezTo>
                    <a:pt x="87" y="17"/>
                    <a:pt x="88" y="15"/>
                    <a:pt x="88" y="15"/>
                  </a:cubicBezTo>
                  <a:cubicBezTo>
                    <a:pt x="89" y="14"/>
                    <a:pt x="89" y="14"/>
                    <a:pt x="89" y="14"/>
                  </a:cubicBezTo>
                  <a:cubicBezTo>
                    <a:pt x="89" y="13"/>
                    <a:pt x="88" y="13"/>
                    <a:pt x="88" y="12"/>
                  </a:cubicBezTo>
                  <a:cubicBezTo>
                    <a:pt x="88" y="12"/>
                    <a:pt x="87" y="12"/>
                    <a:pt x="87" y="12"/>
                  </a:cubicBezTo>
                  <a:cubicBezTo>
                    <a:pt x="86" y="12"/>
                    <a:pt x="86" y="12"/>
                    <a:pt x="86" y="12"/>
                  </a:cubicBezTo>
                  <a:cubicBezTo>
                    <a:pt x="85" y="13"/>
                    <a:pt x="83" y="15"/>
                    <a:pt x="82" y="16"/>
                  </a:cubicBezTo>
                  <a:cubicBezTo>
                    <a:pt x="81" y="16"/>
                    <a:pt x="80" y="15"/>
                    <a:pt x="79" y="14"/>
                  </a:cubicBezTo>
                  <a:cubicBezTo>
                    <a:pt x="80" y="12"/>
                    <a:pt x="81" y="10"/>
                    <a:pt x="81" y="9"/>
                  </a:cubicBezTo>
                  <a:cubicBezTo>
                    <a:pt x="81" y="9"/>
                    <a:pt x="81" y="8"/>
                    <a:pt x="81" y="8"/>
                  </a:cubicBezTo>
                  <a:cubicBezTo>
                    <a:pt x="81" y="8"/>
                    <a:pt x="81" y="7"/>
                    <a:pt x="80" y="7"/>
                  </a:cubicBezTo>
                  <a:cubicBezTo>
                    <a:pt x="80" y="7"/>
                    <a:pt x="80" y="7"/>
                    <a:pt x="79" y="7"/>
                  </a:cubicBezTo>
                  <a:cubicBezTo>
                    <a:pt x="79" y="7"/>
                    <a:pt x="78" y="7"/>
                    <a:pt x="78" y="7"/>
                  </a:cubicBezTo>
                  <a:cubicBezTo>
                    <a:pt x="78" y="8"/>
                    <a:pt x="76" y="10"/>
                    <a:pt x="75" y="12"/>
                  </a:cubicBezTo>
                  <a:cubicBezTo>
                    <a:pt x="74" y="11"/>
                    <a:pt x="73" y="11"/>
                    <a:pt x="72" y="10"/>
                  </a:cubicBezTo>
                  <a:cubicBezTo>
                    <a:pt x="72" y="8"/>
                    <a:pt x="73" y="6"/>
                    <a:pt x="73" y="5"/>
                  </a:cubicBezTo>
                  <a:cubicBezTo>
                    <a:pt x="73" y="5"/>
                    <a:pt x="73" y="4"/>
                    <a:pt x="73" y="4"/>
                  </a:cubicBezTo>
                  <a:cubicBezTo>
                    <a:pt x="73" y="3"/>
                    <a:pt x="72" y="3"/>
                    <a:pt x="72" y="3"/>
                  </a:cubicBezTo>
                  <a:cubicBezTo>
                    <a:pt x="71" y="3"/>
                    <a:pt x="71" y="3"/>
                    <a:pt x="71" y="3"/>
                  </a:cubicBezTo>
                  <a:cubicBezTo>
                    <a:pt x="70" y="3"/>
                    <a:pt x="70" y="3"/>
                    <a:pt x="70" y="4"/>
                  </a:cubicBezTo>
                  <a:cubicBezTo>
                    <a:pt x="69" y="4"/>
                    <a:pt x="68" y="7"/>
                    <a:pt x="67" y="9"/>
                  </a:cubicBezTo>
                  <a:cubicBezTo>
                    <a:pt x="66" y="8"/>
                    <a:pt x="65" y="8"/>
                    <a:pt x="64" y="8"/>
                  </a:cubicBezTo>
                  <a:cubicBezTo>
                    <a:pt x="64" y="6"/>
                    <a:pt x="64" y="3"/>
                    <a:pt x="64" y="3"/>
                  </a:cubicBezTo>
                  <a:cubicBezTo>
                    <a:pt x="64" y="2"/>
                    <a:pt x="64" y="2"/>
                    <a:pt x="64" y="1"/>
                  </a:cubicBezTo>
                  <a:cubicBezTo>
                    <a:pt x="64" y="1"/>
                    <a:pt x="63" y="1"/>
                    <a:pt x="63" y="1"/>
                  </a:cubicBezTo>
                  <a:cubicBezTo>
                    <a:pt x="62" y="0"/>
                    <a:pt x="62" y="1"/>
                    <a:pt x="62" y="1"/>
                  </a:cubicBezTo>
                  <a:cubicBezTo>
                    <a:pt x="61" y="1"/>
                    <a:pt x="61" y="1"/>
                    <a:pt x="61" y="2"/>
                  </a:cubicBezTo>
                  <a:cubicBezTo>
                    <a:pt x="61" y="2"/>
                    <a:pt x="60" y="5"/>
                    <a:pt x="59" y="7"/>
                  </a:cubicBezTo>
                  <a:cubicBezTo>
                    <a:pt x="58" y="7"/>
                    <a:pt x="57" y="7"/>
                    <a:pt x="56" y="7"/>
                  </a:cubicBezTo>
                  <a:cubicBezTo>
                    <a:pt x="56" y="4"/>
                    <a:pt x="56" y="2"/>
                    <a:pt x="55" y="1"/>
                  </a:cubicBezTo>
                  <a:cubicBezTo>
                    <a:pt x="55" y="1"/>
                    <a:pt x="55" y="0"/>
                    <a:pt x="55" y="0"/>
                  </a:cubicBezTo>
                  <a:cubicBezTo>
                    <a:pt x="55" y="0"/>
                    <a:pt x="54" y="0"/>
                    <a:pt x="54" y="0"/>
                  </a:cubicBezTo>
                  <a:cubicBezTo>
                    <a:pt x="53" y="0"/>
                    <a:pt x="53" y="0"/>
                    <a:pt x="52" y="0"/>
                  </a:cubicBezTo>
                  <a:cubicBezTo>
                    <a:pt x="52" y="1"/>
                    <a:pt x="52" y="1"/>
                    <a:pt x="52" y="1"/>
                  </a:cubicBezTo>
                  <a:cubicBezTo>
                    <a:pt x="52" y="2"/>
                    <a:pt x="51" y="4"/>
                    <a:pt x="51" y="7"/>
                  </a:cubicBezTo>
                  <a:cubicBezTo>
                    <a:pt x="50" y="7"/>
                    <a:pt x="49" y="7"/>
                    <a:pt x="48" y="7"/>
                  </a:cubicBezTo>
                  <a:cubicBezTo>
                    <a:pt x="47" y="5"/>
                    <a:pt x="47" y="2"/>
                    <a:pt x="46" y="2"/>
                  </a:cubicBezTo>
                  <a:cubicBezTo>
                    <a:pt x="46" y="1"/>
                    <a:pt x="46" y="1"/>
                    <a:pt x="46" y="1"/>
                  </a:cubicBezTo>
                  <a:cubicBezTo>
                    <a:pt x="45" y="1"/>
                    <a:pt x="45" y="0"/>
                    <a:pt x="44" y="1"/>
                  </a:cubicBezTo>
                  <a:cubicBezTo>
                    <a:pt x="44" y="1"/>
                    <a:pt x="43" y="1"/>
                    <a:pt x="43" y="1"/>
                  </a:cubicBezTo>
                  <a:cubicBezTo>
                    <a:pt x="43" y="2"/>
                    <a:pt x="43" y="2"/>
                    <a:pt x="43" y="3"/>
                  </a:cubicBezTo>
                  <a:cubicBezTo>
                    <a:pt x="43" y="3"/>
                    <a:pt x="43" y="6"/>
                    <a:pt x="43" y="8"/>
                  </a:cubicBezTo>
                  <a:cubicBezTo>
                    <a:pt x="42" y="8"/>
                    <a:pt x="41" y="8"/>
                    <a:pt x="40" y="9"/>
                  </a:cubicBezTo>
                  <a:cubicBezTo>
                    <a:pt x="39" y="7"/>
                    <a:pt x="38" y="4"/>
                    <a:pt x="38" y="4"/>
                  </a:cubicBezTo>
                  <a:cubicBezTo>
                    <a:pt x="37" y="3"/>
                    <a:pt x="37" y="3"/>
                    <a:pt x="37" y="3"/>
                  </a:cubicBezTo>
                  <a:cubicBezTo>
                    <a:pt x="36" y="3"/>
                    <a:pt x="36" y="3"/>
                    <a:pt x="35" y="3"/>
                  </a:cubicBezTo>
                  <a:cubicBezTo>
                    <a:pt x="35" y="3"/>
                    <a:pt x="35" y="3"/>
                    <a:pt x="34" y="4"/>
                  </a:cubicBezTo>
                  <a:cubicBezTo>
                    <a:pt x="34" y="4"/>
                    <a:pt x="34" y="5"/>
                    <a:pt x="34" y="5"/>
                  </a:cubicBezTo>
                  <a:cubicBezTo>
                    <a:pt x="34" y="6"/>
                    <a:pt x="35" y="8"/>
                    <a:pt x="36" y="10"/>
                  </a:cubicBezTo>
                  <a:cubicBezTo>
                    <a:pt x="35" y="11"/>
                    <a:pt x="33" y="11"/>
                    <a:pt x="32" y="12"/>
                  </a:cubicBezTo>
                  <a:cubicBezTo>
                    <a:pt x="31" y="10"/>
                    <a:pt x="30" y="8"/>
                    <a:pt x="29" y="7"/>
                  </a:cubicBezTo>
                  <a:cubicBezTo>
                    <a:pt x="29" y="7"/>
                    <a:pt x="29" y="7"/>
                    <a:pt x="28" y="7"/>
                  </a:cubicBezTo>
                  <a:cubicBezTo>
                    <a:pt x="28" y="7"/>
                    <a:pt x="27" y="7"/>
                    <a:pt x="27" y="7"/>
                  </a:cubicBezTo>
                  <a:cubicBezTo>
                    <a:pt x="27" y="7"/>
                    <a:pt x="26" y="8"/>
                    <a:pt x="26" y="8"/>
                  </a:cubicBezTo>
                  <a:cubicBezTo>
                    <a:pt x="26" y="8"/>
                    <a:pt x="26" y="9"/>
                    <a:pt x="26" y="9"/>
                  </a:cubicBezTo>
                  <a:cubicBezTo>
                    <a:pt x="26" y="10"/>
                    <a:pt x="27" y="12"/>
                    <a:pt x="28" y="14"/>
                  </a:cubicBezTo>
                  <a:cubicBezTo>
                    <a:pt x="27" y="15"/>
                    <a:pt x="27" y="16"/>
                    <a:pt x="26" y="16"/>
                  </a:cubicBezTo>
                  <a:cubicBezTo>
                    <a:pt x="24" y="15"/>
                    <a:pt x="22" y="13"/>
                    <a:pt x="22" y="12"/>
                  </a:cubicBezTo>
                  <a:cubicBezTo>
                    <a:pt x="21" y="12"/>
                    <a:pt x="21" y="12"/>
                    <a:pt x="20" y="12"/>
                  </a:cubicBezTo>
                  <a:cubicBezTo>
                    <a:pt x="20" y="12"/>
                    <a:pt x="20" y="12"/>
                    <a:pt x="19" y="12"/>
                  </a:cubicBezTo>
                  <a:cubicBezTo>
                    <a:pt x="19" y="13"/>
                    <a:pt x="19" y="13"/>
                    <a:pt x="19" y="14"/>
                  </a:cubicBezTo>
                  <a:cubicBezTo>
                    <a:pt x="19" y="14"/>
                    <a:pt x="19" y="14"/>
                    <a:pt x="19" y="15"/>
                  </a:cubicBezTo>
                  <a:cubicBezTo>
                    <a:pt x="19" y="15"/>
                    <a:pt x="21" y="17"/>
                    <a:pt x="22" y="19"/>
                  </a:cubicBezTo>
                  <a:cubicBezTo>
                    <a:pt x="21" y="20"/>
                    <a:pt x="20" y="21"/>
                    <a:pt x="20" y="22"/>
                  </a:cubicBezTo>
                  <a:cubicBezTo>
                    <a:pt x="18" y="20"/>
                    <a:pt x="16" y="19"/>
                    <a:pt x="15" y="19"/>
                  </a:cubicBezTo>
                  <a:cubicBezTo>
                    <a:pt x="15" y="18"/>
                    <a:pt x="14" y="18"/>
                    <a:pt x="14" y="18"/>
                  </a:cubicBezTo>
                  <a:cubicBezTo>
                    <a:pt x="13" y="18"/>
                    <a:pt x="13" y="19"/>
                    <a:pt x="13" y="19"/>
                  </a:cubicBezTo>
                  <a:cubicBezTo>
                    <a:pt x="12" y="19"/>
                    <a:pt x="12" y="20"/>
                    <a:pt x="12" y="20"/>
                  </a:cubicBezTo>
                  <a:cubicBezTo>
                    <a:pt x="12" y="21"/>
                    <a:pt x="12" y="21"/>
                    <a:pt x="13" y="21"/>
                  </a:cubicBezTo>
                  <a:cubicBezTo>
                    <a:pt x="13" y="22"/>
                    <a:pt x="15" y="24"/>
                    <a:pt x="17" y="25"/>
                  </a:cubicBezTo>
                  <a:cubicBezTo>
                    <a:pt x="16" y="26"/>
                    <a:pt x="15" y="27"/>
                    <a:pt x="15" y="28"/>
                  </a:cubicBezTo>
                  <a:cubicBezTo>
                    <a:pt x="12" y="27"/>
                    <a:pt x="10" y="26"/>
                    <a:pt x="10" y="26"/>
                  </a:cubicBezTo>
                  <a:cubicBezTo>
                    <a:pt x="9" y="26"/>
                    <a:pt x="9" y="26"/>
                    <a:pt x="8" y="26"/>
                  </a:cubicBezTo>
                  <a:cubicBezTo>
                    <a:pt x="8" y="26"/>
                    <a:pt x="8" y="26"/>
                    <a:pt x="7" y="27"/>
                  </a:cubicBezTo>
                  <a:cubicBezTo>
                    <a:pt x="7" y="27"/>
                    <a:pt x="7" y="27"/>
                    <a:pt x="7" y="28"/>
                  </a:cubicBezTo>
                  <a:cubicBezTo>
                    <a:pt x="7" y="28"/>
                    <a:pt x="7" y="29"/>
                    <a:pt x="8" y="29"/>
                  </a:cubicBezTo>
                  <a:cubicBezTo>
                    <a:pt x="8" y="29"/>
                    <a:pt x="10" y="31"/>
                    <a:pt x="12" y="32"/>
                  </a:cubicBezTo>
                  <a:cubicBezTo>
                    <a:pt x="12" y="33"/>
                    <a:pt x="11" y="34"/>
                    <a:pt x="11" y="35"/>
                  </a:cubicBezTo>
                  <a:cubicBezTo>
                    <a:pt x="9" y="35"/>
                    <a:pt x="6" y="34"/>
                    <a:pt x="5" y="34"/>
                  </a:cubicBezTo>
                  <a:cubicBezTo>
                    <a:pt x="5" y="34"/>
                    <a:pt x="5" y="34"/>
                    <a:pt x="4" y="34"/>
                  </a:cubicBezTo>
                  <a:cubicBezTo>
                    <a:pt x="4" y="34"/>
                    <a:pt x="4" y="35"/>
                    <a:pt x="3" y="35"/>
                  </a:cubicBezTo>
                  <a:cubicBezTo>
                    <a:pt x="3" y="35"/>
                    <a:pt x="3" y="36"/>
                    <a:pt x="3" y="36"/>
                  </a:cubicBezTo>
                  <a:cubicBezTo>
                    <a:pt x="4" y="37"/>
                    <a:pt x="4" y="37"/>
                    <a:pt x="4" y="37"/>
                  </a:cubicBezTo>
                  <a:cubicBezTo>
                    <a:pt x="5" y="38"/>
                    <a:pt x="7" y="39"/>
                    <a:pt x="9" y="40"/>
                  </a:cubicBezTo>
                  <a:cubicBezTo>
                    <a:pt x="9" y="41"/>
                    <a:pt x="9" y="42"/>
                    <a:pt x="8" y="43"/>
                  </a:cubicBezTo>
                  <a:cubicBezTo>
                    <a:pt x="6" y="43"/>
                    <a:pt x="3" y="43"/>
                    <a:pt x="3" y="43"/>
                  </a:cubicBezTo>
                  <a:cubicBezTo>
                    <a:pt x="2" y="42"/>
                    <a:pt x="2" y="43"/>
                    <a:pt x="2" y="43"/>
                  </a:cubicBezTo>
                  <a:cubicBezTo>
                    <a:pt x="1" y="43"/>
                    <a:pt x="1" y="44"/>
                    <a:pt x="1" y="44"/>
                  </a:cubicBezTo>
                  <a:cubicBezTo>
                    <a:pt x="1" y="44"/>
                    <a:pt x="1" y="45"/>
                    <a:pt x="1" y="45"/>
                  </a:cubicBezTo>
                  <a:cubicBezTo>
                    <a:pt x="1" y="46"/>
                    <a:pt x="2" y="46"/>
                    <a:pt x="2" y="46"/>
                  </a:cubicBezTo>
                  <a:cubicBezTo>
                    <a:pt x="3" y="46"/>
                    <a:pt x="5" y="47"/>
                    <a:pt x="7" y="48"/>
                  </a:cubicBezTo>
                  <a:cubicBezTo>
                    <a:pt x="7" y="49"/>
                    <a:pt x="7" y="50"/>
                    <a:pt x="7" y="51"/>
                  </a:cubicBezTo>
                  <a:cubicBezTo>
                    <a:pt x="5" y="51"/>
                    <a:pt x="2" y="51"/>
                    <a:pt x="2" y="52"/>
                  </a:cubicBezTo>
                  <a:cubicBezTo>
                    <a:pt x="1" y="52"/>
                    <a:pt x="1" y="52"/>
                    <a:pt x="1" y="52"/>
                  </a:cubicBezTo>
                  <a:cubicBezTo>
                    <a:pt x="0" y="52"/>
                    <a:pt x="0" y="53"/>
                    <a:pt x="0" y="53"/>
                  </a:cubicBezTo>
                  <a:cubicBezTo>
                    <a:pt x="0" y="54"/>
                    <a:pt x="0" y="54"/>
                    <a:pt x="1" y="55"/>
                  </a:cubicBezTo>
                  <a:cubicBezTo>
                    <a:pt x="1" y="55"/>
                    <a:pt x="1" y="55"/>
                    <a:pt x="2" y="55"/>
                  </a:cubicBezTo>
                  <a:cubicBezTo>
                    <a:pt x="2" y="55"/>
                    <a:pt x="5" y="55"/>
                    <a:pt x="7" y="56"/>
                  </a:cubicBezTo>
                  <a:cubicBezTo>
                    <a:pt x="7" y="57"/>
                    <a:pt x="7" y="58"/>
                    <a:pt x="7" y="59"/>
                  </a:cubicBezTo>
                  <a:cubicBezTo>
                    <a:pt x="5" y="60"/>
                    <a:pt x="3" y="60"/>
                    <a:pt x="2" y="61"/>
                  </a:cubicBezTo>
                  <a:cubicBezTo>
                    <a:pt x="2" y="61"/>
                    <a:pt x="1" y="61"/>
                    <a:pt x="1" y="61"/>
                  </a:cubicBezTo>
                  <a:cubicBezTo>
                    <a:pt x="1" y="62"/>
                    <a:pt x="1" y="62"/>
                    <a:pt x="1" y="63"/>
                  </a:cubicBezTo>
                  <a:cubicBezTo>
                    <a:pt x="1" y="63"/>
                    <a:pt x="1" y="64"/>
                    <a:pt x="2" y="64"/>
                  </a:cubicBezTo>
                  <a:cubicBezTo>
                    <a:pt x="2" y="64"/>
                    <a:pt x="2" y="64"/>
                    <a:pt x="3" y="64"/>
                  </a:cubicBezTo>
                  <a:cubicBezTo>
                    <a:pt x="3" y="64"/>
                    <a:pt x="6" y="64"/>
                    <a:pt x="8" y="64"/>
                  </a:cubicBezTo>
                  <a:cubicBezTo>
                    <a:pt x="9" y="65"/>
                    <a:pt x="9" y="66"/>
                    <a:pt x="9" y="67"/>
                  </a:cubicBezTo>
                  <a:cubicBezTo>
                    <a:pt x="7" y="68"/>
                    <a:pt x="5" y="69"/>
                    <a:pt x="4" y="69"/>
                  </a:cubicBezTo>
                  <a:cubicBezTo>
                    <a:pt x="4" y="70"/>
                    <a:pt x="4" y="70"/>
                    <a:pt x="3" y="70"/>
                  </a:cubicBezTo>
                  <a:cubicBezTo>
                    <a:pt x="3" y="71"/>
                    <a:pt x="3" y="71"/>
                    <a:pt x="3" y="72"/>
                  </a:cubicBezTo>
                  <a:cubicBezTo>
                    <a:pt x="4" y="72"/>
                    <a:pt x="4" y="72"/>
                    <a:pt x="4" y="73"/>
                  </a:cubicBezTo>
                  <a:cubicBezTo>
                    <a:pt x="5" y="73"/>
                    <a:pt x="5" y="73"/>
                    <a:pt x="5" y="73"/>
                  </a:cubicBezTo>
                  <a:cubicBezTo>
                    <a:pt x="6" y="73"/>
                    <a:pt x="9" y="72"/>
                    <a:pt x="11" y="71"/>
                  </a:cubicBezTo>
                  <a:cubicBezTo>
                    <a:pt x="11" y="73"/>
                    <a:pt x="12" y="74"/>
                    <a:pt x="12" y="75"/>
                  </a:cubicBezTo>
                  <a:cubicBezTo>
                    <a:pt x="10" y="76"/>
                    <a:pt x="8" y="77"/>
                    <a:pt x="8" y="78"/>
                  </a:cubicBezTo>
                  <a:cubicBezTo>
                    <a:pt x="7" y="78"/>
                    <a:pt x="7" y="78"/>
                    <a:pt x="7" y="79"/>
                  </a:cubicBezTo>
                  <a:cubicBezTo>
                    <a:pt x="7" y="79"/>
                    <a:pt x="7" y="80"/>
                    <a:pt x="7" y="80"/>
                  </a:cubicBezTo>
                  <a:cubicBezTo>
                    <a:pt x="8" y="81"/>
                    <a:pt x="8" y="81"/>
                    <a:pt x="8" y="81"/>
                  </a:cubicBezTo>
                  <a:cubicBezTo>
                    <a:pt x="9" y="81"/>
                    <a:pt x="9" y="81"/>
                    <a:pt x="10" y="81"/>
                  </a:cubicBezTo>
                  <a:cubicBezTo>
                    <a:pt x="10" y="81"/>
                    <a:pt x="12" y="80"/>
                    <a:pt x="15" y="79"/>
                  </a:cubicBezTo>
                  <a:cubicBezTo>
                    <a:pt x="15" y="80"/>
                    <a:pt x="16" y="81"/>
                    <a:pt x="17" y="82"/>
                  </a:cubicBezTo>
                  <a:cubicBezTo>
                    <a:pt x="15" y="83"/>
                    <a:pt x="13" y="85"/>
                    <a:pt x="13" y="85"/>
                  </a:cubicBezTo>
                  <a:cubicBezTo>
                    <a:pt x="12" y="86"/>
                    <a:pt x="12" y="86"/>
                    <a:pt x="12" y="87"/>
                  </a:cubicBezTo>
                  <a:cubicBezTo>
                    <a:pt x="12" y="87"/>
                    <a:pt x="12" y="87"/>
                    <a:pt x="13" y="88"/>
                  </a:cubicBezTo>
                  <a:cubicBezTo>
                    <a:pt x="13" y="88"/>
                    <a:pt x="13" y="88"/>
                    <a:pt x="14" y="88"/>
                  </a:cubicBezTo>
                  <a:cubicBezTo>
                    <a:pt x="14" y="88"/>
                    <a:pt x="15" y="88"/>
                    <a:pt x="15" y="88"/>
                  </a:cubicBezTo>
                  <a:cubicBezTo>
                    <a:pt x="16" y="88"/>
                    <a:pt x="18" y="86"/>
                    <a:pt x="20" y="85"/>
                  </a:cubicBezTo>
                  <a:cubicBezTo>
                    <a:pt x="20" y="86"/>
                    <a:pt x="21" y="87"/>
                    <a:pt x="22" y="87"/>
                  </a:cubicBezTo>
                  <a:cubicBezTo>
                    <a:pt x="21" y="89"/>
                    <a:pt x="19" y="92"/>
                    <a:pt x="19" y="92"/>
                  </a:cubicBezTo>
                  <a:cubicBezTo>
                    <a:pt x="19" y="92"/>
                    <a:pt x="19" y="93"/>
                    <a:pt x="19" y="93"/>
                  </a:cubicBezTo>
                  <a:cubicBezTo>
                    <a:pt x="19" y="94"/>
                    <a:pt x="19" y="94"/>
                    <a:pt x="19" y="94"/>
                  </a:cubicBezTo>
                  <a:cubicBezTo>
                    <a:pt x="20" y="95"/>
                    <a:pt x="20" y="95"/>
                    <a:pt x="20" y="95"/>
                  </a:cubicBezTo>
                  <a:cubicBezTo>
                    <a:pt x="21" y="95"/>
                    <a:pt x="21" y="95"/>
                    <a:pt x="22" y="94"/>
                  </a:cubicBezTo>
                  <a:cubicBezTo>
                    <a:pt x="22" y="94"/>
                    <a:pt x="24" y="92"/>
                    <a:pt x="26" y="91"/>
                  </a:cubicBezTo>
                  <a:cubicBezTo>
                    <a:pt x="27" y="91"/>
                    <a:pt x="27" y="92"/>
                    <a:pt x="28" y="92"/>
                  </a:cubicBezTo>
                  <a:cubicBezTo>
                    <a:pt x="27" y="95"/>
                    <a:pt x="26" y="97"/>
                    <a:pt x="26" y="97"/>
                  </a:cubicBezTo>
                  <a:cubicBezTo>
                    <a:pt x="26" y="98"/>
                    <a:pt x="26" y="98"/>
                    <a:pt x="26" y="99"/>
                  </a:cubicBezTo>
                  <a:cubicBezTo>
                    <a:pt x="26" y="99"/>
                    <a:pt x="27" y="100"/>
                    <a:pt x="27" y="100"/>
                  </a:cubicBezTo>
                  <a:cubicBezTo>
                    <a:pt x="27" y="100"/>
                    <a:pt x="28" y="100"/>
                    <a:pt x="28" y="100"/>
                  </a:cubicBezTo>
                  <a:cubicBezTo>
                    <a:pt x="29" y="100"/>
                    <a:pt x="29" y="100"/>
                    <a:pt x="29" y="99"/>
                  </a:cubicBezTo>
                  <a:cubicBezTo>
                    <a:pt x="30" y="99"/>
                    <a:pt x="31" y="97"/>
                    <a:pt x="32" y="95"/>
                  </a:cubicBezTo>
                  <a:cubicBezTo>
                    <a:pt x="33" y="95"/>
                    <a:pt x="35" y="96"/>
                    <a:pt x="36" y="96"/>
                  </a:cubicBezTo>
                  <a:cubicBezTo>
                    <a:pt x="35" y="99"/>
                    <a:pt x="34" y="101"/>
                    <a:pt x="34" y="102"/>
                  </a:cubicBezTo>
                  <a:cubicBezTo>
                    <a:pt x="34" y="102"/>
                    <a:pt x="34" y="102"/>
                    <a:pt x="34" y="103"/>
                  </a:cubicBezTo>
                  <a:cubicBezTo>
                    <a:pt x="35" y="103"/>
                    <a:pt x="35" y="104"/>
                    <a:pt x="35" y="104"/>
                  </a:cubicBezTo>
                  <a:cubicBezTo>
                    <a:pt x="36" y="104"/>
                    <a:pt x="36" y="104"/>
                    <a:pt x="37" y="104"/>
                  </a:cubicBezTo>
                  <a:cubicBezTo>
                    <a:pt x="37" y="104"/>
                    <a:pt x="37" y="103"/>
                    <a:pt x="38" y="103"/>
                  </a:cubicBezTo>
                  <a:cubicBezTo>
                    <a:pt x="38" y="102"/>
                    <a:pt x="39" y="100"/>
                    <a:pt x="40" y="98"/>
                  </a:cubicBezTo>
                  <a:cubicBezTo>
                    <a:pt x="41" y="98"/>
                    <a:pt x="42" y="99"/>
                    <a:pt x="43" y="99"/>
                  </a:cubicBezTo>
                  <a:cubicBezTo>
                    <a:pt x="43" y="101"/>
                    <a:pt x="43" y="104"/>
                    <a:pt x="43" y="104"/>
                  </a:cubicBezTo>
                  <a:cubicBezTo>
                    <a:pt x="43" y="105"/>
                    <a:pt x="43" y="105"/>
                    <a:pt x="43" y="106"/>
                  </a:cubicBezTo>
                  <a:cubicBezTo>
                    <a:pt x="43" y="106"/>
                    <a:pt x="44" y="106"/>
                    <a:pt x="44" y="106"/>
                  </a:cubicBezTo>
                  <a:cubicBezTo>
                    <a:pt x="45" y="106"/>
                    <a:pt x="45" y="106"/>
                    <a:pt x="46" y="106"/>
                  </a:cubicBezTo>
                  <a:cubicBezTo>
                    <a:pt x="46" y="106"/>
                    <a:pt x="46" y="105"/>
                    <a:pt x="46" y="105"/>
                  </a:cubicBezTo>
                  <a:cubicBezTo>
                    <a:pt x="47" y="104"/>
                    <a:pt x="47" y="102"/>
                    <a:pt x="48" y="100"/>
                  </a:cubicBezTo>
                  <a:cubicBezTo>
                    <a:pt x="49" y="100"/>
                    <a:pt x="50" y="100"/>
                    <a:pt x="51" y="100"/>
                  </a:cubicBezTo>
                  <a:cubicBezTo>
                    <a:pt x="51" y="102"/>
                    <a:pt x="52" y="105"/>
                    <a:pt x="52" y="105"/>
                  </a:cubicBezTo>
                  <a:cubicBezTo>
                    <a:pt x="52" y="106"/>
                    <a:pt x="52" y="106"/>
                    <a:pt x="52" y="106"/>
                  </a:cubicBezTo>
                  <a:cubicBezTo>
                    <a:pt x="53" y="107"/>
                    <a:pt x="53" y="107"/>
                    <a:pt x="54" y="107"/>
                  </a:cubicBezTo>
                  <a:cubicBezTo>
                    <a:pt x="54" y="107"/>
                    <a:pt x="55" y="107"/>
                    <a:pt x="55" y="106"/>
                  </a:cubicBezTo>
                  <a:cubicBezTo>
                    <a:pt x="55" y="106"/>
                    <a:pt x="55" y="106"/>
                    <a:pt x="55" y="105"/>
                  </a:cubicBezTo>
                  <a:cubicBezTo>
                    <a:pt x="56" y="105"/>
                    <a:pt x="56" y="102"/>
                    <a:pt x="56" y="100"/>
                  </a:cubicBezTo>
                  <a:cubicBezTo>
                    <a:pt x="57" y="100"/>
                    <a:pt x="58" y="100"/>
                    <a:pt x="59" y="100"/>
                  </a:cubicBezTo>
                  <a:cubicBezTo>
                    <a:pt x="60" y="102"/>
                    <a:pt x="61" y="104"/>
                    <a:pt x="61" y="105"/>
                  </a:cubicBezTo>
                  <a:cubicBezTo>
                    <a:pt x="61" y="105"/>
                    <a:pt x="61" y="106"/>
                    <a:pt x="62" y="106"/>
                  </a:cubicBezTo>
                  <a:cubicBezTo>
                    <a:pt x="62" y="106"/>
                    <a:pt x="62" y="106"/>
                    <a:pt x="63" y="106"/>
                  </a:cubicBezTo>
                  <a:cubicBezTo>
                    <a:pt x="63" y="106"/>
                    <a:pt x="64" y="106"/>
                    <a:pt x="64" y="106"/>
                  </a:cubicBezTo>
                  <a:cubicBezTo>
                    <a:pt x="64" y="105"/>
                    <a:pt x="64" y="105"/>
                    <a:pt x="64" y="104"/>
                  </a:cubicBezTo>
                  <a:cubicBezTo>
                    <a:pt x="64" y="104"/>
                    <a:pt x="64" y="101"/>
                    <a:pt x="64" y="99"/>
                  </a:cubicBezTo>
                  <a:cubicBezTo>
                    <a:pt x="65" y="99"/>
                    <a:pt x="66" y="98"/>
                    <a:pt x="67" y="98"/>
                  </a:cubicBezTo>
                  <a:cubicBezTo>
                    <a:pt x="68" y="100"/>
                    <a:pt x="69" y="102"/>
                    <a:pt x="70" y="103"/>
                  </a:cubicBezTo>
                  <a:cubicBezTo>
                    <a:pt x="70" y="103"/>
                    <a:pt x="70" y="104"/>
                    <a:pt x="71" y="104"/>
                  </a:cubicBezTo>
                  <a:cubicBezTo>
                    <a:pt x="71" y="104"/>
                    <a:pt x="71" y="104"/>
                    <a:pt x="72" y="104"/>
                  </a:cubicBezTo>
                  <a:cubicBezTo>
                    <a:pt x="72" y="104"/>
                    <a:pt x="73" y="103"/>
                    <a:pt x="73" y="103"/>
                  </a:cubicBezTo>
                  <a:cubicBezTo>
                    <a:pt x="73" y="102"/>
                    <a:pt x="73" y="102"/>
                    <a:pt x="73" y="102"/>
                  </a:cubicBezTo>
                  <a:cubicBezTo>
                    <a:pt x="73" y="101"/>
                    <a:pt x="72" y="99"/>
                    <a:pt x="72" y="96"/>
                  </a:cubicBezTo>
                  <a:cubicBezTo>
                    <a:pt x="73" y="96"/>
                    <a:pt x="74" y="95"/>
                    <a:pt x="75" y="95"/>
                  </a:cubicBezTo>
                  <a:cubicBezTo>
                    <a:pt x="76" y="97"/>
                    <a:pt x="78" y="99"/>
                    <a:pt x="78" y="99"/>
                  </a:cubicBezTo>
                  <a:cubicBezTo>
                    <a:pt x="78" y="100"/>
                    <a:pt x="79" y="100"/>
                    <a:pt x="79" y="100"/>
                  </a:cubicBezTo>
                  <a:cubicBezTo>
                    <a:pt x="80" y="100"/>
                    <a:pt x="80" y="100"/>
                    <a:pt x="80" y="100"/>
                  </a:cubicBezTo>
                  <a:cubicBezTo>
                    <a:pt x="81" y="100"/>
                    <a:pt x="81" y="99"/>
                    <a:pt x="81" y="99"/>
                  </a:cubicBezTo>
                  <a:cubicBezTo>
                    <a:pt x="81" y="98"/>
                    <a:pt x="81" y="98"/>
                    <a:pt x="81" y="97"/>
                  </a:cubicBezTo>
                  <a:cubicBezTo>
                    <a:pt x="81" y="97"/>
                    <a:pt x="80" y="95"/>
                    <a:pt x="79" y="92"/>
                  </a:cubicBezTo>
                  <a:cubicBezTo>
                    <a:pt x="80" y="92"/>
                    <a:pt x="81" y="91"/>
                    <a:pt x="82" y="91"/>
                  </a:cubicBezTo>
                  <a:cubicBezTo>
                    <a:pt x="83" y="92"/>
                    <a:pt x="85" y="94"/>
                    <a:pt x="86" y="94"/>
                  </a:cubicBezTo>
                  <a:cubicBezTo>
                    <a:pt x="86" y="95"/>
                    <a:pt x="86" y="95"/>
                    <a:pt x="87" y="95"/>
                  </a:cubicBezTo>
                  <a:cubicBezTo>
                    <a:pt x="87" y="95"/>
                    <a:pt x="88" y="95"/>
                    <a:pt x="88" y="94"/>
                  </a:cubicBezTo>
                  <a:cubicBezTo>
                    <a:pt x="88" y="94"/>
                    <a:pt x="89" y="94"/>
                    <a:pt x="89" y="93"/>
                  </a:cubicBezTo>
                  <a:cubicBezTo>
                    <a:pt x="89" y="93"/>
                    <a:pt x="89" y="92"/>
                    <a:pt x="88" y="92"/>
                  </a:cubicBezTo>
                  <a:cubicBezTo>
                    <a:pt x="88" y="92"/>
                    <a:pt x="87" y="89"/>
                    <a:pt x="85" y="87"/>
                  </a:cubicBezTo>
                  <a:cubicBezTo>
                    <a:pt x="86" y="87"/>
                    <a:pt x="87" y="86"/>
                    <a:pt x="88" y="85"/>
                  </a:cubicBezTo>
                  <a:cubicBezTo>
                    <a:pt x="90" y="86"/>
                    <a:pt x="92" y="88"/>
                    <a:pt x="92" y="88"/>
                  </a:cubicBezTo>
                  <a:cubicBezTo>
                    <a:pt x="93" y="88"/>
                    <a:pt x="93" y="88"/>
                    <a:pt x="93" y="88"/>
                  </a:cubicBezTo>
                  <a:cubicBezTo>
                    <a:pt x="94" y="88"/>
                    <a:pt x="94" y="88"/>
                    <a:pt x="95" y="88"/>
                  </a:cubicBezTo>
                  <a:cubicBezTo>
                    <a:pt x="95" y="87"/>
                    <a:pt x="95" y="87"/>
                    <a:pt x="95" y="87"/>
                  </a:cubicBezTo>
                  <a:cubicBezTo>
                    <a:pt x="95" y="86"/>
                    <a:pt x="95" y="86"/>
                    <a:pt x="95" y="85"/>
                  </a:cubicBezTo>
                  <a:cubicBezTo>
                    <a:pt x="94" y="85"/>
                    <a:pt x="92" y="83"/>
                    <a:pt x="91" y="82"/>
                  </a:cubicBezTo>
                  <a:cubicBezTo>
                    <a:pt x="91" y="81"/>
                    <a:pt x="92" y="80"/>
                    <a:pt x="93" y="79"/>
                  </a:cubicBezTo>
                  <a:cubicBezTo>
                    <a:pt x="95" y="80"/>
                    <a:pt x="97" y="81"/>
                    <a:pt x="98" y="81"/>
                  </a:cubicBezTo>
                  <a:cubicBezTo>
                    <a:pt x="98" y="81"/>
                    <a:pt x="99" y="81"/>
                    <a:pt x="99" y="81"/>
                  </a:cubicBezTo>
                  <a:cubicBezTo>
                    <a:pt x="99" y="81"/>
                    <a:pt x="100" y="81"/>
                    <a:pt x="100" y="80"/>
                  </a:cubicBezTo>
                  <a:cubicBezTo>
                    <a:pt x="100" y="80"/>
                    <a:pt x="100" y="79"/>
                    <a:pt x="100" y="79"/>
                  </a:cubicBezTo>
                  <a:cubicBezTo>
                    <a:pt x="100" y="78"/>
                    <a:pt x="100" y="78"/>
                    <a:pt x="99" y="78"/>
                  </a:cubicBezTo>
                  <a:cubicBezTo>
                    <a:pt x="99" y="77"/>
                    <a:pt x="97" y="76"/>
                    <a:pt x="95" y="75"/>
                  </a:cubicBezTo>
                  <a:cubicBezTo>
                    <a:pt x="96" y="74"/>
                    <a:pt x="96" y="73"/>
                    <a:pt x="96" y="71"/>
                  </a:cubicBezTo>
                  <a:cubicBezTo>
                    <a:pt x="99" y="72"/>
                    <a:pt x="101" y="73"/>
                    <a:pt x="102" y="73"/>
                  </a:cubicBezTo>
                  <a:cubicBezTo>
                    <a:pt x="102" y="73"/>
                    <a:pt x="103" y="73"/>
                    <a:pt x="103" y="73"/>
                  </a:cubicBezTo>
                  <a:cubicBezTo>
                    <a:pt x="103" y="72"/>
                    <a:pt x="104" y="72"/>
                    <a:pt x="104" y="72"/>
                  </a:cubicBezTo>
                  <a:cubicBezTo>
                    <a:pt x="104" y="71"/>
                    <a:pt x="104" y="71"/>
                    <a:pt x="104" y="70"/>
                  </a:cubicBezTo>
                  <a:cubicBezTo>
                    <a:pt x="104" y="70"/>
                    <a:pt x="103" y="70"/>
                    <a:pt x="103" y="69"/>
                  </a:cubicBezTo>
                  <a:cubicBezTo>
                    <a:pt x="103" y="69"/>
                    <a:pt x="100" y="68"/>
                    <a:pt x="98" y="67"/>
                  </a:cubicBezTo>
                  <a:cubicBezTo>
                    <a:pt x="98" y="66"/>
                    <a:pt x="99" y="65"/>
                    <a:pt x="99" y="64"/>
                  </a:cubicBezTo>
                  <a:cubicBezTo>
                    <a:pt x="101" y="64"/>
                    <a:pt x="104" y="64"/>
                    <a:pt x="104" y="64"/>
                  </a:cubicBezTo>
                  <a:cubicBezTo>
                    <a:pt x="105" y="64"/>
                    <a:pt x="105" y="64"/>
                    <a:pt x="106" y="64"/>
                  </a:cubicBezTo>
                  <a:cubicBezTo>
                    <a:pt x="106" y="64"/>
                    <a:pt x="106" y="63"/>
                    <a:pt x="106" y="63"/>
                  </a:cubicBezTo>
                  <a:cubicBezTo>
                    <a:pt x="106" y="62"/>
                    <a:pt x="106" y="62"/>
                    <a:pt x="106" y="61"/>
                  </a:cubicBezTo>
                  <a:cubicBezTo>
                    <a:pt x="106" y="61"/>
                    <a:pt x="105" y="61"/>
                    <a:pt x="105" y="61"/>
                  </a:cubicBezTo>
                  <a:cubicBezTo>
                    <a:pt x="105" y="60"/>
                    <a:pt x="102" y="60"/>
                    <a:pt x="100" y="59"/>
                  </a:cubicBezTo>
                  <a:cubicBezTo>
                    <a:pt x="100" y="58"/>
                    <a:pt x="100" y="57"/>
                    <a:pt x="100" y="56"/>
                  </a:cubicBezTo>
                  <a:cubicBezTo>
                    <a:pt x="102" y="56"/>
                    <a:pt x="105" y="55"/>
                    <a:pt x="105" y="55"/>
                  </a:cubicBezTo>
                  <a:close/>
                  <a:moveTo>
                    <a:pt x="54" y="96"/>
                  </a:moveTo>
                  <a:cubicBezTo>
                    <a:pt x="53" y="96"/>
                    <a:pt x="53" y="96"/>
                    <a:pt x="53" y="96"/>
                  </a:cubicBezTo>
                  <a:cubicBezTo>
                    <a:pt x="54" y="96"/>
                    <a:pt x="54" y="96"/>
                    <a:pt x="54" y="96"/>
                  </a:cubicBezTo>
                  <a:cubicBezTo>
                    <a:pt x="54" y="96"/>
                    <a:pt x="54" y="96"/>
                    <a:pt x="54" y="96"/>
                  </a:cubicBezTo>
                  <a:close/>
                  <a:moveTo>
                    <a:pt x="40" y="93"/>
                  </a:moveTo>
                  <a:cubicBezTo>
                    <a:pt x="39" y="93"/>
                    <a:pt x="39" y="93"/>
                    <a:pt x="39" y="93"/>
                  </a:cubicBezTo>
                  <a:cubicBezTo>
                    <a:pt x="39" y="93"/>
                    <a:pt x="39" y="93"/>
                    <a:pt x="39" y="93"/>
                  </a:cubicBezTo>
                  <a:cubicBezTo>
                    <a:pt x="39" y="93"/>
                    <a:pt x="39" y="93"/>
                    <a:pt x="40" y="93"/>
                  </a:cubicBezTo>
                  <a:close/>
                  <a:moveTo>
                    <a:pt x="27" y="86"/>
                  </a:moveTo>
                  <a:cubicBezTo>
                    <a:pt x="27" y="86"/>
                    <a:pt x="26" y="86"/>
                    <a:pt x="26" y="85"/>
                  </a:cubicBezTo>
                  <a:cubicBezTo>
                    <a:pt x="26" y="86"/>
                    <a:pt x="26" y="86"/>
                    <a:pt x="26" y="86"/>
                  </a:cubicBezTo>
                  <a:cubicBezTo>
                    <a:pt x="27" y="86"/>
                    <a:pt x="27" y="86"/>
                    <a:pt x="27" y="86"/>
                  </a:cubicBezTo>
                  <a:close/>
                  <a:moveTo>
                    <a:pt x="17" y="75"/>
                  </a:moveTo>
                  <a:cubicBezTo>
                    <a:pt x="17" y="75"/>
                    <a:pt x="17" y="74"/>
                    <a:pt x="17" y="74"/>
                  </a:cubicBezTo>
                  <a:cubicBezTo>
                    <a:pt x="17" y="74"/>
                    <a:pt x="17" y="74"/>
                    <a:pt x="17" y="75"/>
                  </a:cubicBezTo>
                  <a:cubicBezTo>
                    <a:pt x="17" y="75"/>
                    <a:pt x="17" y="75"/>
                    <a:pt x="17" y="75"/>
                  </a:cubicBezTo>
                  <a:close/>
                </a:path>
              </a:pathLst>
            </a:custGeom>
            <a:solidFill>
              <a:srgbClr val="E3E48D"/>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28" name="Group 29">
              <a:extLst>
                <a:ext uri="{FF2B5EF4-FFF2-40B4-BE49-F238E27FC236}">
                  <a16:creationId xmlns:a16="http://schemas.microsoft.com/office/drawing/2014/main" id="{03A77DD2-8E9B-4610-8541-E65570865617}"/>
                </a:ext>
              </a:extLst>
            </p:cNvPr>
            <p:cNvGrpSpPr>
              <a:grpSpLocks noChangeAspect="1"/>
            </p:cNvGrpSpPr>
            <p:nvPr/>
          </p:nvGrpSpPr>
          <p:grpSpPr bwMode="auto">
            <a:xfrm>
              <a:off x="1238137" y="2571481"/>
              <a:ext cx="195387" cy="196309"/>
              <a:chOff x="2963" y="717"/>
              <a:chExt cx="212" cy="213"/>
            </a:xfrm>
            <a:solidFill>
              <a:schemeClr val="tx1"/>
            </a:solidFill>
          </p:grpSpPr>
          <p:sp>
            <p:nvSpPr>
              <p:cNvPr id="229" name="Freeform 30">
                <a:extLst>
                  <a:ext uri="{FF2B5EF4-FFF2-40B4-BE49-F238E27FC236}">
                    <a16:creationId xmlns:a16="http://schemas.microsoft.com/office/drawing/2014/main" id="{2243E833-AD7F-4054-9B21-9525EF5DC4FB}"/>
                  </a:ext>
                </a:extLst>
              </p:cNvPr>
              <p:cNvSpPr>
                <a:spLocks noEditPoints="1"/>
              </p:cNvSpPr>
              <p:nvPr/>
            </p:nvSpPr>
            <p:spPr bwMode="auto">
              <a:xfrm>
                <a:off x="2963" y="717"/>
                <a:ext cx="212" cy="213"/>
              </a:xfrm>
              <a:custGeom>
                <a:avLst/>
                <a:gdLst>
                  <a:gd name="T0" fmla="*/ 316 w 320"/>
                  <a:gd name="T1" fmla="*/ 126 h 321"/>
                  <a:gd name="T2" fmla="*/ 275 w 320"/>
                  <a:gd name="T3" fmla="*/ 105 h 321"/>
                  <a:gd name="T4" fmla="*/ 289 w 320"/>
                  <a:gd name="T5" fmla="*/ 66 h 321"/>
                  <a:gd name="T6" fmla="*/ 287 w 320"/>
                  <a:gd name="T7" fmla="*/ 63 h 321"/>
                  <a:gd name="T8" fmla="*/ 254 w 320"/>
                  <a:gd name="T9" fmla="*/ 31 h 321"/>
                  <a:gd name="T10" fmla="*/ 215 w 320"/>
                  <a:gd name="T11" fmla="*/ 45 h 321"/>
                  <a:gd name="T12" fmla="*/ 194 w 320"/>
                  <a:gd name="T13" fmla="*/ 4 h 321"/>
                  <a:gd name="T14" fmla="*/ 125 w 320"/>
                  <a:gd name="T15" fmla="*/ 4 h 321"/>
                  <a:gd name="T16" fmla="*/ 105 w 320"/>
                  <a:gd name="T17" fmla="*/ 45 h 321"/>
                  <a:gd name="T18" fmla="*/ 64 w 320"/>
                  <a:gd name="T19" fmla="*/ 32 h 321"/>
                  <a:gd name="T20" fmla="*/ 26 w 320"/>
                  <a:gd name="T21" fmla="*/ 87 h 321"/>
                  <a:gd name="T22" fmla="*/ 14 w 320"/>
                  <a:gd name="T23" fmla="*/ 118 h 321"/>
                  <a:gd name="T24" fmla="*/ 0 w 320"/>
                  <a:gd name="T25" fmla="*/ 147 h 321"/>
                  <a:gd name="T26" fmla="*/ 0 w 320"/>
                  <a:gd name="T27" fmla="*/ 156 h 321"/>
                  <a:gd name="T28" fmla="*/ 0 w 320"/>
                  <a:gd name="T29" fmla="*/ 160 h 321"/>
                  <a:gd name="T30" fmla="*/ 3 w 320"/>
                  <a:gd name="T31" fmla="*/ 195 h 321"/>
                  <a:gd name="T32" fmla="*/ 44 w 320"/>
                  <a:gd name="T33" fmla="*/ 215 h 321"/>
                  <a:gd name="T34" fmla="*/ 31 w 320"/>
                  <a:gd name="T35" fmla="*/ 254 h 321"/>
                  <a:gd name="T36" fmla="*/ 33 w 320"/>
                  <a:gd name="T37" fmla="*/ 257 h 321"/>
                  <a:gd name="T38" fmla="*/ 65 w 320"/>
                  <a:gd name="T39" fmla="*/ 289 h 321"/>
                  <a:gd name="T40" fmla="*/ 105 w 320"/>
                  <a:gd name="T41" fmla="*/ 275 h 321"/>
                  <a:gd name="T42" fmla="*/ 125 w 320"/>
                  <a:gd name="T43" fmla="*/ 317 h 321"/>
                  <a:gd name="T44" fmla="*/ 147 w 320"/>
                  <a:gd name="T45" fmla="*/ 321 h 321"/>
                  <a:gd name="T46" fmla="*/ 160 w 320"/>
                  <a:gd name="T47" fmla="*/ 321 h 321"/>
                  <a:gd name="T48" fmla="*/ 168 w 320"/>
                  <a:gd name="T49" fmla="*/ 321 h 321"/>
                  <a:gd name="T50" fmla="*/ 173 w 320"/>
                  <a:gd name="T51" fmla="*/ 321 h 321"/>
                  <a:gd name="T52" fmla="*/ 202 w 320"/>
                  <a:gd name="T53" fmla="*/ 306 h 321"/>
                  <a:gd name="T54" fmla="*/ 233 w 320"/>
                  <a:gd name="T55" fmla="*/ 293 h 321"/>
                  <a:gd name="T56" fmla="*/ 288 w 320"/>
                  <a:gd name="T57" fmla="*/ 256 h 321"/>
                  <a:gd name="T58" fmla="*/ 275 w 320"/>
                  <a:gd name="T59" fmla="*/ 215 h 321"/>
                  <a:gd name="T60" fmla="*/ 316 w 320"/>
                  <a:gd name="T61" fmla="*/ 195 h 321"/>
                  <a:gd name="T62" fmla="*/ 320 w 320"/>
                  <a:gd name="T63" fmla="*/ 147 h 321"/>
                  <a:gd name="T64" fmla="*/ 272 w 320"/>
                  <a:gd name="T65" fmla="*/ 182 h 321"/>
                  <a:gd name="T66" fmla="*/ 255 w 320"/>
                  <a:gd name="T67" fmla="*/ 225 h 321"/>
                  <a:gd name="T68" fmla="*/ 243 w 320"/>
                  <a:gd name="T69" fmla="*/ 271 h 321"/>
                  <a:gd name="T70" fmla="*/ 212 w 320"/>
                  <a:gd name="T71" fmla="*/ 253 h 321"/>
                  <a:gd name="T72" fmla="*/ 181 w 320"/>
                  <a:gd name="T73" fmla="*/ 297 h 321"/>
                  <a:gd name="T74" fmla="*/ 149 w 320"/>
                  <a:gd name="T75" fmla="*/ 299 h 321"/>
                  <a:gd name="T76" fmla="*/ 138 w 320"/>
                  <a:gd name="T77" fmla="*/ 297 h 321"/>
                  <a:gd name="T78" fmla="*/ 108 w 320"/>
                  <a:gd name="T79" fmla="*/ 253 h 321"/>
                  <a:gd name="T80" fmla="*/ 77 w 320"/>
                  <a:gd name="T81" fmla="*/ 271 h 321"/>
                  <a:gd name="T82" fmla="*/ 50 w 320"/>
                  <a:gd name="T83" fmla="*/ 244 h 321"/>
                  <a:gd name="T84" fmla="*/ 48 w 320"/>
                  <a:gd name="T85" fmla="*/ 242 h 321"/>
                  <a:gd name="T86" fmla="*/ 57 w 320"/>
                  <a:gd name="T87" fmla="*/ 189 h 321"/>
                  <a:gd name="T88" fmla="*/ 22 w 320"/>
                  <a:gd name="T89" fmla="*/ 171 h 321"/>
                  <a:gd name="T90" fmla="*/ 23 w 320"/>
                  <a:gd name="T91" fmla="*/ 139 h 321"/>
                  <a:gd name="T92" fmla="*/ 67 w 320"/>
                  <a:gd name="T93" fmla="*/ 108 h 321"/>
                  <a:gd name="T94" fmla="*/ 49 w 320"/>
                  <a:gd name="T95" fmla="*/ 77 h 321"/>
                  <a:gd name="T96" fmla="*/ 95 w 320"/>
                  <a:gd name="T97" fmla="*/ 65 h 321"/>
                  <a:gd name="T98" fmla="*/ 138 w 320"/>
                  <a:gd name="T99" fmla="*/ 47 h 321"/>
                  <a:gd name="T100" fmla="*/ 171 w 320"/>
                  <a:gd name="T101" fmla="*/ 22 h 321"/>
                  <a:gd name="T102" fmla="*/ 189 w 320"/>
                  <a:gd name="T103" fmla="*/ 58 h 321"/>
                  <a:gd name="T104" fmla="*/ 241 w 320"/>
                  <a:gd name="T105" fmla="*/ 48 h 321"/>
                  <a:gd name="T106" fmla="*/ 244 w 320"/>
                  <a:gd name="T107" fmla="*/ 50 h 321"/>
                  <a:gd name="T108" fmla="*/ 270 w 320"/>
                  <a:gd name="T109" fmla="*/ 77 h 321"/>
                  <a:gd name="T110" fmla="*/ 253 w 320"/>
                  <a:gd name="T111" fmla="*/ 108 h 321"/>
                  <a:gd name="T112" fmla="*/ 297 w 320"/>
                  <a:gd name="T113" fmla="*/ 139 h 321"/>
                  <a:gd name="T114" fmla="*/ 298 w 320"/>
                  <a:gd name="T115" fmla="*/ 17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21">
                    <a:moveTo>
                      <a:pt x="320" y="147"/>
                    </a:moveTo>
                    <a:cubicBezTo>
                      <a:pt x="320" y="147"/>
                      <a:pt x="320" y="147"/>
                      <a:pt x="320" y="147"/>
                    </a:cubicBezTo>
                    <a:cubicBezTo>
                      <a:pt x="318" y="140"/>
                      <a:pt x="318" y="133"/>
                      <a:pt x="316" y="126"/>
                    </a:cubicBezTo>
                    <a:cubicBezTo>
                      <a:pt x="315" y="121"/>
                      <a:pt x="310" y="118"/>
                      <a:pt x="305" y="118"/>
                    </a:cubicBezTo>
                    <a:cubicBezTo>
                      <a:pt x="280" y="118"/>
                      <a:pt x="280" y="118"/>
                      <a:pt x="280" y="118"/>
                    </a:cubicBezTo>
                    <a:cubicBezTo>
                      <a:pt x="279" y="113"/>
                      <a:pt x="277" y="109"/>
                      <a:pt x="275" y="105"/>
                    </a:cubicBezTo>
                    <a:cubicBezTo>
                      <a:pt x="293" y="87"/>
                      <a:pt x="293" y="87"/>
                      <a:pt x="293" y="87"/>
                    </a:cubicBezTo>
                    <a:cubicBezTo>
                      <a:pt x="296" y="84"/>
                      <a:pt x="297" y="78"/>
                      <a:pt x="294" y="74"/>
                    </a:cubicBezTo>
                    <a:cubicBezTo>
                      <a:pt x="293" y="71"/>
                      <a:pt x="291" y="68"/>
                      <a:pt x="289" y="66"/>
                    </a:cubicBezTo>
                    <a:cubicBezTo>
                      <a:pt x="289" y="66"/>
                      <a:pt x="289" y="66"/>
                      <a:pt x="289" y="66"/>
                    </a:cubicBezTo>
                    <a:cubicBezTo>
                      <a:pt x="288" y="65"/>
                      <a:pt x="288" y="65"/>
                      <a:pt x="288" y="64"/>
                    </a:cubicBezTo>
                    <a:cubicBezTo>
                      <a:pt x="287" y="64"/>
                      <a:pt x="287" y="63"/>
                      <a:pt x="287" y="63"/>
                    </a:cubicBezTo>
                    <a:cubicBezTo>
                      <a:pt x="278" y="52"/>
                      <a:pt x="268" y="42"/>
                      <a:pt x="257" y="33"/>
                    </a:cubicBezTo>
                    <a:cubicBezTo>
                      <a:pt x="257" y="33"/>
                      <a:pt x="256" y="32"/>
                      <a:pt x="255" y="32"/>
                    </a:cubicBezTo>
                    <a:cubicBezTo>
                      <a:pt x="255" y="32"/>
                      <a:pt x="254" y="31"/>
                      <a:pt x="254" y="31"/>
                    </a:cubicBezTo>
                    <a:cubicBezTo>
                      <a:pt x="251" y="29"/>
                      <a:pt x="249" y="27"/>
                      <a:pt x="246" y="25"/>
                    </a:cubicBezTo>
                    <a:cubicBezTo>
                      <a:pt x="242" y="23"/>
                      <a:pt x="236" y="23"/>
                      <a:pt x="233" y="27"/>
                    </a:cubicBezTo>
                    <a:cubicBezTo>
                      <a:pt x="215" y="45"/>
                      <a:pt x="215" y="45"/>
                      <a:pt x="215" y="45"/>
                    </a:cubicBezTo>
                    <a:cubicBezTo>
                      <a:pt x="211" y="43"/>
                      <a:pt x="207" y="41"/>
                      <a:pt x="202" y="39"/>
                    </a:cubicBezTo>
                    <a:cubicBezTo>
                      <a:pt x="202" y="14"/>
                      <a:pt x="202" y="14"/>
                      <a:pt x="202" y="14"/>
                    </a:cubicBezTo>
                    <a:cubicBezTo>
                      <a:pt x="202" y="9"/>
                      <a:pt x="199" y="5"/>
                      <a:pt x="194" y="4"/>
                    </a:cubicBezTo>
                    <a:cubicBezTo>
                      <a:pt x="187" y="2"/>
                      <a:pt x="180" y="1"/>
                      <a:pt x="172" y="1"/>
                    </a:cubicBezTo>
                    <a:cubicBezTo>
                      <a:pt x="164" y="0"/>
                      <a:pt x="155" y="0"/>
                      <a:pt x="147" y="1"/>
                    </a:cubicBezTo>
                    <a:cubicBezTo>
                      <a:pt x="140" y="1"/>
                      <a:pt x="132" y="2"/>
                      <a:pt x="125" y="4"/>
                    </a:cubicBezTo>
                    <a:cubicBezTo>
                      <a:pt x="120" y="5"/>
                      <a:pt x="117" y="9"/>
                      <a:pt x="117" y="14"/>
                    </a:cubicBezTo>
                    <a:cubicBezTo>
                      <a:pt x="117" y="39"/>
                      <a:pt x="117" y="39"/>
                      <a:pt x="117" y="39"/>
                    </a:cubicBezTo>
                    <a:cubicBezTo>
                      <a:pt x="113" y="41"/>
                      <a:pt x="109" y="43"/>
                      <a:pt x="105" y="45"/>
                    </a:cubicBezTo>
                    <a:cubicBezTo>
                      <a:pt x="87" y="27"/>
                      <a:pt x="87" y="27"/>
                      <a:pt x="87" y="27"/>
                    </a:cubicBezTo>
                    <a:cubicBezTo>
                      <a:pt x="83" y="23"/>
                      <a:pt x="78" y="23"/>
                      <a:pt x="73" y="25"/>
                    </a:cubicBezTo>
                    <a:cubicBezTo>
                      <a:pt x="70" y="27"/>
                      <a:pt x="67" y="30"/>
                      <a:pt x="64" y="32"/>
                    </a:cubicBezTo>
                    <a:cubicBezTo>
                      <a:pt x="52" y="41"/>
                      <a:pt x="41" y="52"/>
                      <a:pt x="32" y="64"/>
                    </a:cubicBezTo>
                    <a:cubicBezTo>
                      <a:pt x="29" y="67"/>
                      <a:pt x="27" y="71"/>
                      <a:pt x="25" y="74"/>
                    </a:cubicBezTo>
                    <a:cubicBezTo>
                      <a:pt x="22" y="78"/>
                      <a:pt x="23" y="84"/>
                      <a:pt x="26" y="87"/>
                    </a:cubicBezTo>
                    <a:cubicBezTo>
                      <a:pt x="44" y="105"/>
                      <a:pt x="44" y="105"/>
                      <a:pt x="44" y="105"/>
                    </a:cubicBezTo>
                    <a:cubicBezTo>
                      <a:pt x="42" y="109"/>
                      <a:pt x="41" y="113"/>
                      <a:pt x="39" y="118"/>
                    </a:cubicBezTo>
                    <a:cubicBezTo>
                      <a:pt x="14" y="118"/>
                      <a:pt x="14" y="118"/>
                      <a:pt x="14" y="118"/>
                    </a:cubicBezTo>
                    <a:cubicBezTo>
                      <a:pt x="9" y="118"/>
                      <a:pt x="4" y="121"/>
                      <a:pt x="3" y="126"/>
                    </a:cubicBezTo>
                    <a:cubicBezTo>
                      <a:pt x="2" y="133"/>
                      <a:pt x="1" y="140"/>
                      <a:pt x="0" y="147"/>
                    </a:cubicBezTo>
                    <a:cubicBezTo>
                      <a:pt x="0" y="147"/>
                      <a:pt x="0" y="147"/>
                      <a:pt x="0" y="147"/>
                    </a:cubicBezTo>
                    <a:cubicBezTo>
                      <a:pt x="0" y="147"/>
                      <a:pt x="0" y="147"/>
                      <a:pt x="0" y="147"/>
                    </a:cubicBezTo>
                    <a:cubicBezTo>
                      <a:pt x="0" y="147"/>
                      <a:pt x="0" y="147"/>
                      <a:pt x="0" y="147"/>
                    </a:cubicBezTo>
                    <a:cubicBezTo>
                      <a:pt x="0" y="150"/>
                      <a:pt x="0" y="153"/>
                      <a:pt x="0" y="156"/>
                    </a:cubicBezTo>
                    <a:cubicBezTo>
                      <a:pt x="0" y="157"/>
                      <a:pt x="0" y="159"/>
                      <a:pt x="0" y="160"/>
                    </a:cubicBezTo>
                    <a:cubicBezTo>
                      <a:pt x="0" y="160"/>
                      <a:pt x="0" y="160"/>
                      <a:pt x="0" y="160"/>
                    </a:cubicBezTo>
                    <a:cubicBezTo>
                      <a:pt x="0" y="160"/>
                      <a:pt x="0" y="160"/>
                      <a:pt x="0" y="160"/>
                    </a:cubicBezTo>
                    <a:cubicBezTo>
                      <a:pt x="0" y="161"/>
                      <a:pt x="0" y="163"/>
                      <a:pt x="0" y="164"/>
                    </a:cubicBezTo>
                    <a:cubicBezTo>
                      <a:pt x="0" y="167"/>
                      <a:pt x="0" y="170"/>
                      <a:pt x="0" y="173"/>
                    </a:cubicBezTo>
                    <a:cubicBezTo>
                      <a:pt x="1" y="180"/>
                      <a:pt x="2" y="188"/>
                      <a:pt x="3" y="195"/>
                    </a:cubicBezTo>
                    <a:cubicBezTo>
                      <a:pt x="4" y="200"/>
                      <a:pt x="9" y="203"/>
                      <a:pt x="14" y="203"/>
                    </a:cubicBezTo>
                    <a:cubicBezTo>
                      <a:pt x="39" y="203"/>
                      <a:pt x="39" y="203"/>
                      <a:pt x="39" y="203"/>
                    </a:cubicBezTo>
                    <a:cubicBezTo>
                      <a:pt x="41" y="207"/>
                      <a:pt x="42" y="211"/>
                      <a:pt x="44" y="215"/>
                    </a:cubicBezTo>
                    <a:cubicBezTo>
                      <a:pt x="26" y="233"/>
                      <a:pt x="26" y="233"/>
                      <a:pt x="26" y="233"/>
                    </a:cubicBezTo>
                    <a:cubicBezTo>
                      <a:pt x="23" y="237"/>
                      <a:pt x="22" y="242"/>
                      <a:pt x="25" y="246"/>
                    </a:cubicBezTo>
                    <a:cubicBezTo>
                      <a:pt x="27" y="249"/>
                      <a:pt x="29" y="252"/>
                      <a:pt x="31" y="254"/>
                    </a:cubicBezTo>
                    <a:cubicBezTo>
                      <a:pt x="31" y="254"/>
                      <a:pt x="31" y="254"/>
                      <a:pt x="31" y="254"/>
                    </a:cubicBezTo>
                    <a:cubicBezTo>
                      <a:pt x="31" y="255"/>
                      <a:pt x="31" y="255"/>
                      <a:pt x="32" y="256"/>
                    </a:cubicBezTo>
                    <a:cubicBezTo>
                      <a:pt x="32" y="256"/>
                      <a:pt x="32" y="257"/>
                      <a:pt x="33" y="257"/>
                    </a:cubicBezTo>
                    <a:cubicBezTo>
                      <a:pt x="41" y="268"/>
                      <a:pt x="51" y="278"/>
                      <a:pt x="62" y="287"/>
                    </a:cubicBezTo>
                    <a:cubicBezTo>
                      <a:pt x="63" y="287"/>
                      <a:pt x="64" y="288"/>
                      <a:pt x="64" y="288"/>
                    </a:cubicBezTo>
                    <a:cubicBezTo>
                      <a:pt x="64" y="288"/>
                      <a:pt x="65" y="289"/>
                      <a:pt x="65" y="289"/>
                    </a:cubicBezTo>
                    <a:cubicBezTo>
                      <a:pt x="68" y="291"/>
                      <a:pt x="71" y="293"/>
                      <a:pt x="73" y="295"/>
                    </a:cubicBezTo>
                    <a:cubicBezTo>
                      <a:pt x="78" y="297"/>
                      <a:pt x="83" y="297"/>
                      <a:pt x="87" y="293"/>
                    </a:cubicBezTo>
                    <a:cubicBezTo>
                      <a:pt x="105" y="275"/>
                      <a:pt x="105" y="275"/>
                      <a:pt x="105" y="275"/>
                    </a:cubicBezTo>
                    <a:cubicBezTo>
                      <a:pt x="109" y="277"/>
                      <a:pt x="113" y="279"/>
                      <a:pt x="117" y="281"/>
                    </a:cubicBezTo>
                    <a:cubicBezTo>
                      <a:pt x="117" y="306"/>
                      <a:pt x="117" y="306"/>
                      <a:pt x="117" y="306"/>
                    </a:cubicBezTo>
                    <a:cubicBezTo>
                      <a:pt x="117" y="311"/>
                      <a:pt x="120" y="316"/>
                      <a:pt x="125" y="317"/>
                    </a:cubicBezTo>
                    <a:cubicBezTo>
                      <a:pt x="132" y="318"/>
                      <a:pt x="139" y="321"/>
                      <a:pt x="147" y="321"/>
                    </a:cubicBezTo>
                    <a:cubicBezTo>
                      <a:pt x="147" y="321"/>
                      <a:pt x="147" y="321"/>
                      <a:pt x="147" y="321"/>
                    </a:cubicBezTo>
                    <a:cubicBezTo>
                      <a:pt x="147" y="321"/>
                      <a:pt x="147" y="321"/>
                      <a:pt x="147" y="321"/>
                    </a:cubicBezTo>
                    <a:cubicBezTo>
                      <a:pt x="147" y="321"/>
                      <a:pt x="147" y="321"/>
                      <a:pt x="147" y="321"/>
                    </a:cubicBezTo>
                    <a:cubicBezTo>
                      <a:pt x="149" y="321"/>
                      <a:pt x="151" y="321"/>
                      <a:pt x="153" y="321"/>
                    </a:cubicBezTo>
                    <a:cubicBezTo>
                      <a:pt x="155" y="321"/>
                      <a:pt x="157" y="321"/>
                      <a:pt x="160" y="321"/>
                    </a:cubicBezTo>
                    <a:cubicBezTo>
                      <a:pt x="160" y="321"/>
                      <a:pt x="160" y="321"/>
                      <a:pt x="160" y="321"/>
                    </a:cubicBezTo>
                    <a:cubicBezTo>
                      <a:pt x="160" y="321"/>
                      <a:pt x="160" y="321"/>
                      <a:pt x="160" y="321"/>
                    </a:cubicBezTo>
                    <a:cubicBezTo>
                      <a:pt x="162" y="321"/>
                      <a:pt x="165" y="321"/>
                      <a:pt x="168" y="321"/>
                    </a:cubicBezTo>
                    <a:cubicBezTo>
                      <a:pt x="169" y="320"/>
                      <a:pt x="171" y="321"/>
                      <a:pt x="172" y="321"/>
                    </a:cubicBezTo>
                    <a:cubicBezTo>
                      <a:pt x="172" y="321"/>
                      <a:pt x="172" y="321"/>
                      <a:pt x="172" y="321"/>
                    </a:cubicBezTo>
                    <a:cubicBezTo>
                      <a:pt x="172" y="321"/>
                      <a:pt x="172" y="321"/>
                      <a:pt x="173" y="321"/>
                    </a:cubicBezTo>
                    <a:cubicBezTo>
                      <a:pt x="173" y="321"/>
                      <a:pt x="173" y="320"/>
                      <a:pt x="173" y="320"/>
                    </a:cubicBezTo>
                    <a:cubicBezTo>
                      <a:pt x="180" y="319"/>
                      <a:pt x="187" y="318"/>
                      <a:pt x="194" y="317"/>
                    </a:cubicBezTo>
                    <a:cubicBezTo>
                      <a:pt x="199" y="315"/>
                      <a:pt x="202" y="311"/>
                      <a:pt x="202" y="306"/>
                    </a:cubicBezTo>
                    <a:cubicBezTo>
                      <a:pt x="202" y="281"/>
                      <a:pt x="202" y="281"/>
                      <a:pt x="202" y="281"/>
                    </a:cubicBezTo>
                    <a:cubicBezTo>
                      <a:pt x="207" y="279"/>
                      <a:pt x="211" y="277"/>
                      <a:pt x="215" y="275"/>
                    </a:cubicBezTo>
                    <a:cubicBezTo>
                      <a:pt x="233" y="293"/>
                      <a:pt x="233" y="293"/>
                      <a:pt x="233" y="293"/>
                    </a:cubicBezTo>
                    <a:cubicBezTo>
                      <a:pt x="236" y="297"/>
                      <a:pt x="242" y="297"/>
                      <a:pt x="246" y="295"/>
                    </a:cubicBezTo>
                    <a:cubicBezTo>
                      <a:pt x="249" y="293"/>
                      <a:pt x="252" y="290"/>
                      <a:pt x="255" y="288"/>
                    </a:cubicBezTo>
                    <a:cubicBezTo>
                      <a:pt x="268" y="279"/>
                      <a:pt x="279" y="268"/>
                      <a:pt x="288" y="256"/>
                    </a:cubicBezTo>
                    <a:cubicBezTo>
                      <a:pt x="290" y="253"/>
                      <a:pt x="292" y="249"/>
                      <a:pt x="294" y="246"/>
                    </a:cubicBezTo>
                    <a:cubicBezTo>
                      <a:pt x="297" y="242"/>
                      <a:pt x="296" y="236"/>
                      <a:pt x="293" y="233"/>
                    </a:cubicBezTo>
                    <a:cubicBezTo>
                      <a:pt x="275" y="215"/>
                      <a:pt x="275" y="215"/>
                      <a:pt x="275" y="215"/>
                    </a:cubicBezTo>
                    <a:cubicBezTo>
                      <a:pt x="277" y="211"/>
                      <a:pt x="279" y="207"/>
                      <a:pt x="280" y="203"/>
                    </a:cubicBezTo>
                    <a:cubicBezTo>
                      <a:pt x="305" y="203"/>
                      <a:pt x="305" y="203"/>
                      <a:pt x="305" y="203"/>
                    </a:cubicBezTo>
                    <a:cubicBezTo>
                      <a:pt x="310" y="203"/>
                      <a:pt x="315" y="200"/>
                      <a:pt x="316" y="195"/>
                    </a:cubicBezTo>
                    <a:cubicBezTo>
                      <a:pt x="317" y="188"/>
                      <a:pt x="318" y="180"/>
                      <a:pt x="319" y="173"/>
                    </a:cubicBezTo>
                    <a:cubicBezTo>
                      <a:pt x="319" y="169"/>
                      <a:pt x="320" y="164"/>
                      <a:pt x="320" y="160"/>
                    </a:cubicBezTo>
                    <a:cubicBezTo>
                      <a:pt x="320" y="156"/>
                      <a:pt x="320" y="152"/>
                      <a:pt x="320" y="147"/>
                    </a:cubicBezTo>
                    <a:close/>
                    <a:moveTo>
                      <a:pt x="298" y="171"/>
                    </a:moveTo>
                    <a:cubicBezTo>
                      <a:pt x="297" y="175"/>
                      <a:pt x="297" y="178"/>
                      <a:pt x="297" y="182"/>
                    </a:cubicBezTo>
                    <a:cubicBezTo>
                      <a:pt x="272" y="182"/>
                      <a:pt x="272" y="182"/>
                      <a:pt x="272" y="182"/>
                    </a:cubicBezTo>
                    <a:cubicBezTo>
                      <a:pt x="268" y="182"/>
                      <a:pt x="263" y="185"/>
                      <a:pt x="262" y="189"/>
                    </a:cubicBezTo>
                    <a:cubicBezTo>
                      <a:pt x="260" y="197"/>
                      <a:pt x="257" y="205"/>
                      <a:pt x="253" y="212"/>
                    </a:cubicBezTo>
                    <a:cubicBezTo>
                      <a:pt x="250" y="216"/>
                      <a:pt x="251" y="221"/>
                      <a:pt x="255" y="225"/>
                    </a:cubicBezTo>
                    <a:cubicBezTo>
                      <a:pt x="272" y="242"/>
                      <a:pt x="272" y="242"/>
                      <a:pt x="272" y="242"/>
                    </a:cubicBezTo>
                    <a:cubicBezTo>
                      <a:pt x="271" y="242"/>
                      <a:pt x="271" y="243"/>
                      <a:pt x="271" y="243"/>
                    </a:cubicBezTo>
                    <a:cubicBezTo>
                      <a:pt x="263" y="254"/>
                      <a:pt x="253" y="263"/>
                      <a:pt x="243" y="271"/>
                    </a:cubicBezTo>
                    <a:cubicBezTo>
                      <a:pt x="242" y="271"/>
                      <a:pt x="242" y="272"/>
                      <a:pt x="241" y="272"/>
                    </a:cubicBezTo>
                    <a:cubicBezTo>
                      <a:pt x="224" y="255"/>
                      <a:pt x="224" y="255"/>
                      <a:pt x="224" y="255"/>
                    </a:cubicBezTo>
                    <a:cubicBezTo>
                      <a:pt x="221" y="251"/>
                      <a:pt x="216" y="251"/>
                      <a:pt x="212" y="253"/>
                    </a:cubicBezTo>
                    <a:cubicBezTo>
                      <a:pt x="204" y="257"/>
                      <a:pt x="197" y="260"/>
                      <a:pt x="189" y="262"/>
                    </a:cubicBezTo>
                    <a:cubicBezTo>
                      <a:pt x="184" y="264"/>
                      <a:pt x="181" y="268"/>
                      <a:pt x="181" y="273"/>
                    </a:cubicBezTo>
                    <a:cubicBezTo>
                      <a:pt x="181" y="297"/>
                      <a:pt x="181" y="297"/>
                      <a:pt x="181" y="297"/>
                    </a:cubicBezTo>
                    <a:cubicBezTo>
                      <a:pt x="178" y="297"/>
                      <a:pt x="174" y="298"/>
                      <a:pt x="171" y="299"/>
                    </a:cubicBezTo>
                    <a:cubicBezTo>
                      <a:pt x="163" y="299"/>
                      <a:pt x="156" y="299"/>
                      <a:pt x="149" y="299"/>
                    </a:cubicBezTo>
                    <a:cubicBezTo>
                      <a:pt x="149" y="299"/>
                      <a:pt x="149" y="299"/>
                      <a:pt x="149" y="299"/>
                    </a:cubicBezTo>
                    <a:cubicBezTo>
                      <a:pt x="149" y="299"/>
                      <a:pt x="149" y="299"/>
                      <a:pt x="149" y="299"/>
                    </a:cubicBezTo>
                    <a:cubicBezTo>
                      <a:pt x="149" y="299"/>
                      <a:pt x="149" y="299"/>
                      <a:pt x="149" y="299"/>
                    </a:cubicBezTo>
                    <a:cubicBezTo>
                      <a:pt x="145" y="299"/>
                      <a:pt x="142" y="297"/>
                      <a:pt x="138" y="297"/>
                    </a:cubicBezTo>
                    <a:cubicBezTo>
                      <a:pt x="138" y="273"/>
                      <a:pt x="138" y="273"/>
                      <a:pt x="138" y="273"/>
                    </a:cubicBezTo>
                    <a:cubicBezTo>
                      <a:pt x="138" y="268"/>
                      <a:pt x="135" y="264"/>
                      <a:pt x="131" y="262"/>
                    </a:cubicBezTo>
                    <a:cubicBezTo>
                      <a:pt x="123" y="260"/>
                      <a:pt x="115" y="257"/>
                      <a:pt x="108" y="253"/>
                    </a:cubicBezTo>
                    <a:cubicBezTo>
                      <a:pt x="104" y="251"/>
                      <a:pt x="98" y="251"/>
                      <a:pt x="95" y="255"/>
                    </a:cubicBezTo>
                    <a:cubicBezTo>
                      <a:pt x="78" y="272"/>
                      <a:pt x="78" y="272"/>
                      <a:pt x="78" y="272"/>
                    </a:cubicBezTo>
                    <a:cubicBezTo>
                      <a:pt x="77" y="271"/>
                      <a:pt x="77" y="271"/>
                      <a:pt x="77" y="271"/>
                    </a:cubicBezTo>
                    <a:cubicBezTo>
                      <a:pt x="77" y="271"/>
                      <a:pt x="76" y="270"/>
                      <a:pt x="76" y="270"/>
                    </a:cubicBezTo>
                    <a:cubicBezTo>
                      <a:pt x="76" y="270"/>
                      <a:pt x="76" y="270"/>
                      <a:pt x="76" y="270"/>
                    </a:cubicBezTo>
                    <a:cubicBezTo>
                      <a:pt x="66" y="262"/>
                      <a:pt x="57" y="254"/>
                      <a:pt x="50" y="244"/>
                    </a:cubicBezTo>
                    <a:cubicBezTo>
                      <a:pt x="50" y="244"/>
                      <a:pt x="49" y="244"/>
                      <a:pt x="49" y="244"/>
                    </a:cubicBezTo>
                    <a:cubicBezTo>
                      <a:pt x="49" y="243"/>
                      <a:pt x="49" y="243"/>
                      <a:pt x="49" y="243"/>
                    </a:cubicBezTo>
                    <a:cubicBezTo>
                      <a:pt x="48" y="242"/>
                      <a:pt x="48" y="242"/>
                      <a:pt x="48" y="242"/>
                    </a:cubicBezTo>
                    <a:cubicBezTo>
                      <a:pt x="65" y="225"/>
                      <a:pt x="65" y="225"/>
                      <a:pt x="65" y="225"/>
                    </a:cubicBezTo>
                    <a:cubicBezTo>
                      <a:pt x="68" y="221"/>
                      <a:pt x="69" y="216"/>
                      <a:pt x="67" y="212"/>
                    </a:cubicBezTo>
                    <a:cubicBezTo>
                      <a:pt x="63" y="205"/>
                      <a:pt x="59" y="197"/>
                      <a:pt x="57" y="189"/>
                    </a:cubicBezTo>
                    <a:cubicBezTo>
                      <a:pt x="56" y="185"/>
                      <a:pt x="52" y="182"/>
                      <a:pt x="47" y="182"/>
                    </a:cubicBezTo>
                    <a:cubicBezTo>
                      <a:pt x="23" y="182"/>
                      <a:pt x="23" y="182"/>
                      <a:pt x="23" y="182"/>
                    </a:cubicBezTo>
                    <a:cubicBezTo>
                      <a:pt x="22" y="178"/>
                      <a:pt x="22" y="175"/>
                      <a:pt x="22" y="171"/>
                    </a:cubicBezTo>
                    <a:cubicBezTo>
                      <a:pt x="21" y="168"/>
                      <a:pt x="21" y="164"/>
                      <a:pt x="21" y="160"/>
                    </a:cubicBezTo>
                    <a:cubicBezTo>
                      <a:pt x="21" y="156"/>
                      <a:pt x="21" y="153"/>
                      <a:pt x="22" y="149"/>
                    </a:cubicBezTo>
                    <a:cubicBezTo>
                      <a:pt x="22" y="146"/>
                      <a:pt x="22" y="142"/>
                      <a:pt x="23" y="139"/>
                    </a:cubicBezTo>
                    <a:cubicBezTo>
                      <a:pt x="47" y="139"/>
                      <a:pt x="47" y="139"/>
                      <a:pt x="47" y="139"/>
                    </a:cubicBezTo>
                    <a:cubicBezTo>
                      <a:pt x="52" y="139"/>
                      <a:pt x="56" y="136"/>
                      <a:pt x="57" y="131"/>
                    </a:cubicBezTo>
                    <a:cubicBezTo>
                      <a:pt x="59" y="123"/>
                      <a:pt x="63" y="115"/>
                      <a:pt x="67" y="108"/>
                    </a:cubicBezTo>
                    <a:cubicBezTo>
                      <a:pt x="69" y="104"/>
                      <a:pt x="68" y="99"/>
                      <a:pt x="65" y="95"/>
                    </a:cubicBezTo>
                    <a:cubicBezTo>
                      <a:pt x="48" y="78"/>
                      <a:pt x="48" y="78"/>
                      <a:pt x="48" y="78"/>
                    </a:cubicBezTo>
                    <a:cubicBezTo>
                      <a:pt x="48" y="78"/>
                      <a:pt x="48" y="78"/>
                      <a:pt x="49" y="77"/>
                    </a:cubicBezTo>
                    <a:cubicBezTo>
                      <a:pt x="57" y="66"/>
                      <a:pt x="66" y="57"/>
                      <a:pt x="77" y="49"/>
                    </a:cubicBezTo>
                    <a:cubicBezTo>
                      <a:pt x="77" y="49"/>
                      <a:pt x="78" y="48"/>
                      <a:pt x="78" y="48"/>
                    </a:cubicBezTo>
                    <a:cubicBezTo>
                      <a:pt x="95" y="65"/>
                      <a:pt x="95" y="65"/>
                      <a:pt x="95" y="65"/>
                    </a:cubicBezTo>
                    <a:cubicBezTo>
                      <a:pt x="98" y="69"/>
                      <a:pt x="104" y="69"/>
                      <a:pt x="108" y="67"/>
                    </a:cubicBezTo>
                    <a:cubicBezTo>
                      <a:pt x="115" y="63"/>
                      <a:pt x="123" y="60"/>
                      <a:pt x="131" y="58"/>
                    </a:cubicBezTo>
                    <a:cubicBezTo>
                      <a:pt x="135" y="56"/>
                      <a:pt x="138" y="52"/>
                      <a:pt x="138" y="47"/>
                    </a:cubicBezTo>
                    <a:cubicBezTo>
                      <a:pt x="138" y="23"/>
                      <a:pt x="138" y="23"/>
                      <a:pt x="138" y="23"/>
                    </a:cubicBezTo>
                    <a:cubicBezTo>
                      <a:pt x="142" y="23"/>
                      <a:pt x="145" y="22"/>
                      <a:pt x="149" y="22"/>
                    </a:cubicBezTo>
                    <a:cubicBezTo>
                      <a:pt x="156" y="21"/>
                      <a:pt x="163" y="21"/>
                      <a:pt x="171" y="22"/>
                    </a:cubicBezTo>
                    <a:cubicBezTo>
                      <a:pt x="174" y="22"/>
                      <a:pt x="178" y="23"/>
                      <a:pt x="181" y="23"/>
                    </a:cubicBezTo>
                    <a:cubicBezTo>
                      <a:pt x="181" y="47"/>
                      <a:pt x="181" y="47"/>
                      <a:pt x="181" y="47"/>
                    </a:cubicBezTo>
                    <a:cubicBezTo>
                      <a:pt x="181" y="52"/>
                      <a:pt x="184" y="56"/>
                      <a:pt x="189" y="58"/>
                    </a:cubicBezTo>
                    <a:cubicBezTo>
                      <a:pt x="197" y="60"/>
                      <a:pt x="204" y="63"/>
                      <a:pt x="212" y="67"/>
                    </a:cubicBezTo>
                    <a:cubicBezTo>
                      <a:pt x="216" y="69"/>
                      <a:pt x="221" y="69"/>
                      <a:pt x="224" y="65"/>
                    </a:cubicBezTo>
                    <a:cubicBezTo>
                      <a:pt x="241" y="48"/>
                      <a:pt x="241" y="48"/>
                      <a:pt x="241" y="48"/>
                    </a:cubicBezTo>
                    <a:cubicBezTo>
                      <a:pt x="242" y="49"/>
                      <a:pt x="242" y="49"/>
                      <a:pt x="242" y="49"/>
                    </a:cubicBezTo>
                    <a:cubicBezTo>
                      <a:pt x="243" y="49"/>
                      <a:pt x="243" y="50"/>
                      <a:pt x="243" y="50"/>
                    </a:cubicBezTo>
                    <a:cubicBezTo>
                      <a:pt x="244" y="50"/>
                      <a:pt x="244" y="50"/>
                      <a:pt x="244" y="50"/>
                    </a:cubicBezTo>
                    <a:cubicBezTo>
                      <a:pt x="253" y="58"/>
                      <a:pt x="262" y="66"/>
                      <a:pt x="270" y="76"/>
                    </a:cubicBezTo>
                    <a:cubicBezTo>
                      <a:pt x="270" y="76"/>
                      <a:pt x="270" y="76"/>
                      <a:pt x="270" y="76"/>
                    </a:cubicBezTo>
                    <a:cubicBezTo>
                      <a:pt x="270" y="77"/>
                      <a:pt x="270" y="77"/>
                      <a:pt x="270" y="77"/>
                    </a:cubicBezTo>
                    <a:cubicBezTo>
                      <a:pt x="271" y="78"/>
                      <a:pt x="271" y="78"/>
                      <a:pt x="271" y="78"/>
                    </a:cubicBezTo>
                    <a:cubicBezTo>
                      <a:pt x="255" y="95"/>
                      <a:pt x="255" y="95"/>
                      <a:pt x="255" y="95"/>
                    </a:cubicBezTo>
                    <a:cubicBezTo>
                      <a:pt x="251" y="99"/>
                      <a:pt x="250" y="104"/>
                      <a:pt x="253" y="108"/>
                    </a:cubicBezTo>
                    <a:cubicBezTo>
                      <a:pt x="257" y="115"/>
                      <a:pt x="260" y="123"/>
                      <a:pt x="262" y="131"/>
                    </a:cubicBezTo>
                    <a:cubicBezTo>
                      <a:pt x="263" y="136"/>
                      <a:pt x="268" y="139"/>
                      <a:pt x="272" y="139"/>
                    </a:cubicBezTo>
                    <a:cubicBezTo>
                      <a:pt x="297" y="139"/>
                      <a:pt x="297" y="139"/>
                      <a:pt x="297" y="139"/>
                    </a:cubicBezTo>
                    <a:cubicBezTo>
                      <a:pt x="297" y="142"/>
                      <a:pt x="297" y="146"/>
                      <a:pt x="298" y="149"/>
                    </a:cubicBezTo>
                    <a:cubicBezTo>
                      <a:pt x="298" y="153"/>
                      <a:pt x="298" y="157"/>
                      <a:pt x="298" y="160"/>
                    </a:cubicBezTo>
                    <a:cubicBezTo>
                      <a:pt x="298" y="164"/>
                      <a:pt x="298" y="168"/>
                      <a:pt x="298" y="1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30" name="Freeform 31">
                <a:extLst>
                  <a:ext uri="{FF2B5EF4-FFF2-40B4-BE49-F238E27FC236}">
                    <a16:creationId xmlns:a16="http://schemas.microsoft.com/office/drawing/2014/main" id="{B3C66D14-6F50-4AA5-9C34-F0E72208182B}"/>
                  </a:ext>
                </a:extLst>
              </p:cNvPr>
              <p:cNvSpPr>
                <a:spLocks noEditPoints="1"/>
              </p:cNvSpPr>
              <p:nvPr/>
            </p:nvSpPr>
            <p:spPr bwMode="auto">
              <a:xfrm>
                <a:off x="3026" y="781"/>
                <a:ext cx="85" cy="85"/>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07 h 128"/>
                  <a:gd name="T12" fmla="*/ 21 w 128"/>
                  <a:gd name="T13" fmla="*/ 64 h 128"/>
                  <a:gd name="T14" fmla="*/ 64 w 128"/>
                  <a:gd name="T15" fmla="*/ 21 h 128"/>
                  <a:gd name="T16" fmla="*/ 106 w 128"/>
                  <a:gd name="T17" fmla="*/ 64 h 128"/>
                  <a:gd name="T18" fmla="*/ 64 w 128"/>
                  <a:gd name="T19"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0"/>
                    </a:moveTo>
                    <a:cubicBezTo>
                      <a:pt x="28" y="0"/>
                      <a:pt x="0" y="29"/>
                      <a:pt x="0" y="64"/>
                    </a:cubicBezTo>
                    <a:cubicBezTo>
                      <a:pt x="0" y="99"/>
                      <a:pt x="28" y="128"/>
                      <a:pt x="64" y="128"/>
                    </a:cubicBezTo>
                    <a:cubicBezTo>
                      <a:pt x="99" y="128"/>
                      <a:pt x="128" y="99"/>
                      <a:pt x="128" y="64"/>
                    </a:cubicBezTo>
                    <a:cubicBezTo>
                      <a:pt x="128" y="29"/>
                      <a:pt x="99" y="0"/>
                      <a:pt x="64" y="0"/>
                    </a:cubicBezTo>
                    <a:close/>
                    <a:moveTo>
                      <a:pt x="64" y="107"/>
                    </a:moveTo>
                    <a:cubicBezTo>
                      <a:pt x="40" y="107"/>
                      <a:pt x="21" y="88"/>
                      <a:pt x="21" y="64"/>
                    </a:cubicBezTo>
                    <a:cubicBezTo>
                      <a:pt x="21" y="40"/>
                      <a:pt x="40" y="21"/>
                      <a:pt x="64" y="21"/>
                    </a:cubicBezTo>
                    <a:cubicBezTo>
                      <a:pt x="87" y="21"/>
                      <a:pt x="106" y="40"/>
                      <a:pt x="106" y="64"/>
                    </a:cubicBezTo>
                    <a:cubicBezTo>
                      <a:pt x="106" y="88"/>
                      <a:pt x="87" y="107"/>
                      <a:pt x="64" y="10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231" name="Group 230">
            <a:extLst>
              <a:ext uri="{FF2B5EF4-FFF2-40B4-BE49-F238E27FC236}">
                <a16:creationId xmlns:a16="http://schemas.microsoft.com/office/drawing/2014/main" id="{7B28FCED-F872-4A83-ADCE-DE58E050DDB0}"/>
              </a:ext>
            </a:extLst>
          </p:cNvPr>
          <p:cNvGrpSpPr/>
          <p:nvPr/>
        </p:nvGrpSpPr>
        <p:grpSpPr>
          <a:xfrm>
            <a:off x="3537268" y="5159027"/>
            <a:ext cx="638312" cy="639327"/>
            <a:chOff x="624485" y="2822909"/>
            <a:chExt cx="824009" cy="825319"/>
          </a:xfrm>
        </p:grpSpPr>
        <p:sp>
          <p:nvSpPr>
            <p:cNvPr id="232" name="Freeform 15">
              <a:extLst>
                <a:ext uri="{FF2B5EF4-FFF2-40B4-BE49-F238E27FC236}">
                  <a16:creationId xmlns:a16="http://schemas.microsoft.com/office/drawing/2014/main" id="{5D6B47A5-8D65-4583-82D1-FB6151920DD3}"/>
                </a:ext>
              </a:extLst>
            </p:cNvPr>
            <p:cNvSpPr>
              <a:spLocks noEditPoints="1"/>
            </p:cNvSpPr>
            <p:nvPr/>
          </p:nvSpPr>
          <p:spPr bwMode="auto">
            <a:xfrm>
              <a:off x="624485" y="2822909"/>
              <a:ext cx="824009" cy="825319"/>
            </a:xfrm>
            <a:custGeom>
              <a:avLst/>
              <a:gdLst>
                <a:gd name="T0" fmla="*/ 222 w 282"/>
                <a:gd name="T1" fmla="*/ 257 h 283"/>
                <a:gd name="T2" fmla="*/ 221 w 282"/>
                <a:gd name="T3" fmla="*/ 245 h 283"/>
                <a:gd name="T4" fmla="*/ 205 w 282"/>
                <a:gd name="T5" fmla="*/ 209 h 283"/>
                <a:gd name="T6" fmla="*/ 224 w 282"/>
                <a:gd name="T7" fmla="*/ 184 h 283"/>
                <a:gd name="T8" fmla="*/ 262 w 282"/>
                <a:gd name="T9" fmla="*/ 190 h 283"/>
                <a:gd name="T10" fmla="*/ 274 w 282"/>
                <a:gd name="T11" fmla="*/ 187 h 283"/>
                <a:gd name="T12" fmla="*/ 281 w 282"/>
                <a:gd name="T13" fmla="*/ 177 h 283"/>
                <a:gd name="T14" fmla="*/ 280 w 282"/>
                <a:gd name="T15" fmla="*/ 165 h 283"/>
                <a:gd name="T16" fmla="*/ 271 w 282"/>
                <a:gd name="T17" fmla="*/ 157 h 283"/>
                <a:gd name="T18" fmla="*/ 234 w 282"/>
                <a:gd name="T19" fmla="*/ 144 h 283"/>
                <a:gd name="T20" fmla="*/ 230 w 282"/>
                <a:gd name="T21" fmla="*/ 113 h 283"/>
                <a:gd name="T22" fmla="*/ 261 w 282"/>
                <a:gd name="T23" fmla="*/ 90 h 283"/>
                <a:gd name="T24" fmla="*/ 267 w 282"/>
                <a:gd name="T25" fmla="*/ 79 h 283"/>
                <a:gd name="T26" fmla="*/ 265 w 282"/>
                <a:gd name="T27" fmla="*/ 68 h 283"/>
                <a:gd name="T28" fmla="*/ 256 w 282"/>
                <a:gd name="T29" fmla="*/ 60 h 283"/>
                <a:gd name="T30" fmla="*/ 244 w 282"/>
                <a:gd name="T31" fmla="*/ 60 h 283"/>
                <a:gd name="T32" fmla="*/ 209 w 282"/>
                <a:gd name="T33" fmla="*/ 77 h 283"/>
                <a:gd name="T34" fmla="*/ 183 w 282"/>
                <a:gd name="T35" fmla="*/ 58 h 283"/>
                <a:gd name="T36" fmla="*/ 190 w 282"/>
                <a:gd name="T37" fmla="*/ 19 h 283"/>
                <a:gd name="T38" fmla="*/ 187 w 282"/>
                <a:gd name="T39" fmla="*/ 8 h 283"/>
                <a:gd name="T40" fmla="*/ 177 w 282"/>
                <a:gd name="T41" fmla="*/ 1 h 283"/>
                <a:gd name="T42" fmla="*/ 165 w 282"/>
                <a:gd name="T43" fmla="*/ 2 h 283"/>
                <a:gd name="T44" fmla="*/ 157 w 282"/>
                <a:gd name="T45" fmla="*/ 11 h 283"/>
                <a:gd name="T46" fmla="*/ 143 w 282"/>
                <a:gd name="T47" fmla="*/ 48 h 283"/>
                <a:gd name="T48" fmla="*/ 112 w 282"/>
                <a:gd name="T49" fmla="*/ 52 h 283"/>
                <a:gd name="T50" fmla="*/ 89 w 282"/>
                <a:gd name="T51" fmla="*/ 20 h 283"/>
                <a:gd name="T52" fmla="*/ 79 w 282"/>
                <a:gd name="T53" fmla="*/ 14 h 283"/>
                <a:gd name="T54" fmla="*/ 67 w 282"/>
                <a:gd name="T55" fmla="*/ 16 h 283"/>
                <a:gd name="T56" fmla="*/ 60 w 282"/>
                <a:gd name="T57" fmla="*/ 26 h 283"/>
                <a:gd name="T58" fmla="*/ 60 w 282"/>
                <a:gd name="T59" fmla="*/ 38 h 283"/>
                <a:gd name="T60" fmla="*/ 77 w 282"/>
                <a:gd name="T61" fmla="*/ 73 h 283"/>
                <a:gd name="T62" fmla="*/ 58 w 282"/>
                <a:gd name="T63" fmla="*/ 98 h 283"/>
                <a:gd name="T64" fmla="*/ 19 w 282"/>
                <a:gd name="T65" fmla="*/ 92 h 283"/>
                <a:gd name="T66" fmla="*/ 8 w 282"/>
                <a:gd name="T67" fmla="*/ 95 h 283"/>
                <a:gd name="T68" fmla="*/ 1 w 282"/>
                <a:gd name="T69" fmla="*/ 105 h 283"/>
                <a:gd name="T70" fmla="*/ 2 w 282"/>
                <a:gd name="T71" fmla="*/ 117 h 283"/>
                <a:gd name="T72" fmla="*/ 11 w 282"/>
                <a:gd name="T73" fmla="*/ 125 h 283"/>
                <a:gd name="T74" fmla="*/ 48 w 282"/>
                <a:gd name="T75" fmla="*/ 139 h 283"/>
                <a:gd name="T76" fmla="*/ 52 w 282"/>
                <a:gd name="T77" fmla="*/ 170 h 283"/>
                <a:gd name="T78" fmla="*/ 20 w 282"/>
                <a:gd name="T79" fmla="*/ 193 h 283"/>
                <a:gd name="T80" fmla="*/ 14 w 282"/>
                <a:gd name="T81" fmla="*/ 203 h 283"/>
                <a:gd name="T82" fmla="*/ 16 w 282"/>
                <a:gd name="T83" fmla="*/ 215 h 283"/>
                <a:gd name="T84" fmla="*/ 26 w 282"/>
                <a:gd name="T85" fmla="*/ 222 h 283"/>
                <a:gd name="T86" fmla="*/ 37 w 282"/>
                <a:gd name="T87" fmla="*/ 222 h 283"/>
                <a:gd name="T88" fmla="*/ 73 w 282"/>
                <a:gd name="T89" fmla="*/ 205 h 283"/>
                <a:gd name="T90" fmla="*/ 98 w 282"/>
                <a:gd name="T91" fmla="*/ 224 h 283"/>
                <a:gd name="T92" fmla="*/ 92 w 282"/>
                <a:gd name="T93" fmla="*/ 263 h 283"/>
                <a:gd name="T94" fmla="*/ 95 w 282"/>
                <a:gd name="T95" fmla="*/ 275 h 283"/>
                <a:gd name="T96" fmla="*/ 105 w 282"/>
                <a:gd name="T97" fmla="*/ 281 h 283"/>
                <a:gd name="T98" fmla="*/ 117 w 282"/>
                <a:gd name="T99" fmla="*/ 280 h 283"/>
                <a:gd name="T100" fmla="*/ 125 w 282"/>
                <a:gd name="T101" fmla="*/ 271 h 283"/>
                <a:gd name="T102" fmla="*/ 138 w 282"/>
                <a:gd name="T103" fmla="*/ 234 h 283"/>
                <a:gd name="T104" fmla="*/ 169 w 282"/>
                <a:gd name="T105" fmla="*/ 230 h 283"/>
                <a:gd name="T106" fmla="*/ 192 w 282"/>
                <a:gd name="T107" fmla="*/ 262 h 283"/>
                <a:gd name="T108" fmla="*/ 203 w 282"/>
                <a:gd name="T109" fmla="*/ 268 h 283"/>
                <a:gd name="T110" fmla="*/ 214 w 282"/>
                <a:gd name="T111" fmla="*/ 266 h 283"/>
                <a:gd name="T112" fmla="*/ 222 w 282"/>
                <a:gd name="T113" fmla="*/ 257 h 283"/>
                <a:gd name="T114" fmla="*/ 169 w 282"/>
                <a:gd name="T115" fmla="*/ 189 h 283"/>
                <a:gd name="T116" fmla="*/ 93 w 282"/>
                <a:gd name="T117" fmla="*/ 170 h 283"/>
                <a:gd name="T118" fmla="*/ 112 w 282"/>
                <a:gd name="T119" fmla="*/ 93 h 283"/>
                <a:gd name="T120" fmla="*/ 189 w 282"/>
                <a:gd name="T121" fmla="*/ 113 h 283"/>
                <a:gd name="T122" fmla="*/ 169 w 282"/>
                <a:gd name="T123"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83">
                  <a:moveTo>
                    <a:pt x="222" y="257"/>
                  </a:moveTo>
                  <a:cubicBezTo>
                    <a:pt x="223" y="253"/>
                    <a:pt x="223" y="249"/>
                    <a:pt x="221" y="245"/>
                  </a:cubicBezTo>
                  <a:cubicBezTo>
                    <a:pt x="220" y="241"/>
                    <a:pt x="212" y="225"/>
                    <a:pt x="205" y="209"/>
                  </a:cubicBezTo>
                  <a:cubicBezTo>
                    <a:pt x="213" y="202"/>
                    <a:pt x="219" y="193"/>
                    <a:pt x="224" y="184"/>
                  </a:cubicBezTo>
                  <a:cubicBezTo>
                    <a:pt x="241" y="187"/>
                    <a:pt x="258" y="189"/>
                    <a:pt x="262" y="190"/>
                  </a:cubicBezTo>
                  <a:cubicBezTo>
                    <a:pt x="267" y="191"/>
                    <a:pt x="271" y="190"/>
                    <a:pt x="274" y="187"/>
                  </a:cubicBezTo>
                  <a:cubicBezTo>
                    <a:pt x="277" y="185"/>
                    <a:pt x="280" y="181"/>
                    <a:pt x="281" y="177"/>
                  </a:cubicBezTo>
                  <a:cubicBezTo>
                    <a:pt x="282" y="173"/>
                    <a:pt x="281" y="169"/>
                    <a:pt x="280" y="165"/>
                  </a:cubicBezTo>
                  <a:cubicBezTo>
                    <a:pt x="278" y="162"/>
                    <a:pt x="275" y="159"/>
                    <a:pt x="271" y="157"/>
                  </a:cubicBezTo>
                  <a:cubicBezTo>
                    <a:pt x="267" y="156"/>
                    <a:pt x="251" y="150"/>
                    <a:pt x="234" y="144"/>
                  </a:cubicBezTo>
                  <a:cubicBezTo>
                    <a:pt x="234" y="133"/>
                    <a:pt x="233" y="123"/>
                    <a:pt x="230" y="113"/>
                  </a:cubicBezTo>
                  <a:cubicBezTo>
                    <a:pt x="244" y="102"/>
                    <a:pt x="258" y="92"/>
                    <a:pt x="261" y="90"/>
                  </a:cubicBezTo>
                  <a:cubicBezTo>
                    <a:pt x="265" y="87"/>
                    <a:pt x="267" y="83"/>
                    <a:pt x="267" y="79"/>
                  </a:cubicBezTo>
                  <a:cubicBezTo>
                    <a:pt x="268" y="75"/>
                    <a:pt x="267" y="71"/>
                    <a:pt x="265" y="68"/>
                  </a:cubicBezTo>
                  <a:cubicBezTo>
                    <a:pt x="263" y="64"/>
                    <a:pt x="260" y="61"/>
                    <a:pt x="256" y="60"/>
                  </a:cubicBezTo>
                  <a:cubicBezTo>
                    <a:pt x="252" y="59"/>
                    <a:pt x="248" y="59"/>
                    <a:pt x="244" y="60"/>
                  </a:cubicBezTo>
                  <a:cubicBezTo>
                    <a:pt x="240" y="62"/>
                    <a:pt x="225" y="69"/>
                    <a:pt x="209" y="77"/>
                  </a:cubicBezTo>
                  <a:cubicBezTo>
                    <a:pt x="201" y="69"/>
                    <a:pt x="193" y="63"/>
                    <a:pt x="183" y="58"/>
                  </a:cubicBezTo>
                  <a:cubicBezTo>
                    <a:pt x="186" y="40"/>
                    <a:pt x="189" y="23"/>
                    <a:pt x="190" y="19"/>
                  </a:cubicBezTo>
                  <a:cubicBezTo>
                    <a:pt x="190" y="15"/>
                    <a:pt x="189" y="11"/>
                    <a:pt x="187" y="8"/>
                  </a:cubicBezTo>
                  <a:cubicBezTo>
                    <a:pt x="184" y="4"/>
                    <a:pt x="181" y="2"/>
                    <a:pt x="177" y="1"/>
                  </a:cubicBezTo>
                  <a:cubicBezTo>
                    <a:pt x="173" y="0"/>
                    <a:pt x="169" y="0"/>
                    <a:pt x="165" y="2"/>
                  </a:cubicBezTo>
                  <a:cubicBezTo>
                    <a:pt x="161" y="4"/>
                    <a:pt x="158" y="7"/>
                    <a:pt x="157" y="11"/>
                  </a:cubicBezTo>
                  <a:cubicBezTo>
                    <a:pt x="155" y="15"/>
                    <a:pt x="150" y="31"/>
                    <a:pt x="143" y="48"/>
                  </a:cubicBezTo>
                  <a:cubicBezTo>
                    <a:pt x="133" y="48"/>
                    <a:pt x="123" y="49"/>
                    <a:pt x="112" y="52"/>
                  </a:cubicBezTo>
                  <a:cubicBezTo>
                    <a:pt x="102" y="38"/>
                    <a:pt x="92" y="24"/>
                    <a:pt x="89" y="20"/>
                  </a:cubicBezTo>
                  <a:cubicBezTo>
                    <a:pt x="87" y="17"/>
                    <a:pt x="83" y="15"/>
                    <a:pt x="79" y="14"/>
                  </a:cubicBezTo>
                  <a:cubicBezTo>
                    <a:pt x="75" y="14"/>
                    <a:pt x="71" y="14"/>
                    <a:pt x="67" y="16"/>
                  </a:cubicBezTo>
                  <a:cubicBezTo>
                    <a:pt x="64" y="19"/>
                    <a:pt x="61" y="22"/>
                    <a:pt x="60" y="26"/>
                  </a:cubicBezTo>
                  <a:cubicBezTo>
                    <a:pt x="58" y="30"/>
                    <a:pt x="58" y="34"/>
                    <a:pt x="60" y="38"/>
                  </a:cubicBezTo>
                  <a:cubicBezTo>
                    <a:pt x="62" y="41"/>
                    <a:pt x="69" y="57"/>
                    <a:pt x="77" y="73"/>
                  </a:cubicBezTo>
                  <a:cubicBezTo>
                    <a:pt x="69" y="81"/>
                    <a:pt x="63" y="89"/>
                    <a:pt x="58" y="98"/>
                  </a:cubicBezTo>
                  <a:cubicBezTo>
                    <a:pt x="40" y="96"/>
                    <a:pt x="23" y="93"/>
                    <a:pt x="19" y="92"/>
                  </a:cubicBezTo>
                  <a:cubicBezTo>
                    <a:pt x="15" y="92"/>
                    <a:pt x="11" y="93"/>
                    <a:pt x="8" y="95"/>
                  </a:cubicBezTo>
                  <a:cubicBezTo>
                    <a:pt x="4" y="97"/>
                    <a:pt x="2" y="101"/>
                    <a:pt x="1" y="105"/>
                  </a:cubicBezTo>
                  <a:cubicBezTo>
                    <a:pt x="0" y="109"/>
                    <a:pt x="0" y="113"/>
                    <a:pt x="2" y="117"/>
                  </a:cubicBezTo>
                  <a:cubicBezTo>
                    <a:pt x="4" y="121"/>
                    <a:pt x="7" y="124"/>
                    <a:pt x="11" y="125"/>
                  </a:cubicBezTo>
                  <a:cubicBezTo>
                    <a:pt x="15" y="127"/>
                    <a:pt x="31" y="132"/>
                    <a:pt x="48" y="139"/>
                  </a:cubicBezTo>
                  <a:cubicBezTo>
                    <a:pt x="47" y="149"/>
                    <a:pt x="49" y="159"/>
                    <a:pt x="52" y="170"/>
                  </a:cubicBezTo>
                  <a:cubicBezTo>
                    <a:pt x="37" y="180"/>
                    <a:pt x="24" y="190"/>
                    <a:pt x="20" y="193"/>
                  </a:cubicBezTo>
                  <a:cubicBezTo>
                    <a:pt x="17" y="195"/>
                    <a:pt x="15" y="199"/>
                    <a:pt x="14" y="203"/>
                  </a:cubicBezTo>
                  <a:cubicBezTo>
                    <a:pt x="13" y="207"/>
                    <a:pt x="14" y="211"/>
                    <a:pt x="16" y="215"/>
                  </a:cubicBezTo>
                  <a:cubicBezTo>
                    <a:pt x="18" y="219"/>
                    <a:pt x="22" y="221"/>
                    <a:pt x="26" y="222"/>
                  </a:cubicBezTo>
                  <a:cubicBezTo>
                    <a:pt x="29" y="224"/>
                    <a:pt x="34" y="224"/>
                    <a:pt x="37" y="222"/>
                  </a:cubicBezTo>
                  <a:cubicBezTo>
                    <a:pt x="41" y="220"/>
                    <a:pt x="57" y="213"/>
                    <a:pt x="73" y="205"/>
                  </a:cubicBezTo>
                  <a:cubicBezTo>
                    <a:pt x="80" y="213"/>
                    <a:pt x="89" y="219"/>
                    <a:pt x="98" y="224"/>
                  </a:cubicBezTo>
                  <a:cubicBezTo>
                    <a:pt x="95" y="242"/>
                    <a:pt x="93" y="259"/>
                    <a:pt x="92" y="263"/>
                  </a:cubicBezTo>
                  <a:cubicBezTo>
                    <a:pt x="91" y="267"/>
                    <a:pt x="93" y="271"/>
                    <a:pt x="95" y="275"/>
                  </a:cubicBezTo>
                  <a:cubicBezTo>
                    <a:pt x="97" y="278"/>
                    <a:pt x="101" y="280"/>
                    <a:pt x="105" y="281"/>
                  </a:cubicBezTo>
                  <a:cubicBezTo>
                    <a:pt x="109" y="283"/>
                    <a:pt x="113" y="282"/>
                    <a:pt x="117" y="280"/>
                  </a:cubicBezTo>
                  <a:cubicBezTo>
                    <a:pt x="120" y="278"/>
                    <a:pt x="123" y="275"/>
                    <a:pt x="125" y="271"/>
                  </a:cubicBezTo>
                  <a:cubicBezTo>
                    <a:pt x="126" y="268"/>
                    <a:pt x="132" y="251"/>
                    <a:pt x="138" y="234"/>
                  </a:cubicBezTo>
                  <a:cubicBezTo>
                    <a:pt x="148" y="235"/>
                    <a:pt x="159" y="233"/>
                    <a:pt x="169" y="230"/>
                  </a:cubicBezTo>
                  <a:cubicBezTo>
                    <a:pt x="180" y="245"/>
                    <a:pt x="190" y="259"/>
                    <a:pt x="192" y="262"/>
                  </a:cubicBezTo>
                  <a:cubicBezTo>
                    <a:pt x="195" y="265"/>
                    <a:pt x="199" y="267"/>
                    <a:pt x="203" y="268"/>
                  </a:cubicBezTo>
                  <a:cubicBezTo>
                    <a:pt x="206" y="269"/>
                    <a:pt x="211" y="268"/>
                    <a:pt x="214" y="266"/>
                  </a:cubicBezTo>
                  <a:cubicBezTo>
                    <a:pt x="218" y="264"/>
                    <a:pt x="221" y="260"/>
                    <a:pt x="222" y="257"/>
                  </a:cubicBezTo>
                  <a:close/>
                  <a:moveTo>
                    <a:pt x="169" y="189"/>
                  </a:moveTo>
                  <a:cubicBezTo>
                    <a:pt x="143" y="205"/>
                    <a:pt x="108" y="196"/>
                    <a:pt x="93" y="170"/>
                  </a:cubicBezTo>
                  <a:cubicBezTo>
                    <a:pt x="77" y="143"/>
                    <a:pt x="86" y="109"/>
                    <a:pt x="112" y="93"/>
                  </a:cubicBezTo>
                  <a:cubicBezTo>
                    <a:pt x="139" y="78"/>
                    <a:pt x="173" y="86"/>
                    <a:pt x="189" y="113"/>
                  </a:cubicBezTo>
                  <a:cubicBezTo>
                    <a:pt x="204" y="139"/>
                    <a:pt x="195" y="174"/>
                    <a:pt x="169" y="189"/>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33" name="Freeform 678">
              <a:extLst>
                <a:ext uri="{FF2B5EF4-FFF2-40B4-BE49-F238E27FC236}">
                  <a16:creationId xmlns:a16="http://schemas.microsoft.com/office/drawing/2014/main" id="{A9D1C3A8-1FB0-4E47-BEE1-D2360257B1E5}"/>
                </a:ext>
              </a:extLst>
            </p:cNvPr>
            <p:cNvSpPr>
              <a:spLocks noEditPoints="1"/>
            </p:cNvSpPr>
            <p:nvPr/>
          </p:nvSpPr>
          <p:spPr bwMode="auto">
            <a:xfrm>
              <a:off x="957948" y="3171029"/>
              <a:ext cx="157081" cy="163549"/>
            </a:xfrm>
            <a:custGeom>
              <a:avLst/>
              <a:gdLst>
                <a:gd name="T0" fmla="*/ 202 w 256"/>
                <a:gd name="T1" fmla="*/ 53 h 267"/>
                <a:gd name="T2" fmla="*/ 202 w 256"/>
                <a:gd name="T3" fmla="*/ 75 h 267"/>
                <a:gd name="T4" fmla="*/ 192 w 256"/>
                <a:gd name="T5" fmla="*/ 85 h 267"/>
                <a:gd name="T6" fmla="*/ 181 w 256"/>
                <a:gd name="T7" fmla="*/ 75 h 267"/>
                <a:gd name="T8" fmla="*/ 181 w 256"/>
                <a:gd name="T9" fmla="*/ 64 h 267"/>
                <a:gd name="T10" fmla="*/ 106 w 256"/>
                <a:gd name="T11" fmla="*/ 64 h 267"/>
                <a:gd name="T12" fmla="*/ 96 w 256"/>
                <a:gd name="T13" fmla="*/ 53 h 267"/>
                <a:gd name="T14" fmla="*/ 106 w 256"/>
                <a:gd name="T15" fmla="*/ 43 h 267"/>
                <a:gd name="T16" fmla="*/ 192 w 256"/>
                <a:gd name="T17" fmla="*/ 43 h 267"/>
                <a:gd name="T18" fmla="*/ 202 w 256"/>
                <a:gd name="T19" fmla="*/ 53 h 267"/>
                <a:gd name="T20" fmla="*/ 256 w 256"/>
                <a:gd name="T21" fmla="*/ 43 h 267"/>
                <a:gd name="T22" fmla="*/ 256 w 256"/>
                <a:gd name="T23" fmla="*/ 128 h 267"/>
                <a:gd name="T24" fmla="*/ 245 w 256"/>
                <a:gd name="T25" fmla="*/ 139 h 267"/>
                <a:gd name="T26" fmla="*/ 160 w 256"/>
                <a:gd name="T27" fmla="*/ 139 h 267"/>
                <a:gd name="T28" fmla="*/ 160 w 256"/>
                <a:gd name="T29" fmla="*/ 256 h 267"/>
                <a:gd name="T30" fmla="*/ 149 w 256"/>
                <a:gd name="T31" fmla="*/ 267 h 267"/>
                <a:gd name="T32" fmla="*/ 106 w 256"/>
                <a:gd name="T33" fmla="*/ 267 h 267"/>
                <a:gd name="T34" fmla="*/ 96 w 256"/>
                <a:gd name="T35" fmla="*/ 256 h 267"/>
                <a:gd name="T36" fmla="*/ 96 w 256"/>
                <a:gd name="T37" fmla="*/ 139 h 267"/>
                <a:gd name="T38" fmla="*/ 10 w 256"/>
                <a:gd name="T39" fmla="*/ 139 h 267"/>
                <a:gd name="T40" fmla="*/ 0 w 256"/>
                <a:gd name="T41" fmla="*/ 128 h 267"/>
                <a:gd name="T42" fmla="*/ 0 w 256"/>
                <a:gd name="T43" fmla="*/ 43 h 267"/>
                <a:gd name="T44" fmla="*/ 42 w 256"/>
                <a:gd name="T45" fmla="*/ 0 h 267"/>
                <a:gd name="T46" fmla="*/ 213 w 256"/>
                <a:gd name="T47" fmla="*/ 0 h 267"/>
                <a:gd name="T48" fmla="*/ 256 w 256"/>
                <a:gd name="T49" fmla="*/ 43 h 267"/>
                <a:gd name="T50" fmla="*/ 138 w 256"/>
                <a:gd name="T51" fmla="*/ 139 h 267"/>
                <a:gd name="T52" fmla="*/ 117 w 256"/>
                <a:gd name="T53" fmla="*/ 139 h 267"/>
                <a:gd name="T54" fmla="*/ 117 w 256"/>
                <a:gd name="T55" fmla="*/ 245 h 267"/>
                <a:gd name="T56" fmla="*/ 138 w 256"/>
                <a:gd name="T57" fmla="*/ 245 h 267"/>
                <a:gd name="T58" fmla="*/ 138 w 256"/>
                <a:gd name="T59" fmla="*/ 139 h 267"/>
                <a:gd name="T60" fmla="*/ 234 w 256"/>
                <a:gd name="T61" fmla="*/ 43 h 267"/>
                <a:gd name="T62" fmla="*/ 213 w 256"/>
                <a:gd name="T63" fmla="*/ 21 h 267"/>
                <a:gd name="T64" fmla="*/ 42 w 256"/>
                <a:gd name="T65" fmla="*/ 21 h 267"/>
                <a:gd name="T66" fmla="*/ 21 w 256"/>
                <a:gd name="T67" fmla="*/ 43 h 267"/>
                <a:gd name="T68" fmla="*/ 21 w 256"/>
                <a:gd name="T69" fmla="*/ 117 h 267"/>
                <a:gd name="T70" fmla="*/ 234 w 256"/>
                <a:gd name="T71" fmla="*/ 117 h 267"/>
                <a:gd name="T72" fmla="*/ 234 w 256"/>
                <a:gd name="T73" fmla="*/ 4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6" h="267">
                  <a:moveTo>
                    <a:pt x="202" y="53"/>
                  </a:moveTo>
                  <a:cubicBezTo>
                    <a:pt x="202" y="75"/>
                    <a:pt x="202" y="75"/>
                    <a:pt x="202" y="75"/>
                  </a:cubicBezTo>
                  <a:cubicBezTo>
                    <a:pt x="202" y="81"/>
                    <a:pt x="198" y="85"/>
                    <a:pt x="192" y="85"/>
                  </a:cubicBezTo>
                  <a:cubicBezTo>
                    <a:pt x="186" y="85"/>
                    <a:pt x="181" y="81"/>
                    <a:pt x="181" y="75"/>
                  </a:cubicBezTo>
                  <a:cubicBezTo>
                    <a:pt x="181" y="64"/>
                    <a:pt x="181" y="64"/>
                    <a:pt x="181" y="64"/>
                  </a:cubicBezTo>
                  <a:cubicBezTo>
                    <a:pt x="106" y="64"/>
                    <a:pt x="106" y="64"/>
                    <a:pt x="106" y="64"/>
                  </a:cubicBezTo>
                  <a:cubicBezTo>
                    <a:pt x="100" y="64"/>
                    <a:pt x="96" y="59"/>
                    <a:pt x="96" y="53"/>
                  </a:cubicBezTo>
                  <a:cubicBezTo>
                    <a:pt x="96" y="47"/>
                    <a:pt x="100" y="43"/>
                    <a:pt x="106" y="43"/>
                  </a:cubicBezTo>
                  <a:cubicBezTo>
                    <a:pt x="192" y="43"/>
                    <a:pt x="192" y="43"/>
                    <a:pt x="192" y="43"/>
                  </a:cubicBezTo>
                  <a:cubicBezTo>
                    <a:pt x="198" y="43"/>
                    <a:pt x="202" y="47"/>
                    <a:pt x="202" y="53"/>
                  </a:cubicBezTo>
                  <a:close/>
                  <a:moveTo>
                    <a:pt x="256" y="43"/>
                  </a:moveTo>
                  <a:cubicBezTo>
                    <a:pt x="256" y="128"/>
                    <a:pt x="256" y="128"/>
                    <a:pt x="256" y="128"/>
                  </a:cubicBezTo>
                  <a:cubicBezTo>
                    <a:pt x="256" y="134"/>
                    <a:pt x="251" y="139"/>
                    <a:pt x="245" y="139"/>
                  </a:cubicBezTo>
                  <a:cubicBezTo>
                    <a:pt x="160" y="139"/>
                    <a:pt x="160" y="139"/>
                    <a:pt x="160" y="139"/>
                  </a:cubicBezTo>
                  <a:cubicBezTo>
                    <a:pt x="160" y="256"/>
                    <a:pt x="160" y="256"/>
                    <a:pt x="160" y="256"/>
                  </a:cubicBezTo>
                  <a:cubicBezTo>
                    <a:pt x="160" y="262"/>
                    <a:pt x="155" y="267"/>
                    <a:pt x="149" y="267"/>
                  </a:cubicBezTo>
                  <a:cubicBezTo>
                    <a:pt x="106" y="267"/>
                    <a:pt x="106" y="267"/>
                    <a:pt x="106" y="267"/>
                  </a:cubicBezTo>
                  <a:cubicBezTo>
                    <a:pt x="100" y="267"/>
                    <a:pt x="96" y="262"/>
                    <a:pt x="96" y="256"/>
                  </a:cubicBezTo>
                  <a:cubicBezTo>
                    <a:pt x="96" y="139"/>
                    <a:pt x="96" y="139"/>
                    <a:pt x="96" y="139"/>
                  </a:cubicBezTo>
                  <a:cubicBezTo>
                    <a:pt x="10" y="139"/>
                    <a:pt x="10" y="139"/>
                    <a:pt x="10" y="139"/>
                  </a:cubicBezTo>
                  <a:cubicBezTo>
                    <a:pt x="4" y="139"/>
                    <a:pt x="0" y="134"/>
                    <a:pt x="0" y="128"/>
                  </a:cubicBezTo>
                  <a:cubicBezTo>
                    <a:pt x="0" y="43"/>
                    <a:pt x="0" y="43"/>
                    <a:pt x="0" y="43"/>
                  </a:cubicBezTo>
                  <a:cubicBezTo>
                    <a:pt x="0" y="19"/>
                    <a:pt x="19" y="0"/>
                    <a:pt x="42" y="0"/>
                  </a:cubicBezTo>
                  <a:cubicBezTo>
                    <a:pt x="213" y="0"/>
                    <a:pt x="213" y="0"/>
                    <a:pt x="213" y="0"/>
                  </a:cubicBezTo>
                  <a:cubicBezTo>
                    <a:pt x="237" y="0"/>
                    <a:pt x="256" y="19"/>
                    <a:pt x="256" y="43"/>
                  </a:cubicBezTo>
                  <a:close/>
                  <a:moveTo>
                    <a:pt x="138" y="139"/>
                  </a:moveTo>
                  <a:cubicBezTo>
                    <a:pt x="117" y="139"/>
                    <a:pt x="117" y="139"/>
                    <a:pt x="117" y="139"/>
                  </a:cubicBezTo>
                  <a:cubicBezTo>
                    <a:pt x="117" y="245"/>
                    <a:pt x="117" y="245"/>
                    <a:pt x="117" y="245"/>
                  </a:cubicBezTo>
                  <a:cubicBezTo>
                    <a:pt x="138" y="245"/>
                    <a:pt x="138" y="245"/>
                    <a:pt x="138" y="245"/>
                  </a:cubicBezTo>
                  <a:lnTo>
                    <a:pt x="138" y="139"/>
                  </a:lnTo>
                  <a:close/>
                  <a:moveTo>
                    <a:pt x="234" y="43"/>
                  </a:moveTo>
                  <a:cubicBezTo>
                    <a:pt x="234" y="31"/>
                    <a:pt x="225" y="21"/>
                    <a:pt x="213" y="21"/>
                  </a:cubicBezTo>
                  <a:cubicBezTo>
                    <a:pt x="42" y="21"/>
                    <a:pt x="42" y="21"/>
                    <a:pt x="42" y="21"/>
                  </a:cubicBezTo>
                  <a:cubicBezTo>
                    <a:pt x="31" y="21"/>
                    <a:pt x="21" y="31"/>
                    <a:pt x="21" y="43"/>
                  </a:cubicBezTo>
                  <a:cubicBezTo>
                    <a:pt x="21" y="117"/>
                    <a:pt x="21" y="117"/>
                    <a:pt x="21" y="117"/>
                  </a:cubicBezTo>
                  <a:cubicBezTo>
                    <a:pt x="234" y="117"/>
                    <a:pt x="234" y="117"/>
                    <a:pt x="234" y="117"/>
                  </a:cubicBezTo>
                  <a:lnTo>
                    <a:pt x="234" y="43"/>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nvGrpSpPr>
          <p:cNvPr id="234" name="Group 233">
            <a:extLst>
              <a:ext uri="{FF2B5EF4-FFF2-40B4-BE49-F238E27FC236}">
                <a16:creationId xmlns:a16="http://schemas.microsoft.com/office/drawing/2014/main" id="{BFBA4C41-3C3C-462D-8160-86C946315C52}"/>
              </a:ext>
            </a:extLst>
          </p:cNvPr>
          <p:cNvGrpSpPr/>
          <p:nvPr/>
        </p:nvGrpSpPr>
        <p:grpSpPr>
          <a:xfrm>
            <a:off x="10352038" y="2252749"/>
            <a:ext cx="263316" cy="262006"/>
            <a:chOff x="966402" y="2289726"/>
            <a:chExt cx="263316" cy="262006"/>
          </a:xfrm>
        </p:grpSpPr>
        <p:sp>
          <p:nvSpPr>
            <p:cNvPr id="235" name="Freeform 19">
              <a:extLst>
                <a:ext uri="{FF2B5EF4-FFF2-40B4-BE49-F238E27FC236}">
                  <a16:creationId xmlns:a16="http://schemas.microsoft.com/office/drawing/2014/main" id="{EC93EDD9-515B-4735-B010-189E1A3F4B86}"/>
                </a:ext>
              </a:extLst>
            </p:cNvPr>
            <p:cNvSpPr>
              <a:spLocks noEditPoints="1"/>
            </p:cNvSpPr>
            <p:nvPr/>
          </p:nvSpPr>
          <p:spPr bwMode="auto">
            <a:xfrm>
              <a:off x="966402" y="2289726"/>
              <a:ext cx="263316" cy="262006"/>
            </a:xfrm>
            <a:custGeom>
              <a:avLst/>
              <a:gdLst>
                <a:gd name="T0" fmla="*/ 86 w 90"/>
                <a:gd name="T1" fmla="*/ 42 h 90"/>
                <a:gd name="T2" fmla="*/ 86 w 90"/>
                <a:gd name="T3" fmla="*/ 38 h 90"/>
                <a:gd name="T4" fmla="*/ 85 w 90"/>
                <a:gd name="T5" fmla="*/ 34 h 90"/>
                <a:gd name="T6" fmla="*/ 83 w 90"/>
                <a:gd name="T7" fmla="*/ 30 h 90"/>
                <a:gd name="T8" fmla="*/ 81 w 90"/>
                <a:gd name="T9" fmla="*/ 26 h 90"/>
                <a:gd name="T10" fmla="*/ 79 w 90"/>
                <a:gd name="T11" fmla="*/ 22 h 90"/>
                <a:gd name="T12" fmla="*/ 77 w 90"/>
                <a:gd name="T13" fmla="*/ 19 h 90"/>
                <a:gd name="T14" fmla="*/ 74 w 90"/>
                <a:gd name="T15" fmla="*/ 16 h 90"/>
                <a:gd name="T16" fmla="*/ 70 w 90"/>
                <a:gd name="T17" fmla="*/ 13 h 90"/>
                <a:gd name="T18" fmla="*/ 67 w 90"/>
                <a:gd name="T19" fmla="*/ 10 h 90"/>
                <a:gd name="T20" fmla="*/ 63 w 90"/>
                <a:gd name="T21" fmla="*/ 8 h 90"/>
                <a:gd name="T22" fmla="*/ 59 w 90"/>
                <a:gd name="T23" fmla="*/ 6 h 90"/>
                <a:gd name="T24" fmla="*/ 55 w 90"/>
                <a:gd name="T25" fmla="*/ 5 h 90"/>
                <a:gd name="T26" fmla="*/ 51 w 90"/>
                <a:gd name="T27" fmla="*/ 4 h 90"/>
                <a:gd name="T28" fmla="*/ 46 w 90"/>
                <a:gd name="T29" fmla="*/ 4 h 90"/>
                <a:gd name="T30" fmla="*/ 42 w 90"/>
                <a:gd name="T31" fmla="*/ 4 h 90"/>
                <a:gd name="T32" fmla="*/ 38 w 90"/>
                <a:gd name="T33" fmla="*/ 5 h 90"/>
                <a:gd name="T34" fmla="*/ 34 w 90"/>
                <a:gd name="T35" fmla="*/ 6 h 90"/>
                <a:gd name="T36" fmla="*/ 30 w 90"/>
                <a:gd name="T37" fmla="*/ 7 h 90"/>
                <a:gd name="T38" fmla="*/ 26 w 90"/>
                <a:gd name="T39" fmla="*/ 9 h 90"/>
                <a:gd name="T40" fmla="*/ 22 w 90"/>
                <a:gd name="T41" fmla="*/ 11 h 90"/>
                <a:gd name="T42" fmla="*/ 19 w 90"/>
                <a:gd name="T43" fmla="*/ 14 h 90"/>
                <a:gd name="T44" fmla="*/ 15 w 90"/>
                <a:gd name="T45" fmla="*/ 17 h 90"/>
                <a:gd name="T46" fmla="*/ 13 w 90"/>
                <a:gd name="T47" fmla="*/ 20 h 90"/>
                <a:gd name="T48" fmla="*/ 10 w 90"/>
                <a:gd name="T49" fmla="*/ 24 h 90"/>
                <a:gd name="T50" fmla="*/ 8 w 90"/>
                <a:gd name="T51" fmla="*/ 27 h 90"/>
                <a:gd name="T52" fmla="*/ 6 w 90"/>
                <a:gd name="T53" fmla="*/ 31 h 90"/>
                <a:gd name="T54" fmla="*/ 5 w 90"/>
                <a:gd name="T55" fmla="*/ 36 h 90"/>
                <a:gd name="T56" fmla="*/ 4 w 90"/>
                <a:gd name="T57" fmla="*/ 40 h 90"/>
                <a:gd name="T58" fmla="*/ 4 w 90"/>
                <a:gd name="T59" fmla="*/ 44 h 90"/>
                <a:gd name="T60" fmla="*/ 4 w 90"/>
                <a:gd name="T61" fmla="*/ 48 h 90"/>
                <a:gd name="T62" fmla="*/ 5 w 90"/>
                <a:gd name="T63" fmla="*/ 53 h 90"/>
                <a:gd name="T64" fmla="*/ 6 w 90"/>
                <a:gd name="T65" fmla="*/ 57 h 90"/>
                <a:gd name="T66" fmla="*/ 7 w 90"/>
                <a:gd name="T67" fmla="*/ 61 h 90"/>
                <a:gd name="T68" fmla="*/ 9 w 90"/>
                <a:gd name="T69" fmla="*/ 65 h 90"/>
                <a:gd name="T70" fmla="*/ 11 w 90"/>
                <a:gd name="T71" fmla="*/ 69 h 90"/>
                <a:gd name="T72" fmla="*/ 14 w 90"/>
                <a:gd name="T73" fmla="*/ 72 h 90"/>
                <a:gd name="T74" fmla="*/ 17 w 90"/>
                <a:gd name="T75" fmla="*/ 75 h 90"/>
                <a:gd name="T76" fmla="*/ 20 w 90"/>
                <a:gd name="T77" fmla="*/ 78 h 90"/>
                <a:gd name="T78" fmla="*/ 24 w 90"/>
                <a:gd name="T79" fmla="*/ 80 h 90"/>
                <a:gd name="T80" fmla="*/ 27 w 90"/>
                <a:gd name="T81" fmla="*/ 83 h 90"/>
                <a:gd name="T82" fmla="*/ 31 w 90"/>
                <a:gd name="T83" fmla="*/ 84 h 90"/>
                <a:gd name="T84" fmla="*/ 35 w 90"/>
                <a:gd name="T85" fmla="*/ 85 h 90"/>
                <a:gd name="T86" fmla="*/ 40 w 90"/>
                <a:gd name="T87" fmla="*/ 86 h 90"/>
                <a:gd name="T88" fmla="*/ 44 w 90"/>
                <a:gd name="T89" fmla="*/ 87 h 90"/>
                <a:gd name="T90" fmla="*/ 48 w 90"/>
                <a:gd name="T91" fmla="*/ 87 h 90"/>
                <a:gd name="T92" fmla="*/ 53 w 90"/>
                <a:gd name="T93" fmla="*/ 86 h 90"/>
                <a:gd name="T94" fmla="*/ 57 w 90"/>
                <a:gd name="T95" fmla="*/ 85 h 90"/>
                <a:gd name="T96" fmla="*/ 61 w 90"/>
                <a:gd name="T97" fmla="*/ 84 h 90"/>
                <a:gd name="T98" fmla="*/ 65 w 90"/>
                <a:gd name="T99" fmla="*/ 82 h 90"/>
                <a:gd name="T100" fmla="*/ 68 w 90"/>
                <a:gd name="T101" fmla="*/ 79 h 90"/>
                <a:gd name="T102" fmla="*/ 72 w 90"/>
                <a:gd name="T103" fmla="*/ 77 h 90"/>
                <a:gd name="T104" fmla="*/ 75 w 90"/>
                <a:gd name="T105" fmla="*/ 74 h 90"/>
                <a:gd name="T106" fmla="*/ 78 w 90"/>
                <a:gd name="T107" fmla="*/ 71 h 90"/>
                <a:gd name="T108" fmla="*/ 80 w 90"/>
                <a:gd name="T109" fmla="*/ 67 h 90"/>
                <a:gd name="T110" fmla="*/ 82 w 90"/>
                <a:gd name="T111" fmla="*/ 63 h 90"/>
                <a:gd name="T112" fmla="*/ 84 w 90"/>
                <a:gd name="T113" fmla="*/ 59 h 90"/>
                <a:gd name="T114" fmla="*/ 85 w 90"/>
                <a:gd name="T115" fmla="*/ 55 h 90"/>
                <a:gd name="T116" fmla="*/ 86 w 90"/>
                <a:gd name="T117" fmla="*/ 51 h 90"/>
                <a:gd name="T118" fmla="*/ 86 w 90"/>
                <a:gd name="T119" fmla="*/ 4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 h="90">
                  <a:moveTo>
                    <a:pt x="89" y="46"/>
                  </a:moveTo>
                  <a:cubicBezTo>
                    <a:pt x="89" y="46"/>
                    <a:pt x="90" y="46"/>
                    <a:pt x="90" y="46"/>
                  </a:cubicBezTo>
                  <a:cubicBezTo>
                    <a:pt x="90" y="46"/>
                    <a:pt x="90" y="46"/>
                    <a:pt x="90" y="45"/>
                  </a:cubicBezTo>
                  <a:cubicBezTo>
                    <a:pt x="90" y="45"/>
                    <a:pt x="90" y="45"/>
                    <a:pt x="90" y="45"/>
                  </a:cubicBezTo>
                  <a:cubicBezTo>
                    <a:pt x="90" y="45"/>
                    <a:pt x="89" y="44"/>
                    <a:pt x="89" y="44"/>
                  </a:cubicBezTo>
                  <a:cubicBezTo>
                    <a:pt x="89" y="44"/>
                    <a:pt x="88" y="44"/>
                    <a:pt x="86" y="44"/>
                  </a:cubicBezTo>
                  <a:cubicBezTo>
                    <a:pt x="86" y="44"/>
                    <a:pt x="86" y="43"/>
                    <a:pt x="86" y="42"/>
                  </a:cubicBezTo>
                  <a:cubicBezTo>
                    <a:pt x="87" y="42"/>
                    <a:pt x="89" y="42"/>
                    <a:pt x="89" y="42"/>
                  </a:cubicBezTo>
                  <a:cubicBezTo>
                    <a:pt x="89" y="42"/>
                    <a:pt x="89" y="41"/>
                    <a:pt x="90" y="41"/>
                  </a:cubicBezTo>
                  <a:cubicBezTo>
                    <a:pt x="90" y="41"/>
                    <a:pt x="90" y="41"/>
                    <a:pt x="90" y="41"/>
                  </a:cubicBezTo>
                  <a:cubicBezTo>
                    <a:pt x="90" y="40"/>
                    <a:pt x="90" y="40"/>
                    <a:pt x="89" y="40"/>
                  </a:cubicBezTo>
                  <a:cubicBezTo>
                    <a:pt x="89" y="40"/>
                    <a:pt x="89" y="40"/>
                    <a:pt x="89" y="40"/>
                  </a:cubicBezTo>
                  <a:cubicBezTo>
                    <a:pt x="89" y="40"/>
                    <a:pt x="87" y="40"/>
                    <a:pt x="86" y="40"/>
                  </a:cubicBezTo>
                  <a:cubicBezTo>
                    <a:pt x="86" y="39"/>
                    <a:pt x="86" y="39"/>
                    <a:pt x="86" y="38"/>
                  </a:cubicBezTo>
                  <a:cubicBezTo>
                    <a:pt x="87" y="38"/>
                    <a:pt x="88" y="37"/>
                    <a:pt x="88" y="37"/>
                  </a:cubicBezTo>
                  <a:cubicBezTo>
                    <a:pt x="89" y="37"/>
                    <a:pt x="89" y="37"/>
                    <a:pt x="89" y="37"/>
                  </a:cubicBezTo>
                  <a:cubicBezTo>
                    <a:pt x="89" y="36"/>
                    <a:pt x="89" y="36"/>
                    <a:pt x="89" y="36"/>
                  </a:cubicBezTo>
                  <a:cubicBezTo>
                    <a:pt x="89" y="36"/>
                    <a:pt x="89" y="36"/>
                    <a:pt x="89" y="35"/>
                  </a:cubicBezTo>
                  <a:cubicBezTo>
                    <a:pt x="88" y="35"/>
                    <a:pt x="88" y="35"/>
                    <a:pt x="88" y="35"/>
                  </a:cubicBezTo>
                  <a:cubicBezTo>
                    <a:pt x="88" y="35"/>
                    <a:pt x="86" y="35"/>
                    <a:pt x="85" y="36"/>
                  </a:cubicBezTo>
                  <a:cubicBezTo>
                    <a:pt x="85" y="35"/>
                    <a:pt x="85" y="34"/>
                    <a:pt x="85" y="34"/>
                  </a:cubicBezTo>
                  <a:cubicBezTo>
                    <a:pt x="86" y="33"/>
                    <a:pt x="87" y="33"/>
                    <a:pt x="87" y="33"/>
                  </a:cubicBezTo>
                  <a:cubicBezTo>
                    <a:pt x="87" y="33"/>
                    <a:pt x="88" y="32"/>
                    <a:pt x="88" y="32"/>
                  </a:cubicBezTo>
                  <a:cubicBezTo>
                    <a:pt x="88" y="32"/>
                    <a:pt x="88" y="32"/>
                    <a:pt x="88" y="32"/>
                  </a:cubicBezTo>
                  <a:cubicBezTo>
                    <a:pt x="88" y="31"/>
                    <a:pt x="87" y="31"/>
                    <a:pt x="87" y="31"/>
                  </a:cubicBezTo>
                  <a:cubicBezTo>
                    <a:pt x="87" y="31"/>
                    <a:pt x="87" y="31"/>
                    <a:pt x="87" y="31"/>
                  </a:cubicBezTo>
                  <a:cubicBezTo>
                    <a:pt x="86" y="31"/>
                    <a:pt x="85" y="31"/>
                    <a:pt x="84" y="31"/>
                  </a:cubicBezTo>
                  <a:cubicBezTo>
                    <a:pt x="84" y="31"/>
                    <a:pt x="83" y="30"/>
                    <a:pt x="83" y="30"/>
                  </a:cubicBezTo>
                  <a:cubicBezTo>
                    <a:pt x="84" y="29"/>
                    <a:pt x="85" y="28"/>
                    <a:pt x="86" y="28"/>
                  </a:cubicBezTo>
                  <a:cubicBezTo>
                    <a:pt x="86" y="28"/>
                    <a:pt x="86" y="28"/>
                    <a:pt x="86" y="28"/>
                  </a:cubicBezTo>
                  <a:cubicBezTo>
                    <a:pt x="86" y="28"/>
                    <a:pt x="86" y="27"/>
                    <a:pt x="86" y="27"/>
                  </a:cubicBezTo>
                  <a:cubicBezTo>
                    <a:pt x="86" y="27"/>
                    <a:pt x="86" y="27"/>
                    <a:pt x="86" y="27"/>
                  </a:cubicBezTo>
                  <a:cubicBezTo>
                    <a:pt x="85" y="26"/>
                    <a:pt x="85" y="26"/>
                    <a:pt x="85" y="26"/>
                  </a:cubicBezTo>
                  <a:cubicBezTo>
                    <a:pt x="85" y="27"/>
                    <a:pt x="83" y="27"/>
                    <a:pt x="82" y="27"/>
                  </a:cubicBezTo>
                  <a:cubicBezTo>
                    <a:pt x="82" y="27"/>
                    <a:pt x="82" y="26"/>
                    <a:pt x="81" y="26"/>
                  </a:cubicBezTo>
                  <a:cubicBezTo>
                    <a:pt x="82" y="25"/>
                    <a:pt x="83" y="24"/>
                    <a:pt x="84" y="24"/>
                  </a:cubicBezTo>
                  <a:cubicBezTo>
                    <a:pt x="84" y="24"/>
                    <a:pt x="84" y="24"/>
                    <a:pt x="84" y="24"/>
                  </a:cubicBezTo>
                  <a:cubicBezTo>
                    <a:pt x="84" y="23"/>
                    <a:pt x="84" y="23"/>
                    <a:pt x="84" y="23"/>
                  </a:cubicBezTo>
                  <a:cubicBezTo>
                    <a:pt x="84" y="23"/>
                    <a:pt x="84" y="22"/>
                    <a:pt x="83" y="22"/>
                  </a:cubicBezTo>
                  <a:cubicBezTo>
                    <a:pt x="83" y="22"/>
                    <a:pt x="83" y="22"/>
                    <a:pt x="83" y="22"/>
                  </a:cubicBezTo>
                  <a:cubicBezTo>
                    <a:pt x="82" y="23"/>
                    <a:pt x="81" y="23"/>
                    <a:pt x="80" y="24"/>
                  </a:cubicBezTo>
                  <a:cubicBezTo>
                    <a:pt x="80" y="23"/>
                    <a:pt x="80" y="23"/>
                    <a:pt x="79" y="22"/>
                  </a:cubicBezTo>
                  <a:cubicBezTo>
                    <a:pt x="80" y="21"/>
                    <a:pt x="81" y="20"/>
                    <a:pt x="81" y="20"/>
                  </a:cubicBezTo>
                  <a:cubicBezTo>
                    <a:pt x="81" y="20"/>
                    <a:pt x="82" y="20"/>
                    <a:pt x="82" y="20"/>
                  </a:cubicBezTo>
                  <a:cubicBezTo>
                    <a:pt x="82" y="19"/>
                    <a:pt x="82" y="19"/>
                    <a:pt x="81" y="19"/>
                  </a:cubicBezTo>
                  <a:cubicBezTo>
                    <a:pt x="81" y="19"/>
                    <a:pt x="81" y="19"/>
                    <a:pt x="81" y="19"/>
                  </a:cubicBezTo>
                  <a:cubicBezTo>
                    <a:pt x="81" y="18"/>
                    <a:pt x="80" y="19"/>
                    <a:pt x="80" y="19"/>
                  </a:cubicBezTo>
                  <a:cubicBezTo>
                    <a:pt x="80" y="19"/>
                    <a:pt x="79" y="20"/>
                    <a:pt x="78" y="20"/>
                  </a:cubicBezTo>
                  <a:cubicBezTo>
                    <a:pt x="77" y="20"/>
                    <a:pt x="77" y="19"/>
                    <a:pt x="77" y="19"/>
                  </a:cubicBezTo>
                  <a:cubicBezTo>
                    <a:pt x="77" y="18"/>
                    <a:pt x="78" y="17"/>
                    <a:pt x="78" y="17"/>
                  </a:cubicBezTo>
                  <a:cubicBezTo>
                    <a:pt x="79" y="16"/>
                    <a:pt x="79" y="16"/>
                    <a:pt x="79" y="16"/>
                  </a:cubicBezTo>
                  <a:cubicBezTo>
                    <a:pt x="79" y="16"/>
                    <a:pt x="79" y="16"/>
                    <a:pt x="78" y="15"/>
                  </a:cubicBezTo>
                  <a:cubicBezTo>
                    <a:pt x="78" y="15"/>
                    <a:pt x="78" y="15"/>
                    <a:pt x="78" y="15"/>
                  </a:cubicBezTo>
                  <a:cubicBezTo>
                    <a:pt x="78" y="15"/>
                    <a:pt x="77" y="15"/>
                    <a:pt x="77" y="15"/>
                  </a:cubicBezTo>
                  <a:cubicBezTo>
                    <a:pt x="77" y="15"/>
                    <a:pt x="76" y="16"/>
                    <a:pt x="75" y="17"/>
                  </a:cubicBezTo>
                  <a:cubicBezTo>
                    <a:pt x="75" y="16"/>
                    <a:pt x="74" y="16"/>
                    <a:pt x="74" y="16"/>
                  </a:cubicBezTo>
                  <a:cubicBezTo>
                    <a:pt x="74" y="14"/>
                    <a:pt x="75" y="13"/>
                    <a:pt x="75" y="13"/>
                  </a:cubicBezTo>
                  <a:cubicBezTo>
                    <a:pt x="75" y="13"/>
                    <a:pt x="75" y="13"/>
                    <a:pt x="75" y="13"/>
                  </a:cubicBezTo>
                  <a:cubicBezTo>
                    <a:pt x="75" y="12"/>
                    <a:pt x="75" y="12"/>
                    <a:pt x="75" y="12"/>
                  </a:cubicBezTo>
                  <a:cubicBezTo>
                    <a:pt x="75" y="12"/>
                    <a:pt x="75" y="12"/>
                    <a:pt x="74" y="12"/>
                  </a:cubicBezTo>
                  <a:cubicBezTo>
                    <a:pt x="74" y="12"/>
                    <a:pt x="74" y="12"/>
                    <a:pt x="74" y="12"/>
                  </a:cubicBezTo>
                  <a:cubicBezTo>
                    <a:pt x="74" y="12"/>
                    <a:pt x="73" y="13"/>
                    <a:pt x="72" y="14"/>
                  </a:cubicBezTo>
                  <a:cubicBezTo>
                    <a:pt x="71" y="13"/>
                    <a:pt x="71" y="13"/>
                    <a:pt x="70" y="13"/>
                  </a:cubicBezTo>
                  <a:cubicBezTo>
                    <a:pt x="71" y="12"/>
                    <a:pt x="72" y="10"/>
                    <a:pt x="72" y="10"/>
                  </a:cubicBezTo>
                  <a:cubicBezTo>
                    <a:pt x="72" y="10"/>
                    <a:pt x="72" y="10"/>
                    <a:pt x="72" y="10"/>
                  </a:cubicBezTo>
                  <a:cubicBezTo>
                    <a:pt x="72" y="9"/>
                    <a:pt x="72" y="9"/>
                    <a:pt x="71" y="9"/>
                  </a:cubicBezTo>
                  <a:cubicBezTo>
                    <a:pt x="71" y="9"/>
                    <a:pt x="71" y="9"/>
                    <a:pt x="71" y="9"/>
                  </a:cubicBezTo>
                  <a:cubicBezTo>
                    <a:pt x="71" y="9"/>
                    <a:pt x="70" y="9"/>
                    <a:pt x="70" y="9"/>
                  </a:cubicBezTo>
                  <a:cubicBezTo>
                    <a:pt x="70" y="9"/>
                    <a:pt x="69" y="10"/>
                    <a:pt x="68" y="11"/>
                  </a:cubicBezTo>
                  <a:cubicBezTo>
                    <a:pt x="68" y="11"/>
                    <a:pt x="67" y="11"/>
                    <a:pt x="67" y="10"/>
                  </a:cubicBezTo>
                  <a:cubicBezTo>
                    <a:pt x="67" y="9"/>
                    <a:pt x="68" y="8"/>
                    <a:pt x="68" y="8"/>
                  </a:cubicBezTo>
                  <a:cubicBezTo>
                    <a:pt x="68" y="8"/>
                    <a:pt x="68" y="7"/>
                    <a:pt x="68" y="7"/>
                  </a:cubicBezTo>
                  <a:cubicBezTo>
                    <a:pt x="68" y="7"/>
                    <a:pt x="68" y="7"/>
                    <a:pt x="68" y="6"/>
                  </a:cubicBezTo>
                  <a:cubicBezTo>
                    <a:pt x="67" y="6"/>
                    <a:pt x="67" y="6"/>
                    <a:pt x="67" y="6"/>
                  </a:cubicBezTo>
                  <a:cubicBezTo>
                    <a:pt x="67" y="6"/>
                    <a:pt x="66" y="6"/>
                    <a:pt x="66" y="7"/>
                  </a:cubicBezTo>
                  <a:cubicBezTo>
                    <a:pt x="66" y="7"/>
                    <a:pt x="65" y="8"/>
                    <a:pt x="65" y="9"/>
                  </a:cubicBezTo>
                  <a:cubicBezTo>
                    <a:pt x="64" y="9"/>
                    <a:pt x="64" y="8"/>
                    <a:pt x="63" y="8"/>
                  </a:cubicBezTo>
                  <a:cubicBezTo>
                    <a:pt x="63" y="7"/>
                    <a:pt x="64" y="6"/>
                    <a:pt x="64" y="6"/>
                  </a:cubicBezTo>
                  <a:cubicBezTo>
                    <a:pt x="64" y="5"/>
                    <a:pt x="64" y="5"/>
                    <a:pt x="64" y="5"/>
                  </a:cubicBezTo>
                  <a:cubicBezTo>
                    <a:pt x="64" y="5"/>
                    <a:pt x="64" y="4"/>
                    <a:pt x="63" y="4"/>
                  </a:cubicBezTo>
                  <a:cubicBezTo>
                    <a:pt x="63" y="4"/>
                    <a:pt x="63" y="4"/>
                    <a:pt x="63" y="4"/>
                  </a:cubicBezTo>
                  <a:cubicBezTo>
                    <a:pt x="62" y="4"/>
                    <a:pt x="62" y="5"/>
                    <a:pt x="62" y="5"/>
                  </a:cubicBezTo>
                  <a:cubicBezTo>
                    <a:pt x="62" y="5"/>
                    <a:pt x="61" y="6"/>
                    <a:pt x="61" y="7"/>
                  </a:cubicBezTo>
                  <a:cubicBezTo>
                    <a:pt x="60" y="7"/>
                    <a:pt x="60" y="7"/>
                    <a:pt x="59" y="6"/>
                  </a:cubicBezTo>
                  <a:cubicBezTo>
                    <a:pt x="59" y="5"/>
                    <a:pt x="60" y="4"/>
                    <a:pt x="60" y="4"/>
                  </a:cubicBezTo>
                  <a:cubicBezTo>
                    <a:pt x="60" y="4"/>
                    <a:pt x="60" y="3"/>
                    <a:pt x="60" y="3"/>
                  </a:cubicBezTo>
                  <a:cubicBezTo>
                    <a:pt x="59" y="3"/>
                    <a:pt x="59" y="3"/>
                    <a:pt x="59" y="3"/>
                  </a:cubicBezTo>
                  <a:cubicBezTo>
                    <a:pt x="59" y="3"/>
                    <a:pt x="59" y="3"/>
                    <a:pt x="58" y="3"/>
                  </a:cubicBezTo>
                  <a:cubicBezTo>
                    <a:pt x="58" y="3"/>
                    <a:pt x="58" y="3"/>
                    <a:pt x="58" y="3"/>
                  </a:cubicBezTo>
                  <a:cubicBezTo>
                    <a:pt x="58" y="3"/>
                    <a:pt x="57" y="5"/>
                    <a:pt x="57" y="6"/>
                  </a:cubicBezTo>
                  <a:cubicBezTo>
                    <a:pt x="56" y="6"/>
                    <a:pt x="56" y="5"/>
                    <a:pt x="55" y="5"/>
                  </a:cubicBezTo>
                  <a:cubicBezTo>
                    <a:pt x="55" y="4"/>
                    <a:pt x="55" y="3"/>
                    <a:pt x="55" y="2"/>
                  </a:cubicBezTo>
                  <a:cubicBezTo>
                    <a:pt x="55" y="2"/>
                    <a:pt x="55" y="2"/>
                    <a:pt x="55" y="2"/>
                  </a:cubicBezTo>
                  <a:cubicBezTo>
                    <a:pt x="55" y="2"/>
                    <a:pt x="55" y="1"/>
                    <a:pt x="54" y="1"/>
                  </a:cubicBezTo>
                  <a:cubicBezTo>
                    <a:pt x="54" y="1"/>
                    <a:pt x="54" y="1"/>
                    <a:pt x="54" y="2"/>
                  </a:cubicBezTo>
                  <a:cubicBezTo>
                    <a:pt x="54" y="2"/>
                    <a:pt x="53" y="2"/>
                    <a:pt x="53" y="2"/>
                  </a:cubicBezTo>
                  <a:cubicBezTo>
                    <a:pt x="53" y="2"/>
                    <a:pt x="53" y="4"/>
                    <a:pt x="53" y="5"/>
                  </a:cubicBezTo>
                  <a:cubicBezTo>
                    <a:pt x="52" y="5"/>
                    <a:pt x="51" y="5"/>
                    <a:pt x="51" y="4"/>
                  </a:cubicBezTo>
                  <a:cubicBezTo>
                    <a:pt x="51" y="3"/>
                    <a:pt x="51" y="2"/>
                    <a:pt x="51" y="2"/>
                  </a:cubicBezTo>
                  <a:cubicBezTo>
                    <a:pt x="51" y="1"/>
                    <a:pt x="51" y="1"/>
                    <a:pt x="50" y="1"/>
                  </a:cubicBezTo>
                  <a:cubicBezTo>
                    <a:pt x="50" y="1"/>
                    <a:pt x="50" y="1"/>
                    <a:pt x="50" y="1"/>
                  </a:cubicBezTo>
                  <a:cubicBezTo>
                    <a:pt x="50" y="1"/>
                    <a:pt x="49" y="1"/>
                    <a:pt x="49" y="1"/>
                  </a:cubicBezTo>
                  <a:cubicBezTo>
                    <a:pt x="49" y="1"/>
                    <a:pt x="49" y="1"/>
                    <a:pt x="49" y="1"/>
                  </a:cubicBezTo>
                  <a:cubicBezTo>
                    <a:pt x="49" y="2"/>
                    <a:pt x="49" y="3"/>
                    <a:pt x="48" y="4"/>
                  </a:cubicBezTo>
                  <a:cubicBezTo>
                    <a:pt x="48" y="4"/>
                    <a:pt x="47" y="4"/>
                    <a:pt x="46" y="4"/>
                  </a:cubicBezTo>
                  <a:cubicBezTo>
                    <a:pt x="46" y="3"/>
                    <a:pt x="46" y="2"/>
                    <a:pt x="46" y="1"/>
                  </a:cubicBezTo>
                  <a:cubicBezTo>
                    <a:pt x="46" y="1"/>
                    <a:pt x="46" y="1"/>
                    <a:pt x="46" y="1"/>
                  </a:cubicBezTo>
                  <a:cubicBezTo>
                    <a:pt x="46" y="1"/>
                    <a:pt x="45" y="0"/>
                    <a:pt x="45" y="0"/>
                  </a:cubicBezTo>
                  <a:cubicBezTo>
                    <a:pt x="45" y="0"/>
                    <a:pt x="45" y="1"/>
                    <a:pt x="45" y="1"/>
                  </a:cubicBezTo>
                  <a:cubicBezTo>
                    <a:pt x="44" y="1"/>
                    <a:pt x="44" y="1"/>
                    <a:pt x="44" y="1"/>
                  </a:cubicBezTo>
                  <a:cubicBezTo>
                    <a:pt x="44" y="2"/>
                    <a:pt x="44" y="3"/>
                    <a:pt x="44" y="4"/>
                  </a:cubicBezTo>
                  <a:cubicBezTo>
                    <a:pt x="43" y="4"/>
                    <a:pt x="43" y="4"/>
                    <a:pt x="42" y="4"/>
                  </a:cubicBezTo>
                  <a:cubicBezTo>
                    <a:pt x="42" y="3"/>
                    <a:pt x="42" y="2"/>
                    <a:pt x="42" y="1"/>
                  </a:cubicBezTo>
                  <a:cubicBezTo>
                    <a:pt x="42" y="1"/>
                    <a:pt x="41" y="1"/>
                    <a:pt x="41" y="1"/>
                  </a:cubicBezTo>
                  <a:cubicBezTo>
                    <a:pt x="41" y="1"/>
                    <a:pt x="41" y="1"/>
                    <a:pt x="41" y="1"/>
                  </a:cubicBezTo>
                  <a:cubicBezTo>
                    <a:pt x="40" y="1"/>
                    <a:pt x="40" y="1"/>
                    <a:pt x="40" y="1"/>
                  </a:cubicBezTo>
                  <a:cubicBezTo>
                    <a:pt x="40" y="1"/>
                    <a:pt x="40" y="1"/>
                    <a:pt x="40" y="2"/>
                  </a:cubicBezTo>
                  <a:cubicBezTo>
                    <a:pt x="40" y="2"/>
                    <a:pt x="40" y="3"/>
                    <a:pt x="40" y="4"/>
                  </a:cubicBezTo>
                  <a:cubicBezTo>
                    <a:pt x="39" y="5"/>
                    <a:pt x="38" y="5"/>
                    <a:pt x="38" y="5"/>
                  </a:cubicBezTo>
                  <a:cubicBezTo>
                    <a:pt x="37" y="4"/>
                    <a:pt x="37" y="2"/>
                    <a:pt x="37" y="2"/>
                  </a:cubicBezTo>
                  <a:cubicBezTo>
                    <a:pt x="37" y="2"/>
                    <a:pt x="37" y="2"/>
                    <a:pt x="37" y="2"/>
                  </a:cubicBezTo>
                  <a:cubicBezTo>
                    <a:pt x="36" y="1"/>
                    <a:pt x="36" y="1"/>
                    <a:pt x="36" y="1"/>
                  </a:cubicBezTo>
                  <a:cubicBezTo>
                    <a:pt x="36" y="1"/>
                    <a:pt x="35" y="2"/>
                    <a:pt x="35" y="2"/>
                  </a:cubicBezTo>
                  <a:cubicBezTo>
                    <a:pt x="35" y="2"/>
                    <a:pt x="35" y="2"/>
                    <a:pt x="35" y="2"/>
                  </a:cubicBezTo>
                  <a:cubicBezTo>
                    <a:pt x="35" y="3"/>
                    <a:pt x="35" y="4"/>
                    <a:pt x="35" y="5"/>
                  </a:cubicBezTo>
                  <a:cubicBezTo>
                    <a:pt x="35" y="5"/>
                    <a:pt x="34" y="6"/>
                    <a:pt x="34" y="6"/>
                  </a:cubicBezTo>
                  <a:cubicBezTo>
                    <a:pt x="33" y="5"/>
                    <a:pt x="33" y="3"/>
                    <a:pt x="33" y="3"/>
                  </a:cubicBezTo>
                  <a:cubicBezTo>
                    <a:pt x="32" y="3"/>
                    <a:pt x="32" y="3"/>
                    <a:pt x="32" y="3"/>
                  </a:cubicBezTo>
                  <a:cubicBezTo>
                    <a:pt x="32" y="3"/>
                    <a:pt x="32" y="3"/>
                    <a:pt x="31" y="3"/>
                  </a:cubicBezTo>
                  <a:cubicBezTo>
                    <a:pt x="31" y="3"/>
                    <a:pt x="31" y="3"/>
                    <a:pt x="31" y="3"/>
                  </a:cubicBezTo>
                  <a:cubicBezTo>
                    <a:pt x="31" y="3"/>
                    <a:pt x="31" y="4"/>
                    <a:pt x="31" y="4"/>
                  </a:cubicBezTo>
                  <a:cubicBezTo>
                    <a:pt x="31" y="4"/>
                    <a:pt x="31" y="5"/>
                    <a:pt x="31" y="6"/>
                  </a:cubicBezTo>
                  <a:cubicBezTo>
                    <a:pt x="31" y="7"/>
                    <a:pt x="30" y="7"/>
                    <a:pt x="30" y="7"/>
                  </a:cubicBezTo>
                  <a:cubicBezTo>
                    <a:pt x="29" y="6"/>
                    <a:pt x="28" y="5"/>
                    <a:pt x="28" y="5"/>
                  </a:cubicBezTo>
                  <a:cubicBezTo>
                    <a:pt x="28" y="5"/>
                    <a:pt x="28" y="4"/>
                    <a:pt x="28" y="4"/>
                  </a:cubicBezTo>
                  <a:cubicBezTo>
                    <a:pt x="27" y="4"/>
                    <a:pt x="27" y="4"/>
                    <a:pt x="27" y="4"/>
                  </a:cubicBezTo>
                  <a:cubicBezTo>
                    <a:pt x="27" y="4"/>
                    <a:pt x="27" y="5"/>
                    <a:pt x="26" y="5"/>
                  </a:cubicBezTo>
                  <a:cubicBezTo>
                    <a:pt x="26" y="5"/>
                    <a:pt x="26" y="5"/>
                    <a:pt x="26" y="6"/>
                  </a:cubicBezTo>
                  <a:cubicBezTo>
                    <a:pt x="27" y="6"/>
                    <a:pt x="27" y="7"/>
                    <a:pt x="27" y="8"/>
                  </a:cubicBezTo>
                  <a:cubicBezTo>
                    <a:pt x="27" y="8"/>
                    <a:pt x="26" y="9"/>
                    <a:pt x="26" y="9"/>
                  </a:cubicBezTo>
                  <a:cubicBezTo>
                    <a:pt x="25" y="8"/>
                    <a:pt x="24" y="7"/>
                    <a:pt x="24" y="7"/>
                  </a:cubicBezTo>
                  <a:cubicBezTo>
                    <a:pt x="24" y="6"/>
                    <a:pt x="24" y="6"/>
                    <a:pt x="23" y="6"/>
                  </a:cubicBezTo>
                  <a:cubicBezTo>
                    <a:pt x="23" y="6"/>
                    <a:pt x="23" y="6"/>
                    <a:pt x="23" y="6"/>
                  </a:cubicBezTo>
                  <a:cubicBezTo>
                    <a:pt x="23" y="7"/>
                    <a:pt x="22" y="7"/>
                    <a:pt x="22" y="7"/>
                  </a:cubicBezTo>
                  <a:cubicBezTo>
                    <a:pt x="22" y="7"/>
                    <a:pt x="22" y="8"/>
                    <a:pt x="22" y="8"/>
                  </a:cubicBezTo>
                  <a:cubicBezTo>
                    <a:pt x="22" y="8"/>
                    <a:pt x="23" y="9"/>
                    <a:pt x="24" y="10"/>
                  </a:cubicBezTo>
                  <a:cubicBezTo>
                    <a:pt x="23" y="11"/>
                    <a:pt x="22" y="11"/>
                    <a:pt x="22" y="11"/>
                  </a:cubicBezTo>
                  <a:cubicBezTo>
                    <a:pt x="21" y="10"/>
                    <a:pt x="20" y="9"/>
                    <a:pt x="20" y="9"/>
                  </a:cubicBezTo>
                  <a:cubicBezTo>
                    <a:pt x="20" y="9"/>
                    <a:pt x="20" y="9"/>
                    <a:pt x="20" y="9"/>
                  </a:cubicBezTo>
                  <a:cubicBezTo>
                    <a:pt x="19" y="9"/>
                    <a:pt x="19" y="9"/>
                    <a:pt x="19" y="9"/>
                  </a:cubicBezTo>
                  <a:cubicBezTo>
                    <a:pt x="19" y="9"/>
                    <a:pt x="19" y="9"/>
                    <a:pt x="18" y="10"/>
                  </a:cubicBezTo>
                  <a:cubicBezTo>
                    <a:pt x="18" y="10"/>
                    <a:pt x="18" y="10"/>
                    <a:pt x="19" y="10"/>
                  </a:cubicBezTo>
                  <a:cubicBezTo>
                    <a:pt x="19" y="10"/>
                    <a:pt x="19" y="12"/>
                    <a:pt x="20" y="13"/>
                  </a:cubicBezTo>
                  <a:cubicBezTo>
                    <a:pt x="19" y="13"/>
                    <a:pt x="19" y="13"/>
                    <a:pt x="19" y="14"/>
                  </a:cubicBezTo>
                  <a:cubicBezTo>
                    <a:pt x="18" y="13"/>
                    <a:pt x="17" y="12"/>
                    <a:pt x="17" y="12"/>
                  </a:cubicBezTo>
                  <a:cubicBezTo>
                    <a:pt x="16" y="12"/>
                    <a:pt x="16" y="12"/>
                    <a:pt x="16" y="12"/>
                  </a:cubicBezTo>
                  <a:cubicBezTo>
                    <a:pt x="16" y="12"/>
                    <a:pt x="15" y="12"/>
                    <a:pt x="15" y="12"/>
                  </a:cubicBezTo>
                  <a:cubicBezTo>
                    <a:pt x="15" y="12"/>
                    <a:pt x="15" y="12"/>
                    <a:pt x="15" y="13"/>
                  </a:cubicBezTo>
                  <a:cubicBezTo>
                    <a:pt x="15" y="13"/>
                    <a:pt x="15" y="13"/>
                    <a:pt x="15" y="13"/>
                  </a:cubicBezTo>
                  <a:cubicBezTo>
                    <a:pt x="15" y="13"/>
                    <a:pt x="16" y="14"/>
                    <a:pt x="17" y="16"/>
                  </a:cubicBezTo>
                  <a:cubicBezTo>
                    <a:pt x="16" y="16"/>
                    <a:pt x="16" y="16"/>
                    <a:pt x="15" y="17"/>
                  </a:cubicBezTo>
                  <a:cubicBezTo>
                    <a:pt x="14" y="16"/>
                    <a:pt x="13" y="15"/>
                    <a:pt x="13" y="15"/>
                  </a:cubicBezTo>
                  <a:cubicBezTo>
                    <a:pt x="13" y="15"/>
                    <a:pt x="13" y="15"/>
                    <a:pt x="13" y="15"/>
                  </a:cubicBezTo>
                  <a:cubicBezTo>
                    <a:pt x="12" y="15"/>
                    <a:pt x="12" y="15"/>
                    <a:pt x="12" y="15"/>
                  </a:cubicBezTo>
                  <a:cubicBezTo>
                    <a:pt x="12" y="16"/>
                    <a:pt x="12" y="16"/>
                    <a:pt x="12" y="16"/>
                  </a:cubicBezTo>
                  <a:cubicBezTo>
                    <a:pt x="12" y="16"/>
                    <a:pt x="12" y="16"/>
                    <a:pt x="12" y="17"/>
                  </a:cubicBezTo>
                  <a:cubicBezTo>
                    <a:pt x="12" y="17"/>
                    <a:pt x="13" y="18"/>
                    <a:pt x="14" y="19"/>
                  </a:cubicBezTo>
                  <a:cubicBezTo>
                    <a:pt x="13" y="19"/>
                    <a:pt x="13" y="20"/>
                    <a:pt x="13" y="20"/>
                  </a:cubicBezTo>
                  <a:cubicBezTo>
                    <a:pt x="12" y="20"/>
                    <a:pt x="10" y="19"/>
                    <a:pt x="10" y="19"/>
                  </a:cubicBezTo>
                  <a:cubicBezTo>
                    <a:pt x="10" y="19"/>
                    <a:pt x="10" y="18"/>
                    <a:pt x="10" y="19"/>
                  </a:cubicBezTo>
                  <a:cubicBezTo>
                    <a:pt x="9" y="19"/>
                    <a:pt x="9" y="19"/>
                    <a:pt x="9" y="19"/>
                  </a:cubicBezTo>
                  <a:cubicBezTo>
                    <a:pt x="9" y="19"/>
                    <a:pt x="9" y="19"/>
                    <a:pt x="9" y="20"/>
                  </a:cubicBezTo>
                  <a:cubicBezTo>
                    <a:pt x="9" y="20"/>
                    <a:pt x="9" y="20"/>
                    <a:pt x="9" y="20"/>
                  </a:cubicBezTo>
                  <a:cubicBezTo>
                    <a:pt x="9" y="20"/>
                    <a:pt x="10" y="21"/>
                    <a:pt x="11" y="22"/>
                  </a:cubicBezTo>
                  <a:cubicBezTo>
                    <a:pt x="11" y="23"/>
                    <a:pt x="10" y="23"/>
                    <a:pt x="10" y="24"/>
                  </a:cubicBezTo>
                  <a:cubicBezTo>
                    <a:pt x="9" y="23"/>
                    <a:pt x="8" y="23"/>
                    <a:pt x="8" y="22"/>
                  </a:cubicBezTo>
                  <a:cubicBezTo>
                    <a:pt x="7" y="22"/>
                    <a:pt x="7" y="22"/>
                    <a:pt x="7" y="22"/>
                  </a:cubicBezTo>
                  <a:cubicBezTo>
                    <a:pt x="7" y="22"/>
                    <a:pt x="7" y="23"/>
                    <a:pt x="6" y="23"/>
                  </a:cubicBezTo>
                  <a:cubicBezTo>
                    <a:pt x="6" y="23"/>
                    <a:pt x="6" y="23"/>
                    <a:pt x="6" y="24"/>
                  </a:cubicBezTo>
                  <a:cubicBezTo>
                    <a:pt x="6" y="24"/>
                    <a:pt x="6" y="24"/>
                    <a:pt x="7" y="24"/>
                  </a:cubicBezTo>
                  <a:cubicBezTo>
                    <a:pt x="7" y="24"/>
                    <a:pt x="8" y="25"/>
                    <a:pt x="9" y="26"/>
                  </a:cubicBezTo>
                  <a:cubicBezTo>
                    <a:pt x="9" y="26"/>
                    <a:pt x="8" y="27"/>
                    <a:pt x="8" y="27"/>
                  </a:cubicBezTo>
                  <a:cubicBezTo>
                    <a:pt x="7" y="27"/>
                    <a:pt x="6" y="27"/>
                    <a:pt x="5" y="26"/>
                  </a:cubicBezTo>
                  <a:cubicBezTo>
                    <a:pt x="5" y="26"/>
                    <a:pt x="5" y="26"/>
                    <a:pt x="5" y="27"/>
                  </a:cubicBezTo>
                  <a:cubicBezTo>
                    <a:pt x="5" y="27"/>
                    <a:pt x="4" y="27"/>
                    <a:pt x="4" y="27"/>
                  </a:cubicBezTo>
                  <a:cubicBezTo>
                    <a:pt x="4" y="27"/>
                    <a:pt x="4" y="28"/>
                    <a:pt x="4" y="28"/>
                  </a:cubicBezTo>
                  <a:cubicBezTo>
                    <a:pt x="4" y="28"/>
                    <a:pt x="5" y="28"/>
                    <a:pt x="5" y="28"/>
                  </a:cubicBezTo>
                  <a:cubicBezTo>
                    <a:pt x="5" y="28"/>
                    <a:pt x="6" y="29"/>
                    <a:pt x="7" y="30"/>
                  </a:cubicBezTo>
                  <a:cubicBezTo>
                    <a:pt x="7" y="30"/>
                    <a:pt x="7" y="31"/>
                    <a:pt x="6" y="31"/>
                  </a:cubicBezTo>
                  <a:cubicBezTo>
                    <a:pt x="5" y="31"/>
                    <a:pt x="4" y="31"/>
                    <a:pt x="4" y="31"/>
                  </a:cubicBezTo>
                  <a:cubicBezTo>
                    <a:pt x="3" y="31"/>
                    <a:pt x="3" y="31"/>
                    <a:pt x="3" y="31"/>
                  </a:cubicBezTo>
                  <a:cubicBezTo>
                    <a:pt x="3" y="31"/>
                    <a:pt x="3" y="31"/>
                    <a:pt x="3" y="32"/>
                  </a:cubicBezTo>
                  <a:cubicBezTo>
                    <a:pt x="3" y="32"/>
                    <a:pt x="3" y="32"/>
                    <a:pt x="3" y="32"/>
                  </a:cubicBezTo>
                  <a:cubicBezTo>
                    <a:pt x="3" y="32"/>
                    <a:pt x="3" y="33"/>
                    <a:pt x="3" y="33"/>
                  </a:cubicBezTo>
                  <a:cubicBezTo>
                    <a:pt x="3" y="33"/>
                    <a:pt x="5" y="33"/>
                    <a:pt x="6" y="34"/>
                  </a:cubicBezTo>
                  <a:cubicBezTo>
                    <a:pt x="6" y="34"/>
                    <a:pt x="5" y="35"/>
                    <a:pt x="5" y="36"/>
                  </a:cubicBezTo>
                  <a:cubicBezTo>
                    <a:pt x="4" y="35"/>
                    <a:pt x="3" y="35"/>
                    <a:pt x="2" y="35"/>
                  </a:cubicBezTo>
                  <a:cubicBezTo>
                    <a:pt x="2" y="35"/>
                    <a:pt x="2" y="35"/>
                    <a:pt x="2" y="35"/>
                  </a:cubicBezTo>
                  <a:cubicBezTo>
                    <a:pt x="2" y="36"/>
                    <a:pt x="1" y="36"/>
                    <a:pt x="1" y="36"/>
                  </a:cubicBezTo>
                  <a:cubicBezTo>
                    <a:pt x="1" y="36"/>
                    <a:pt x="1" y="36"/>
                    <a:pt x="2" y="37"/>
                  </a:cubicBezTo>
                  <a:cubicBezTo>
                    <a:pt x="2" y="37"/>
                    <a:pt x="2" y="37"/>
                    <a:pt x="2" y="37"/>
                  </a:cubicBezTo>
                  <a:cubicBezTo>
                    <a:pt x="2" y="37"/>
                    <a:pt x="3" y="38"/>
                    <a:pt x="5" y="38"/>
                  </a:cubicBezTo>
                  <a:cubicBezTo>
                    <a:pt x="5" y="39"/>
                    <a:pt x="5" y="39"/>
                    <a:pt x="4" y="40"/>
                  </a:cubicBezTo>
                  <a:cubicBezTo>
                    <a:pt x="3" y="40"/>
                    <a:pt x="2" y="40"/>
                    <a:pt x="2" y="40"/>
                  </a:cubicBezTo>
                  <a:cubicBezTo>
                    <a:pt x="1" y="40"/>
                    <a:pt x="1" y="40"/>
                    <a:pt x="1" y="40"/>
                  </a:cubicBezTo>
                  <a:cubicBezTo>
                    <a:pt x="1" y="40"/>
                    <a:pt x="1" y="40"/>
                    <a:pt x="1" y="41"/>
                  </a:cubicBezTo>
                  <a:cubicBezTo>
                    <a:pt x="1" y="41"/>
                    <a:pt x="1" y="41"/>
                    <a:pt x="1" y="41"/>
                  </a:cubicBezTo>
                  <a:cubicBezTo>
                    <a:pt x="1" y="41"/>
                    <a:pt x="1" y="42"/>
                    <a:pt x="1" y="42"/>
                  </a:cubicBezTo>
                  <a:cubicBezTo>
                    <a:pt x="2" y="42"/>
                    <a:pt x="3" y="42"/>
                    <a:pt x="4" y="42"/>
                  </a:cubicBezTo>
                  <a:cubicBezTo>
                    <a:pt x="4" y="43"/>
                    <a:pt x="4" y="44"/>
                    <a:pt x="4" y="44"/>
                  </a:cubicBezTo>
                  <a:cubicBezTo>
                    <a:pt x="3" y="44"/>
                    <a:pt x="2" y="44"/>
                    <a:pt x="1" y="44"/>
                  </a:cubicBezTo>
                  <a:cubicBezTo>
                    <a:pt x="1" y="44"/>
                    <a:pt x="1" y="45"/>
                    <a:pt x="1" y="45"/>
                  </a:cubicBezTo>
                  <a:cubicBezTo>
                    <a:pt x="1" y="45"/>
                    <a:pt x="0" y="45"/>
                    <a:pt x="0" y="45"/>
                  </a:cubicBezTo>
                  <a:cubicBezTo>
                    <a:pt x="0" y="46"/>
                    <a:pt x="1" y="46"/>
                    <a:pt x="1" y="46"/>
                  </a:cubicBezTo>
                  <a:cubicBezTo>
                    <a:pt x="1" y="46"/>
                    <a:pt x="1" y="46"/>
                    <a:pt x="1" y="46"/>
                  </a:cubicBezTo>
                  <a:cubicBezTo>
                    <a:pt x="2" y="46"/>
                    <a:pt x="3" y="46"/>
                    <a:pt x="4" y="47"/>
                  </a:cubicBezTo>
                  <a:cubicBezTo>
                    <a:pt x="4" y="47"/>
                    <a:pt x="4" y="48"/>
                    <a:pt x="4" y="48"/>
                  </a:cubicBezTo>
                  <a:cubicBezTo>
                    <a:pt x="3" y="49"/>
                    <a:pt x="2" y="49"/>
                    <a:pt x="1" y="49"/>
                  </a:cubicBezTo>
                  <a:cubicBezTo>
                    <a:pt x="1" y="49"/>
                    <a:pt x="1" y="49"/>
                    <a:pt x="1" y="49"/>
                  </a:cubicBezTo>
                  <a:cubicBezTo>
                    <a:pt x="1" y="50"/>
                    <a:pt x="1" y="50"/>
                    <a:pt x="1" y="50"/>
                  </a:cubicBezTo>
                  <a:cubicBezTo>
                    <a:pt x="1" y="50"/>
                    <a:pt x="1" y="50"/>
                    <a:pt x="1" y="51"/>
                  </a:cubicBezTo>
                  <a:cubicBezTo>
                    <a:pt x="1" y="51"/>
                    <a:pt x="1" y="51"/>
                    <a:pt x="2" y="51"/>
                  </a:cubicBezTo>
                  <a:cubicBezTo>
                    <a:pt x="2" y="51"/>
                    <a:pt x="3" y="51"/>
                    <a:pt x="4" y="51"/>
                  </a:cubicBezTo>
                  <a:cubicBezTo>
                    <a:pt x="5" y="52"/>
                    <a:pt x="5" y="52"/>
                    <a:pt x="5" y="53"/>
                  </a:cubicBezTo>
                  <a:cubicBezTo>
                    <a:pt x="3" y="53"/>
                    <a:pt x="2" y="53"/>
                    <a:pt x="2" y="54"/>
                  </a:cubicBezTo>
                  <a:cubicBezTo>
                    <a:pt x="2" y="54"/>
                    <a:pt x="2" y="54"/>
                    <a:pt x="2" y="54"/>
                  </a:cubicBezTo>
                  <a:cubicBezTo>
                    <a:pt x="1" y="54"/>
                    <a:pt x="1" y="54"/>
                    <a:pt x="1" y="55"/>
                  </a:cubicBezTo>
                  <a:cubicBezTo>
                    <a:pt x="1" y="55"/>
                    <a:pt x="2" y="55"/>
                    <a:pt x="2" y="55"/>
                  </a:cubicBezTo>
                  <a:cubicBezTo>
                    <a:pt x="2" y="55"/>
                    <a:pt x="2" y="55"/>
                    <a:pt x="2" y="55"/>
                  </a:cubicBezTo>
                  <a:cubicBezTo>
                    <a:pt x="3" y="55"/>
                    <a:pt x="4" y="55"/>
                    <a:pt x="5" y="55"/>
                  </a:cubicBezTo>
                  <a:cubicBezTo>
                    <a:pt x="5" y="56"/>
                    <a:pt x="6" y="56"/>
                    <a:pt x="6" y="57"/>
                  </a:cubicBezTo>
                  <a:cubicBezTo>
                    <a:pt x="5" y="57"/>
                    <a:pt x="3" y="58"/>
                    <a:pt x="3" y="58"/>
                  </a:cubicBezTo>
                  <a:cubicBezTo>
                    <a:pt x="3" y="58"/>
                    <a:pt x="3" y="58"/>
                    <a:pt x="3" y="59"/>
                  </a:cubicBezTo>
                  <a:cubicBezTo>
                    <a:pt x="3" y="59"/>
                    <a:pt x="3" y="59"/>
                    <a:pt x="3" y="59"/>
                  </a:cubicBezTo>
                  <a:cubicBezTo>
                    <a:pt x="3" y="59"/>
                    <a:pt x="3" y="60"/>
                    <a:pt x="3" y="60"/>
                  </a:cubicBezTo>
                  <a:cubicBezTo>
                    <a:pt x="3" y="60"/>
                    <a:pt x="3" y="60"/>
                    <a:pt x="4" y="60"/>
                  </a:cubicBezTo>
                  <a:cubicBezTo>
                    <a:pt x="4" y="60"/>
                    <a:pt x="5" y="60"/>
                    <a:pt x="6" y="59"/>
                  </a:cubicBezTo>
                  <a:cubicBezTo>
                    <a:pt x="7" y="60"/>
                    <a:pt x="7" y="60"/>
                    <a:pt x="7" y="61"/>
                  </a:cubicBezTo>
                  <a:cubicBezTo>
                    <a:pt x="6" y="62"/>
                    <a:pt x="5" y="62"/>
                    <a:pt x="5" y="62"/>
                  </a:cubicBezTo>
                  <a:cubicBezTo>
                    <a:pt x="5" y="63"/>
                    <a:pt x="4" y="63"/>
                    <a:pt x="4" y="63"/>
                  </a:cubicBezTo>
                  <a:cubicBezTo>
                    <a:pt x="4" y="63"/>
                    <a:pt x="4" y="63"/>
                    <a:pt x="4" y="64"/>
                  </a:cubicBezTo>
                  <a:cubicBezTo>
                    <a:pt x="4" y="64"/>
                    <a:pt x="5" y="64"/>
                    <a:pt x="5" y="64"/>
                  </a:cubicBezTo>
                  <a:cubicBezTo>
                    <a:pt x="5" y="64"/>
                    <a:pt x="5" y="64"/>
                    <a:pt x="5" y="64"/>
                  </a:cubicBezTo>
                  <a:cubicBezTo>
                    <a:pt x="6" y="64"/>
                    <a:pt x="7" y="64"/>
                    <a:pt x="8" y="63"/>
                  </a:cubicBezTo>
                  <a:cubicBezTo>
                    <a:pt x="8" y="64"/>
                    <a:pt x="9" y="64"/>
                    <a:pt x="9" y="65"/>
                  </a:cubicBezTo>
                  <a:cubicBezTo>
                    <a:pt x="8" y="66"/>
                    <a:pt x="7" y="66"/>
                    <a:pt x="7" y="67"/>
                  </a:cubicBezTo>
                  <a:cubicBezTo>
                    <a:pt x="6" y="67"/>
                    <a:pt x="6" y="67"/>
                    <a:pt x="6" y="67"/>
                  </a:cubicBezTo>
                  <a:cubicBezTo>
                    <a:pt x="6" y="67"/>
                    <a:pt x="6" y="68"/>
                    <a:pt x="6" y="68"/>
                  </a:cubicBezTo>
                  <a:cubicBezTo>
                    <a:pt x="7" y="68"/>
                    <a:pt x="7" y="68"/>
                    <a:pt x="7" y="68"/>
                  </a:cubicBezTo>
                  <a:cubicBezTo>
                    <a:pt x="7" y="68"/>
                    <a:pt x="7" y="68"/>
                    <a:pt x="8" y="68"/>
                  </a:cubicBezTo>
                  <a:cubicBezTo>
                    <a:pt x="8" y="68"/>
                    <a:pt x="9" y="68"/>
                    <a:pt x="10" y="67"/>
                  </a:cubicBezTo>
                  <a:cubicBezTo>
                    <a:pt x="10" y="68"/>
                    <a:pt x="11" y="68"/>
                    <a:pt x="11" y="69"/>
                  </a:cubicBezTo>
                  <a:cubicBezTo>
                    <a:pt x="10" y="69"/>
                    <a:pt x="9" y="70"/>
                    <a:pt x="9" y="70"/>
                  </a:cubicBezTo>
                  <a:cubicBezTo>
                    <a:pt x="9" y="71"/>
                    <a:pt x="9" y="71"/>
                    <a:pt x="9" y="71"/>
                  </a:cubicBezTo>
                  <a:cubicBezTo>
                    <a:pt x="9" y="71"/>
                    <a:pt x="9" y="72"/>
                    <a:pt x="9" y="72"/>
                  </a:cubicBezTo>
                  <a:cubicBezTo>
                    <a:pt x="9" y="72"/>
                    <a:pt x="9" y="72"/>
                    <a:pt x="10" y="72"/>
                  </a:cubicBezTo>
                  <a:cubicBezTo>
                    <a:pt x="10" y="72"/>
                    <a:pt x="10" y="72"/>
                    <a:pt x="10" y="72"/>
                  </a:cubicBezTo>
                  <a:cubicBezTo>
                    <a:pt x="10" y="72"/>
                    <a:pt x="12" y="71"/>
                    <a:pt x="13" y="71"/>
                  </a:cubicBezTo>
                  <a:cubicBezTo>
                    <a:pt x="13" y="71"/>
                    <a:pt x="13" y="72"/>
                    <a:pt x="14" y="72"/>
                  </a:cubicBezTo>
                  <a:cubicBezTo>
                    <a:pt x="13" y="73"/>
                    <a:pt x="12" y="74"/>
                    <a:pt x="12" y="74"/>
                  </a:cubicBezTo>
                  <a:cubicBezTo>
                    <a:pt x="12" y="74"/>
                    <a:pt x="12" y="75"/>
                    <a:pt x="12" y="75"/>
                  </a:cubicBezTo>
                  <a:cubicBezTo>
                    <a:pt x="12" y="75"/>
                    <a:pt x="12" y="75"/>
                    <a:pt x="12" y="75"/>
                  </a:cubicBezTo>
                  <a:cubicBezTo>
                    <a:pt x="12" y="76"/>
                    <a:pt x="12" y="76"/>
                    <a:pt x="13" y="76"/>
                  </a:cubicBezTo>
                  <a:cubicBezTo>
                    <a:pt x="13" y="76"/>
                    <a:pt x="13" y="76"/>
                    <a:pt x="13" y="76"/>
                  </a:cubicBezTo>
                  <a:cubicBezTo>
                    <a:pt x="13" y="75"/>
                    <a:pt x="14" y="75"/>
                    <a:pt x="15" y="74"/>
                  </a:cubicBezTo>
                  <a:cubicBezTo>
                    <a:pt x="16" y="74"/>
                    <a:pt x="16" y="75"/>
                    <a:pt x="17" y="75"/>
                  </a:cubicBezTo>
                  <a:cubicBezTo>
                    <a:pt x="16" y="76"/>
                    <a:pt x="15" y="77"/>
                    <a:pt x="15" y="77"/>
                  </a:cubicBezTo>
                  <a:cubicBezTo>
                    <a:pt x="15" y="78"/>
                    <a:pt x="15" y="78"/>
                    <a:pt x="15" y="78"/>
                  </a:cubicBezTo>
                  <a:cubicBezTo>
                    <a:pt x="15" y="78"/>
                    <a:pt x="15" y="79"/>
                    <a:pt x="15" y="79"/>
                  </a:cubicBezTo>
                  <a:cubicBezTo>
                    <a:pt x="15" y="79"/>
                    <a:pt x="16" y="79"/>
                    <a:pt x="16" y="79"/>
                  </a:cubicBezTo>
                  <a:cubicBezTo>
                    <a:pt x="16" y="79"/>
                    <a:pt x="16" y="79"/>
                    <a:pt x="17" y="79"/>
                  </a:cubicBezTo>
                  <a:cubicBezTo>
                    <a:pt x="17" y="79"/>
                    <a:pt x="18" y="78"/>
                    <a:pt x="19" y="77"/>
                  </a:cubicBezTo>
                  <a:cubicBezTo>
                    <a:pt x="19" y="77"/>
                    <a:pt x="19" y="78"/>
                    <a:pt x="20" y="78"/>
                  </a:cubicBezTo>
                  <a:cubicBezTo>
                    <a:pt x="19" y="79"/>
                    <a:pt x="19" y="80"/>
                    <a:pt x="19" y="80"/>
                  </a:cubicBezTo>
                  <a:cubicBezTo>
                    <a:pt x="18" y="81"/>
                    <a:pt x="18" y="81"/>
                    <a:pt x="18" y="81"/>
                  </a:cubicBezTo>
                  <a:cubicBezTo>
                    <a:pt x="19" y="81"/>
                    <a:pt x="19" y="81"/>
                    <a:pt x="19" y="82"/>
                  </a:cubicBezTo>
                  <a:cubicBezTo>
                    <a:pt x="19" y="82"/>
                    <a:pt x="19" y="82"/>
                    <a:pt x="20" y="82"/>
                  </a:cubicBezTo>
                  <a:cubicBezTo>
                    <a:pt x="20" y="82"/>
                    <a:pt x="20" y="82"/>
                    <a:pt x="20" y="81"/>
                  </a:cubicBezTo>
                  <a:cubicBezTo>
                    <a:pt x="20" y="81"/>
                    <a:pt x="21" y="80"/>
                    <a:pt x="22" y="79"/>
                  </a:cubicBezTo>
                  <a:cubicBezTo>
                    <a:pt x="22" y="80"/>
                    <a:pt x="23" y="80"/>
                    <a:pt x="24" y="80"/>
                  </a:cubicBezTo>
                  <a:cubicBezTo>
                    <a:pt x="23" y="81"/>
                    <a:pt x="22" y="83"/>
                    <a:pt x="22" y="83"/>
                  </a:cubicBezTo>
                  <a:cubicBezTo>
                    <a:pt x="22" y="83"/>
                    <a:pt x="22" y="83"/>
                    <a:pt x="22" y="84"/>
                  </a:cubicBezTo>
                  <a:cubicBezTo>
                    <a:pt x="22" y="84"/>
                    <a:pt x="23" y="84"/>
                    <a:pt x="23" y="84"/>
                  </a:cubicBezTo>
                  <a:cubicBezTo>
                    <a:pt x="23" y="84"/>
                    <a:pt x="23" y="84"/>
                    <a:pt x="23" y="84"/>
                  </a:cubicBezTo>
                  <a:cubicBezTo>
                    <a:pt x="24" y="84"/>
                    <a:pt x="24" y="84"/>
                    <a:pt x="24" y="84"/>
                  </a:cubicBezTo>
                  <a:cubicBezTo>
                    <a:pt x="24" y="84"/>
                    <a:pt x="25" y="83"/>
                    <a:pt x="26" y="82"/>
                  </a:cubicBezTo>
                  <a:cubicBezTo>
                    <a:pt x="26" y="82"/>
                    <a:pt x="27" y="82"/>
                    <a:pt x="27" y="83"/>
                  </a:cubicBezTo>
                  <a:cubicBezTo>
                    <a:pt x="27" y="84"/>
                    <a:pt x="27" y="85"/>
                    <a:pt x="26" y="85"/>
                  </a:cubicBezTo>
                  <a:cubicBezTo>
                    <a:pt x="26" y="85"/>
                    <a:pt x="26" y="86"/>
                    <a:pt x="26" y="86"/>
                  </a:cubicBezTo>
                  <a:cubicBezTo>
                    <a:pt x="27" y="86"/>
                    <a:pt x="27" y="86"/>
                    <a:pt x="27" y="86"/>
                  </a:cubicBezTo>
                  <a:cubicBezTo>
                    <a:pt x="27" y="86"/>
                    <a:pt x="27" y="86"/>
                    <a:pt x="28" y="86"/>
                  </a:cubicBezTo>
                  <a:cubicBezTo>
                    <a:pt x="28" y="86"/>
                    <a:pt x="28" y="86"/>
                    <a:pt x="28" y="86"/>
                  </a:cubicBezTo>
                  <a:cubicBezTo>
                    <a:pt x="28" y="86"/>
                    <a:pt x="29" y="85"/>
                    <a:pt x="30" y="84"/>
                  </a:cubicBezTo>
                  <a:cubicBezTo>
                    <a:pt x="30" y="84"/>
                    <a:pt x="31" y="84"/>
                    <a:pt x="31" y="84"/>
                  </a:cubicBezTo>
                  <a:cubicBezTo>
                    <a:pt x="31" y="85"/>
                    <a:pt x="31" y="87"/>
                    <a:pt x="31" y="87"/>
                  </a:cubicBezTo>
                  <a:cubicBezTo>
                    <a:pt x="31" y="87"/>
                    <a:pt x="31" y="87"/>
                    <a:pt x="31" y="88"/>
                  </a:cubicBezTo>
                  <a:cubicBezTo>
                    <a:pt x="31" y="88"/>
                    <a:pt x="31" y="88"/>
                    <a:pt x="31" y="88"/>
                  </a:cubicBezTo>
                  <a:cubicBezTo>
                    <a:pt x="32" y="88"/>
                    <a:pt x="32" y="88"/>
                    <a:pt x="32" y="88"/>
                  </a:cubicBezTo>
                  <a:cubicBezTo>
                    <a:pt x="32" y="88"/>
                    <a:pt x="32" y="88"/>
                    <a:pt x="33" y="88"/>
                  </a:cubicBezTo>
                  <a:cubicBezTo>
                    <a:pt x="33" y="87"/>
                    <a:pt x="33" y="86"/>
                    <a:pt x="34" y="85"/>
                  </a:cubicBezTo>
                  <a:cubicBezTo>
                    <a:pt x="34" y="85"/>
                    <a:pt x="35" y="85"/>
                    <a:pt x="35" y="85"/>
                  </a:cubicBezTo>
                  <a:cubicBezTo>
                    <a:pt x="35" y="87"/>
                    <a:pt x="35" y="88"/>
                    <a:pt x="35" y="88"/>
                  </a:cubicBezTo>
                  <a:cubicBezTo>
                    <a:pt x="35" y="88"/>
                    <a:pt x="35" y="89"/>
                    <a:pt x="35" y="89"/>
                  </a:cubicBezTo>
                  <a:cubicBezTo>
                    <a:pt x="35" y="89"/>
                    <a:pt x="36" y="89"/>
                    <a:pt x="36" y="89"/>
                  </a:cubicBezTo>
                  <a:cubicBezTo>
                    <a:pt x="36" y="89"/>
                    <a:pt x="36" y="89"/>
                    <a:pt x="37" y="89"/>
                  </a:cubicBezTo>
                  <a:cubicBezTo>
                    <a:pt x="37" y="89"/>
                    <a:pt x="37" y="89"/>
                    <a:pt x="37" y="89"/>
                  </a:cubicBezTo>
                  <a:cubicBezTo>
                    <a:pt x="37" y="88"/>
                    <a:pt x="37" y="87"/>
                    <a:pt x="38" y="86"/>
                  </a:cubicBezTo>
                  <a:cubicBezTo>
                    <a:pt x="38" y="86"/>
                    <a:pt x="39" y="86"/>
                    <a:pt x="40" y="86"/>
                  </a:cubicBezTo>
                  <a:cubicBezTo>
                    <a:pt x="40" y="87"/>
                    <a:pt x="40" y="89"/>
                    <a:pt x="40" y="89"/>
                  </a:cubicBezTo>
                  <a:cubicBezTo>
                    <a:pt x="40" y="89"/>
                    <a:pt x="40" y="89"/>
                    <a:pt x="40" y="90"/>
                  </a:cubicBezTo>
                  <a:cubicBezTo>
                    <a:pt x="40" y="90"/>
                    <a:pt x="40" y="90"/>
                    <a:pt x="41" y="90"/>
                  </a:cubicBezTo>
                  <a:cubicBezTo>
                    <a:pt x="41" y="90"/>
                    <a:pt x="41" y="90"/>
                    <a:pt x="41" y="90"/>
                  </a:cubicBezTo>
                  <a:cubicBezTo>
                    <a:pt x="41" y="90"/>
                    <a:pt x="42" y="89"/>
                    <a:pt x="42" y="89"/>
                  </a:cubicBezTo>
                  <a:cubicBezTo>
                    <a:pt x="42" y="89"/>
                    <a:pt x="42" y="88"/>
                    <a:pt x="42" y="87"/>
                  </a:cubicBezTo>
                  <a:cubicBezTo>
                    <a:pt x="43" y="87"/>
                    <a:pt x="43" y="87"/>
                    <a:pt x="44" y="87"/>
                  </a:cubicBezTo>
                  <a:cubicBezTo>
                    <a:pt x="44" y="88"/>
                    <a:pt x="44" y="89"/>
                    <a:pt x="44" y="89"/>
                  </a:cubicBezTo>
                  <a:cubicBezTo>
                    <a:pt x="44" y="90"/>
                    <a:pt x="44" y="90"/>
                    <a:pt x="45" y="90"/>
                  </a:cubicBezTo>
                  <a:cubicBezTo>
                    <a:pt x="45" y="90"/>
                    <a:pt x="45" y="90"/>
                    <a:pt x="45" y="90"/>
                  </a:cubicBezTo>
                  <a:cubicBezTo>
                    <a:pt x="45" y="90"/>
                    <a:pt x="46" y="90"/>
                    <a:pt x="46" y="90"/>
                  </a:cubicBezTo>
                  <a:cubicBezTo>
                    <a:pt x="46" y="90"/>
                    <a:pt x="46" y="90"/>
                    <a:pt x="46" y="89"/>
                  </a:cubicBezTo>
                  <a:cubicBezTo>
                    <a:pt x="46" y="89"/>
                    <a:pt x="46" y="88"/>
                    <a:pt x="46" y="87"/>
                  </a:cubicBezTo>
                  <a:cubicBezTo>
                    <a:pt x="47" y="87"/>
                    <a:pt x="48" y="87"/>
                    <a:pt x="48" y="87"/>
                  </a:cubicBezTo>
                  <a:cubicBezTo>
                    <a:pt x="49" y="88"/>
                    <a:pt x="49" y="89"/>
                    <a:pt x="49" y="89"/>
                  </a:cubicBezTo>
                  <a:cubicBezTo>
                    <a:pt x="49" y="89"/>
                    <a:pt x="49" y="90"/>
                    <a:pt x="49" y="90"/>
                  </a:cubicBezTo>
                  <a:cubicBezTo>
                    <a:pt x="49" y="90"/>
                    <a:pt x="50" y="90"/>
                    <a:pt x="50" y="90"/>
                  </a:cubicBezTo>
                  <a:cubicBezTo>
                    <a:pt x="50" y="90"/>
                    <a:pt x="50" y="90"/>
                    <a:pt x="50" y="90"/>
                  </a:cubicBezTo>
                  <a:cubicBezTo>
                    <a:pt x="51" y="89"/>
                    <a:pt x="51" y="89"/>
                    <a:pt x="51" y="89"/>
                  </a:cubicBezTo>
                  <a:cubicBezTo>
                    <a:pt x="51" y="89"/>
                    <a:pt x="51" y="87"/>
                    <a:pt x="51" y="86"/>
                  </a:cubicBezTo>
                  <a:cubicBezTo>
                    <a:pt x="51" y="86"/>
                    <a:pt x="52" y="86"/>
                    <a:pt x="53" y="86"/>
                  </a:cubicBezTo>
                  <a:cubicBezTo>
                    <a:pt x="53" y="87"/>
                    <a:pt x="53" y="88"/>
                    <a:pt x="53" y="89"/>
                  </a:cubicBezTo>
                  <a:cubicBezTo>
                    <a:pt x="53" y="89"/>
                    <a:pt x="54" y="89"/>
                    <a:pt x="54" y="89"/>
                  </a:cubicBezTo>
                  <a:cubicBezTo>
                    <a:pt x="54" y="89"/>
                    <a:pt x="54" y="89"/>
                    <a:pt x="54" y="89"/>
                  </a:cubicBezTo>
                  <a:cubicBezTo>
                    <a:pt x="55" y="89"/>
                    <a:pt x="55" y="89"/>
                    <a:pt x="55" y="89"/>
                  </a:cubicBezTo>
                  <a:cubicBezTo>
                    <a:pt x="55" y="89"/>
                    <a:pt x="55" y="88"/>
                    <a:pt x="55" y="88"/>
                  </a:cubicBezTo>
                  <a:cubicBezTo>
                    <a:pt x="55" y="88"/>
                    <a:pt x="55" y="87"/>
                    <a:pt x="55" y="85"/>
                  </a:cubicBezTo>
                  <a:cubicBezTo>
                    <a:pt x="56" y="85"/>
                    <a:pt x="56" y="85"/>
                    <a:pt x="57" y="85"/>
                  </a:cubicBezTo>
                  <a:cubicBezTo>
                    <a:pt x="57" y="86"/>
                    <a:pt x="58" y="87"/>
                    <a:pt x="58" y="88"/>
                  </a:cubicBezTo>
                  <a:cubicBezTo>
                    <a:pt x="58" y="88"/>
                    <a:pt x="58" y="88"/>
                    <a:pt x="58" y="88"/>
                  </a:cubicBezTo>
                  <a:cubicBezTo>
                    <a:pt x="59" y="88"/>
                    <a:pt x="59" y="88"/>
                    <a:pt x="59" y="88"/>
                  </a:cubicBezTo>
                  <a:cubicBezTo>
                    <a:pt x="59" y="88"/>
                    <a:pt x="59" y="88"/>
                    <a:pt x="60" y="88"/>
                  </a:cubicBezTo>
                  <a:cubicBezTo>
                    <a:pt x="60" y="87"/>
                    <a:pt x="60" y="87"/>
                    <a:pt x="60" y="87"/>
                  </a:cubicBezTo>
                  <a:cubicBezTo>
                    <a:pt x="60" y="87"/>
                    <a:pt x="59" y="85"/>
                    <a:pt x="59" y="84"/>
                  </a:cubicBezTo>
                  <a:cubicBezTo>
                    <a:pt x="60" y="84"/>
                    <a:pt x="60" y="84"/>
                    <a:pt x="61" y="84"/>
                  </a:cubicBezTo>
                  <a:cubicBezTo>
                    <a:pt x="61" y="85"/>
                    <a:pt x="62" y="86"/>
                    <a:pt x="62" y="86"/>
                  </a:cubicBezTo>
                  <a:cubicBezTo>
                    <a:pt x="62" y="86"/>
                    <a:pt x="62" y="86"/>
                    <a:pt x="63" y="86"/>
                  </a:cubicBezTo>
                  <a:cubicBezTo>
                    <a:pt x="63" y="86"/>
                    <a:pt x="63" y="86"/>
                    <a:pt x="63" y="86"/>
                  </a:cubicBezTo>
                  <a:cubicBezTo>
                    <a:pt x="64" y="86"/>
                    <a:pt x="64" y="86"/>
                    <a:pt x="64" y="86"/>
                  </a:cubicBezTo>
                  <a:cubicBezTo>
                    <a:pt x="64" y="86"/>
                    <a:pt x="64" y="85"/>
                    <a:pt x="64" y="85"/>
                  </a:cubicBezTo>
                  <a:cubicBezTo>
                    <a:pt x="64" y="85"/>
                    <a:pt x="63" y="84"/>
                    <a:pt x="63" y="83"/>
                  </a:cubicBezTo>
                  <a:cubicBezTo>
                    <a:pt x="64" y="82"/>
                    <a:pt x="64" y="82"/>
                    <a:pt x="65" y="82"/>
                  </a:cubicBezTo>
                  <a:cubicBezTo>
                    <a:pt x="65" y="83"/>
                    <a:pt x="66" y="84"/>
                    <a:pt x="66" y="84"/>
                  </a:cubicBezTo>
                  <a:cubicBezTo>
                    <a:pt x="66" y="84"/>
                    <a:pt x="67" y="84"/>
                    <a:pt x="67" y="84"/>
                  </a:cubicBezTo>
                  <a:cubicBezTo>
                    <a:pt x="67" y="84"/>
                    <a:pt x="67" y="84"/>
                    <a:pt x="68" y="84"/>
                  </a:cubicBezTo>
                  <a:cubicBezTo>
                    <a:pt x="68" y="84"/>
                    <a:pt x="68" y="84"/>
                    <a:pt x="68" y="84"/>
                  </a:cubicBezTo>
                  <a:cubicBezTo>
                    <a:pt x="68" y="83"/>
                    <a:pt x="68" y="83"/>
                    <a:pt x="68" y="83"/>
                  </a:cubicBezTo>
                  <a:cubicBezTo>
                    <a:pt x="68" y="83"/>
                    <a:pt x="67" y="81"/>
                    <a:pt x="67" y="80"/>
                  </a:cubicBezTo>
                  <a:cubicBezTo>
                    <a:pt x="67" y="80"/>
                    <a:pt x="68" y="80"/>
                    <a:pt x="68" y="79"/>
                  </a:cubicBezTo>
                  <a:cubicBezTo>
                    <a:pt x="69" y="80"/>
                    <a:pt x="70" y="81"/>
                    <a:pt x="70" y="81"/>
                  </a:cubicBezTo>
                  <a:cubicBezTo>
                    <a:pt x="70" y="82"/>
                    <a:pt x="71" y="82"/>
                    <a:pt x="71" y="82"/>
                  </a:cubicBezTo>
                  <a:cubicBezTo>
                    <a:pt x="71" y="82"/>
                    <a:pt x="71" y="82"/>
                    <a:pt x="71" y="82"/>
                  </a:cubicBezTo>
                  <a:cubicBezTo>
                    <a:pt x="72" y="81"/>
                    <a:pt x="72" y="81"/>
                    <a:pt x="72" y="81"/>
                  </a:cubicBezTo>
                  <a:cubicBezTo>
                    <a:pt x="72" y="81"/>
                    <a:pt x="72" y="81"/>
                    <a:pt x="72" y="80"/>
                  </a:cubicBezTo>
                  <a:cubicBezTo>
                    <a:pt x="72" y="80"/>
                    <a:pt x="71" y="79"/>
                    <a:pt x="70" y="78"/>
                  </a:cubicBezTo>
                  <a:cubicBezTo>
                    <a:pt x="71" y="78"/>
                    <a:pt x="71" y="77"/>
                    <a:pt x="72" y="77"/>
                  </a:cubicBezTo>
                  <a:cubicBezTo>
                    <a:pt x="73" y="78"/>
                    <a:pt x="74" y="79"/>
                    <a:pt x="74" y="79"/>
                  </a:cubicBezTo>
                  <a:cubicBezTo>
                    <a:pt x="74" y="79"/>
                    <a:pt x="74" y="79"/>
                    <a:pt x="74" y="79"/>
                  </a:cubicBezTo>
                  <a:cubicBezTo>
                    <a:pt x="75" y="79"/>
                    <a:pt x="75" y="79"/>
                    <a:pt x="75" y="79"/>
                  </a:cubicBezTo>
                  <a:cubicBezTo>
                    <a:pt x="75" y="79"/>
                    <a:pt x="75" y="78"/>
                    <a:pt x="75" y="78"/>
                  </a:cubicBezTo>
                  <a:cubicBezTo>
                    <a:pt x="75" y="78"/>
                    <a:pt x="75" y="78"/>
                    <a:pt x="75" y="77"/>
                  </a:cubicBezTo>
                  <a:cubicBezTo>
                    <a:pt x="75" y="77"/>
                    <a:pt x="74" y="76"/>
                    <a:pt x="74" y="75"/>
                  </a:cubicBezTo>
                  <a:cubicBezTo>
                    <a:pt x="74" y="75"/>
                    <a:pt x="75" y="74"/>
                    <a:pt x="75" y="74"/>
                  </a:cubicBezTo>
                  <a:cubicBezTo>
                    <a:pt x="76" y="75"/>
                    <a:pt x="77" y="75"/>
                    <a:pt x="77" y="76"/>
                  </a:cubicBezTo>
                  <a:cubicBezTo>
                    <a:pt x="77" y="76"/>
                    <a:pt x="78" y="76"/>
                    <a:pt x="78" y="76"/>
                  </a:cubicBezTo>
                  <a:cubicBezTo>
                    <a:pt x="78" y="76"/>
                    <a:pt x="78" y="76"/>
                    <a:pt x="78" y="75"/>
                  </a:cubicBezTo>
                  <a:cubicBezTo>
                    <a:pt x="79" y="75"/>
                    <a:pt x="79" y="75"/>
                    <a:pt x="79" y="75"/>
                  </a:cubicBezTo>
                  <a:cubicBezTo>
                    <a:pt x="79" y="75"/>
                    <a:pt x="79" y="74"/>
                    <a:pt x="78" y="74"/>
                  </a:cubicBezTo>
                  <a:cubicBezTo>
                    <a:pt x="78" y="74"/>
                    <a:pt x="77" y="73"/>
                    <a:pt x="77" y="72"/>
                  </a:cubicBezTo>
                  <a:cubicBezTo>
                    <a:pt x="77" y="72"/>
                    <a:pt x="77" y="71"/>
                    <a:pt x="78" y="71"/>
                  </a:cubicBezTo>
                  <a:cubicBezTo>
                    <a:pt x="79" y="71"/>
                    <a:pt x="80" y="72"/>
                    <a:pt x="80" y="72"/>
                  </a:cubicBezTo>
                  <a:cubicBezTo>
                    <a:pt x="80" y="72"/>
                    <a:pt x="81" y="72"/>
                    <a:pt x="81" y="72"/>
                  </a:cubicBezTo>
                  <a:cubicBezTo>
                    <a:pt x="81" y="72"/>
                    <a:pt x="81" y="72"/>
                    <a:pt x="81" y="72"/>
                  </a:cubicBezTo>
                  <a:cubicBezTo>
                    <a:pt x="82" y="72"/>
                    <a:pt x="82" y="71"/>
                    <a:pt x="82" y="71"/>
                  </a:cubicBezTo>
                  <a:cubicBezTo>
                    <a:pt x="82" y="71"/>
                    <a:pt x="81" y="71"/>
                    <a:pt x="81" y="70"/>
                  </a:cubicBezTo>
                  <a:cubicBezTo>
                    <a:pt x="81" y="70"/>
                    <a:pt x="80" y="69"/>
                    <a:pt x="79" y="69"/>
                  </a:cubicBezTo>
                  <a:cubicBezTo>
                    <a:pt x="80" y="68"/>
                    <a:pt x="80" y="68"/>
                    <a:pt x="80" y="67"/>
                  </a:cubicBezTo>
                  <a:cubicBezTo>
                    <a:pt x="81" y="68"/>
                    <a:pt x="82" y="68"/>
                    <a:pt x="83" y="68"/>
                  </a:cubicBezTo>
                  <a:cubicBezTo>
                    <a:pt x="83" y="68"/>
                    <a:pt x="83" y="68"/>
                    <a:pt x="83" y="68"/>
                  </a:cubicBezTo>
                  <a:cubicBezTo>
                    <a:pt x="84" y="68"/>
                    <a:pt x="84" y="68"/>
                    <a:pt x="84" y="68"/>
                  </a:cubicBezTo>
                  <a:cubicBezTo>
                    <a:pt x="84" y="68"/>
                    <a:pt x="84" y="67"/>
                    <a:pt x="84" y="67"/>
                  </a:cubicBezTo>
                  <a:cubicBezTo>
                    <a:pt x="84" y="67"/>
                    <a:pt x="84" y="67"/>
                    <a:pt x="84" y="67"/>
                  </a:cubicBezTo>
                  <a:cubicBezTo>
                    <a:pt x="83" y="66"/>
                    <a:pt x="82" y="66"/>
                    <a:pt x="81" y="65"/>
                  </a:cubicBezTo>
                  <a:cubicBezTo>
                    <a:pt x="82" y="64"/>
                    <a:pt x="82" y="64"/>
                    <a:pt x="82" y="63"/>
                  </a:cubicBezTo>
                  <a:cubicBezTo>
                    <a:pt x="83" y="64"/>
                    <a:pt x="85" y="64"/>
                    <a:pt x="85" y="64"/>
                  </a:cubicBezTo>
                  <a:cubicBezTo>
                    <a:pt x="85" y="64"/>
                    <a:pt x="85" y="64"/>
                    <a:pt x="86" y="64"/>
                  </a:cubicBezTo>
                  <a:cubicBezTo>
                    <a:pt x="86" y="64"/>
                    <a:pt x="86" y="64"/>
                    <a:pt x="86" y="64"/>
                  </a:cubicBezTo>
                  <a:cubicBezTo>
                    <a:pt x="86" y="63"/>
                    <a:pt x="86" y="63"/>
                    <a:pt x="86" y="63"/>
                  </a:cubicBezTo>
                  <a:cubicBezTo>
                    <a:pt x="86" y="63"/>
                    <a:pt x="86" y="63"/>
                    <a:pt x="86" y="62"/>
                  </a:cubicBezTo>
                  <a:cubicBezTo>
                    <a:pt x="85" y="62"/>
                    <a:pt x="84" y="62"/>
                    <a:pt x="83" y="61"/>
                  </a:cubicBezTo>
                  <a:cubicBezTo>
                    <a:pt x="83" y="60"/>
                    <a:pt x="84" y="60"/>
                    <a:pt x="84" y="59"/>
                  </a:cubicBezTo>
                  <a:cubicBezTo>
                    <a:pt x="85" y="60"/>
                    <a:pt x="86" y="60"/>
                    <a:pt x="87" y="60"/>
                  </a:cubicBezTo>
                  <a:cubicBezTo>
                    <a:pt x="87" y="60"/>
                    <a:pt x="87" y="60"/>
                    <a:pt x="87" y="60"/>
                  </a:cubicBezTo>
                  <a:cubicBezTo>
                    <a:pt x="87" y="60"/>
                    <a:pt x="88" y="59"/>
                    <a:pt x="88" y="59"/>
                  </a:cubicBezTo>
                  <a:cubicBezTo>
                    <a:pt x="88" y="59"/>
                    <a:pt x="88" y="59"/>
                    <a:pt x="88" y="59"/>
                  </a:cubicBezTo>
                  <a:cubicBezTo>
                    <a:pt x="88" y="58"/>
                    <a:pt x="87" y="58"/>
                    <a:pt x="87" y="58"/>
                  </a:cubicBezTo>
                  <a:cubicBezTo>
                    <a:pt x="87" y="58"/>
                    <a:pt x="86" y="57"/>
                    <a:pt x="85" y="57"/>
                  </a:cubicBezTo>
                  <a:cubicBezTo>
                    <a:pt x="85" y="56"/>
                    <a:pt x="85" y="56"/>
                    <a:pt x="85" y="55"/>
                  </a:cubicBezTo>
                  <a:cubicBezTo>
                    <a:pt x="86" y="55"/>
                    <a:pt x="88" y="55"/>
                    <a:pt x="88" y="55"/>
                  </a:cubicBezTo>
                  <a:cubicBezTo>
                    <a:pt x="88" y="55"/>
                    <a:pt x="88" y="55"/>
                    <a:pt x="89" y="55"/>
                  </a:cubicBezTo>
                  <a:cubicBezTo>
                    <a:pt x="89" y="55"/>
                    <a:pt x="89" y="55"/>
                    <a:pt x="89" y="55"/>
                  </a:cubicBezTo>
                  <a:cubicBezTo>
                    <a:pt x="89" y="54"/>
                    <a:pt x="89" y="54"/>
                    <a:pt x="89" y="54"/>
                  </a:cubicBezTo>
                  <a:cubicBezTo>
                    <a:pt x="89" y="54"/>
                    <a:pt x="89" y="54"/>
                    <a:pt x="88" y="54"/>
                  </a:cubicBezTo>
                  <a:cubicBezTo>
                    <a:pt x="88" y="53"/>
                    <a:pt x="87" y="53"/>
                    <a:pt x="86" y="53"/>
                  </a:cubicBezTo>
                  <a:cubicBezTo>
                    <a:pt x="86" y="52"/>
                    <a:pt x="86" y="52"/>
                    <a:pt x="86" y="51"/>
                  </a:cubicBezTo>
                  <a:cubicBezTo>
                    <a:pt x="87" y="51"/>
                    <a:pt x="89" y="51"/>
                    <a:pt x="89" y="51"/>
                  </a:cubicBezTo>
                  <a:cubicBezTo>
                    <a:pt x="89" y="51"/>
                    <a:pt x="89" y="51"/>
                    <a:pt x="89" y="51"/>
                  </a:cubicBezTo>
                  <a:cubicBezTo>
                    <a:pt x="90" y="50"/>
                    <a:pt x="90" y="50"/>
                    <a:pt x="90" y="50"/>
                  </a:cubicBezTo>
                  <a:cubicBezTo>
                    <a:pt x="90" y="50"/>
                    <a:pt x="90" y="50"/>
                    <a:pt x="90" y="49"/>
                  </a:cubicBezTo>
                  <a:cubicBezTo>
                    <a:pt x="89" y="49"/>
                    <a:pt x="89" y="49"/>
                    <a:pt x="89" y="49"/>
                  </a:cubicBezTo>
                  <a:cubicBezTo>
                    <a:pt x="89" y="49"/>
                    <a:pt x="87" y="49"/>
                    <a:pt x="86" y="48"/>
                  </a:cubicBezTo>
                  <a:cubicBezTo>
                    <a:pt x="86" y="48"/>
                    <a:pt x="86" y="47"/>
                    <a:pt x="86" y="47"/>
                  </a:cubicBezTo>
                  <a:cubicBezTo>
                    <a:pt x="88" y="46"/>
                    <a:pt x="89" y="46"/>
                    <a:pt x="89" y="46"/>
                  </a:cubicBezTo>
                  <a:close/>
                  <a:moveTo>
                    <a:pt x="45" y="81"/>
                  </a:moveTo>
                  <a:cubicBezTo>
                    <a:pt x="26" y="81"/>
                    <a:pt x="10" y="65"/>
                    <a:pt x="10" y="45"/>
                  </a:cubicBezTo>
                  <a:cubicBezTo>
                    <a:pt x="10" y="26"/>
                    <a:pt x="26" y="10"/>
                    <a:pt x="45" y="10"/>
                  </a:cubicBezTo>
                  <a:cubicBezTo>
                    <a:pt x="65" y="10"/>
                    <a:pt x="81" y="26"/>
                    <a:pt x="81" y="45"/>
                  </a:cubicBezTo>
                  <a:cubicBezTo>
                    <a:pt x="81" y="65"/>
                    <a:pt x="65" y="81"/>
                    <a:pt x="45" y="81"/>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36" name="Group 700">
              <a:extLst>
                <a:ext uri="{FF2B5EF4-FFF2-40B4-BE49-F238E27FC236}">
                  <a16:creationId xmlns:a16="http://schemas.microsoft.com/office/drawing/2014/main" id="{2B046CEC-9F18-4F8E-A760-2B580FACCBD2}"/>
                </a:ext>
              </a:extLst>
            </p:cNvPr>
            <p:cNvGrpSpPr>
              <a:grpSpLocks noChangeAspect="1"/>
            </p:cNvGrpSpPr>
            <p:nvPr/>
          </p:nvGrpSpPr>
          <p:grpSpPr bwMode="auto">
            <a:xfrm>
              <a:off x="1006921" y="2332620"/>
              <a:ext cx="177354" cy="172314"/>
              <a:chOff x="7411" y="2715"/>
              <a:chExt cx="176" cy="171"/>
            </a:xfrm>
            <a:solidFill>
              <a:srgbClr val="43B02A"/>
            </a:solidFill>
          </p:grpSpPr>
          <p:sp>
            <p:nvSpPr>
              <p:cNvPr id="237" name="Freeform 701">
                <a:extLst>
                  <a:ext uri="{FF2B5EF4-FFF2-40B4-BE49-F238E27FC236}">
                    <a16:creationId xmlns:a16="http://schemas.microsoft.com/office/drawing/2014/main" id="{98C24A5D-799A-4DDC-A75F-F0A67F8449A6}"/>
                  </a:ext>
                </a:extLst>
              </p:cNvPr>
              <p:cNvSpPr>
                <a:spLocks noEditPoints="1"/>
              </p:cNvSpPr>
              <p:nvPr/>
            </p:nvSpPr>
            <p:spPr bwMode="auto">
              <a:xfrm>
                <a:off x="7411" y="2715"/>
                <a:ext cx="106" cy="171"/>
              </a:xfrm>
              <a:custGeom>
                <a:avLst/>
                <a:gdLst>
                  <a:gd name="T0" fmla="*/ 153 w 160"/>
                  <a:gd name="T1" fmla="*/ 2 h 257"/>
                  <a:gd name="T2" fmla="*/ 142 w 160"/>
                  <a:gd name="T3" fmla="*/ 3 h 257"/>
                  <a:gd name="T4" fmla="*/ 60 w 160"/>
                  <a:gd name="T5" fmla="*/ 75 h 257"/>
                  <a:gd name="T6" fmla="*/ 10 w 160"/>
                  <a:gd name="T7" fmla="*/ 75 h 257"/>
                  <a:gd name="T8" fmla="*/ 0 w 160"/>
                  <a:gd name="T9" fmla="*/ 86 h 257"/>
                  <a:gd name="T10" fmla="*/ 0 w 160"/>
                  <a:gd name="T11" fmla="*/ 171 h 257"/>
                  <a:gd name="T12" fmla="*/ 10 w 160"/>
                  <a:gd name="T13" fmla="*/ 182 h 257"/>
                  <a:gd name="T14" fmla="*/ 60 w 160"/>
                  <a:gd name="T15" fmla="*/ 182 h 257"/>
                  <a:gd name="T16" fmla="*/ 142 w 160"/>
                  <a:gd name="T17" fmla="*/ 254 h 257"/>
                  <a:gd name="T18" fmla="*/ 149 w 160"/>
                  <a:gd name="T19" fmla="*/ 257 h 257"/>
                  <a:gd name="T20" fmla="*/ 153 w 160"/>
                  <a:gd name="T21" fmla="*/ 256 h 257"/>
                  <a:gd name="T22" fmla="*/ 160 w 160"/>
                  <a:gd name="T23" fmla="*/ 246 h 257"/>
                  <a:gd name="T24" fmla="*/ 160 w 160"/>
                  <a:gd name="T25" fmla="*/ 11 h 257"/>
                  <a:gd name="T26" fmla="*/ 153 w 160"/>
                  <a:gd name="T27" fmla="*/ 2 h 257"/>
                  <a:gd name="T28" fmla="*/ 138 w 160"/>
                  <a:gd name="T29" fmla="*/ 222 h 257"/>
                  <a:gd name="T30" fmla="*/ 71 w 160"/>
                  <a:gd name="T31" fmla="*/ 163 h 257"/>
                  <a:gd name="T32" fmla="*/ 64 w 160"/>
                  <a:gd name="T33" fmla="*/ 161 h 257"/>
                  <a:gd name="T34" fmla="*/ 21 w 160"/>
                  <a:gd name="T35" fmla="*/ 161 h 257"/>
                  <a:gd name="T36" fmla="*/ 21 w 160"/>
                  <a:gd name="T37" fmla="*/ 97 h 257"/>
                  <a:gd name="T38" fmla="*/ 64 w 160"/>
                  <a:gd name="T39" fmla="*/ 97 h 257"/>
                  <a:gd name="T40" fmla="*/ 71 w 160"/>
                  <a:gd name="T41" fmla="*/ 94 h 257"/>
                  <a:gd name="T42" fmla="*/ 138 w 160"/>
                  <a:gd name="T43" fmla="*/ 35 h 257"/>
                  <a:gd name="T44" fmla="*/ 138 w 160"/>
                  <a:gd name="T45" fmla="*/ 22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0" h="257">
                    <a:moveTo>
                      <a:pt x="153" y="2"/>
                    </a:moveTo>
                    <a:cubicBezTo>
                      <a:pt x="150" y="0"/>
                      <a:pt x="145" y="1"/>
                      <a:pt x="142" y="3"/>
                    </a:cubicBezTo>
                    <a:cubicBezTo>
                      <a:pt x="60" y="75"/>
                      <a:pt x="60" y="75"/>
                      <a:pt x="60" y="75"/>
                    </a:cubicBezTo>
                    <a:cubicBezTo>
                      <a:pt x="10" y="75"/>
                      <a:pt x="10" y="75"/>
                      <a:pt x="10" y="75"/>
                    </a:cubicBezTo>
                    <a:cubicBezTo>
                      <a:pt x="4" y="75"/>
                      <a:pt x="0" y="80"/>
                      <a:pt x="0" y="86"/>
                    </a:cubicBezTo>
                    <a:cubicBezTo>
                      <a:pt x="0" y="171"/>
                      <a:pt x="0" y="171"/>
                      <a:pt x="0" y="171"/>
                    </a:cubicBezTo>
                    <a:cubicBezTo>
                      <a:pt x="0" y="177"/>
                      <a:pt x="4" y="182"/>
                      <a:pt x="10" y="182"/>
                    </a:cubicBezTo>
                    <a:cubicBezTo>
                      <a:pt x="60" y="182"/>
                      <a:pt x="60" y="182"/>
                      <a:pt x="60" y="182"/>
                    </a:cubicBezTo>
                    <a:cubicBezTo>
                      <a:pt x="142" y="254"/>
                      <a:pt x="142" y="254"/>
                      <a:pt x="142" y="254"/>
                    </a:cubicBezTo>
                    <a:cubicBezTo>
                      <a:pt x="144" y="256"/>
                      <a:pt x="146" y="257"/>
                      <a:pt x="149" y="257"/>
                    </a:cubicBezTo>
                    <a:cubicBezTo>
                      <a:pt x="150" y="257"/>
                      <a:pt x="152" y="256"/>
                      <a:pt x="153" y="256"/>
                    </a:cubicBezTo>
                    <a:cubicBezTo>
                      <a:pt x="157" y="254"/>
                      <a:pt x="160" y="250"/>
                      <a:pt x="160" y="246"/>
                    </a:cubicBezTo>
                    <a:cubicBezTo>
                      <a:pt x="160" y="11"/>
                      <a:pt x="160" y="11"/>
                      <a:pt x="160" y="11"/>
                    </a:cubicBezTo>
                    <a:cubicBezTo>
                      <a:pt x="160" y="7"/>
                      <a:pt x="157" y="3"/>
                      <a:pt x="153" y="2"/>
                    </a:cubicBezTo>
                    <a:close/>
                    <a:moveTo>
                      <a:pt x="138" y="222"/>
                    </a:moveTo>
                    <a:cubicBezTo>
                      <a:pt x="71" y="163"/>
                      <a:pt x="71" y="163"/>
                      <a:pt x="71" y="163"/>
                    </a:cubicBezTo>
                    <a:cubicBezTo>
                      <a:pt x="69" y="162"/>
                      <a:pt x="66" y="161"/>
                      <a:pt x="64" y="161"/>
                    </a:cubicBezTo>
                    <a:cubicBezTo>
                      <a:pt x="21" y="161"/>
                      <a:pt x="21" y="161"/>
                      <a:pt x="21" y="161"/>
                    </a:cubicBezTo>
                    <a:cubicBezTo>
                      <a:pt x="21" y="97"/>
                      <a:pt x="21" y="97"/>
                      <a:pt x="21" y="97"/>
                    </a:cubicBezTo>
                    <a:cubicBezTo>
                      <a:pt x="64" y="97"/>
                      <a:pt x="64" y="97"/>
                      <a:pt x="64" y="97"/>
                    </a:cubicBezTo>
                    <a:cubicBezTo>
                      <a:pt x="66" y="97"/>
                      <a:pt x="69" y="96"/>
                      <a:pt x="71" y="94"/>
                    </a:cubicBezTo>
                    <a:cubicBezTo>
                      <a:pt x="138" y="35"/>
                      <a:pt x="138" y="35"/>
                      <a:pt x="138" y="35"/>
                    </a:cubicBezTo>
                    <a:lnTo>
                      <a:pt x="138" y="2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38" name="Freeform 702">
                <a:extLst>
                  <a:ext uri="{FF2B5EF4-FFF2-40B4-BE49-F238E27FC236}">
                    <a16:creationId xmlns:a16="http://schemas.microsoft.com/office/drawing/2014/main" id="{38D31180-9055-4BFA-B129-B6E28E355EF0}"/>
                  </a:ext>
                </a:extLst>
              </p:cNvPr>
              <p:cNvSpPr>
                <a:spLocks/>
              </p:cNvSpPr>
              <p:nvPr/>
            </p:nvSpPr>
            <p:spPr bwMode="auto">
              <a:xfrm>
                <a:off x="7532" y="2778"/>
                <a:ext cx="20" cy="44"/>
              </a:xfrm>
              <a:custGeom>
                <a:avLst/>
                <a:gdLst>
                  <a:gd name="T0" fmla="*/ 5 w 31"/>
                  <a:gd name="T1" fmla="*/ 4 h 66"/>
                  <a:gd name="T2" fmla="*/ 4 w 31"/>
                  <a:gd name="T3" fmla="*/ 19 h 66"/>
                  <a:gd name="T4" fmla="*/ 10 w 31"/>
                  <a:gd name="T5" fmla="*/ 34 h 66"/>
                  <a:gd name="T6" fmla="*/ 4 w 31"/>
                  <a:gd name="T7" fmla="*/ 48 h 66"/>
                  <a:gd name="T8" fmla="*/ 5 w 31"/>
                  <a:gd name="T9" fmla="*/ 63 h 66"/>
                  <a:gd name="T10" fmla="*/ 12 w 31"/>
                  <a:gd name="T11" fmla="*/ 66 h 66"/>
                  <a:gd name="T12" fmla="*/ 20 w 31"/>
                  <a:gd name="T13" fmla="*/ 62 h 66"/>
                  <a:gd name="T14" fmla="*/ 31 w 31"/>
                  <a:gd name="T15" fmla="*/ 34 h 66"/>
                  <a:gd name="T16" fmla="*/ 20 w 31"/>
                  <a:gd name="T17" fmla="*/ 5 h 66"/>
                  <a:gd name="T18" fmla="*/ 5 w 31"/>
                  <a:gd name="T19"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6">
                    <a:moveTo>
                      <a:pt x="5" y="4"/>
                    </a:moveTo>
                    <a:cubicBezTo>
                      <a:pt x="1" y="8"/>
                      <a:pt x="0" y="15"/>
                      <a:pt x="4" y="19"/>
                    </a:cubicBezTo>
                    <a:cubicBezTo>
                      <a:pt x="8" y="23"/>
                      <a:pt x="10" y="28"/>
                      <a:pt x="10" y="34"/>
                    </a:cubicBezTo>
                    <a:cubicBezTo>
                      <a:pt x="10" y="39"/>
                      <a:pt x="8" y="44"/>
                      <a:pt x="4" y="48"/>
                    </a:cubicBezTo>
                    <a:cubicBezTo>
                      <a:pt x="0" y="52"/>
                      <a:pt x="1" y="59"/>
                      <a:pt x="5" y="63"/>
                    </a:cubicBezTo>
                    <a:cubicBezTo>
                      <a:pt x="7" y="65"/>
                      <a:pt x="10" y="66"/>
                      <a:pt x="12" y="66"/>
                    </a:cubicBezTo>
                    <a:cubicBezTo>
                      <a:pt x="15" y="66"/>
                      <a:pt x="18" y="64"/>
                      <a:pt x="20" y="62"/>
                    </a:cubicBezTo>
                    <a:cubicBezTo>
                      <a:pt x="27" y="54"/>
                      <a:pt x="31" y="44"/>
                      <a:pt x="31" y="34"/>
                    </a:cubicBezTo>
                    <a:cubicBezTo>
                      <a:pt x="31" y="23"/>
                      <a:pt x="27" y="13"/>
                      <a:pt x="20" y="5"/>
                    </a:cubicBezTo>
                    <a:cubicBezTo>
                      <a:pt x="16" y="1"/>
                      <a:pt x="9" y="0"/>
                      <a:pt x="5"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sp>
            <p:nvSpPr>
              <p:cNvPr id="239" name="Freeform 703">
                <a:extLst>
                  <a:ext uri="{FF2B5EF4-FFF2-40B4-BE49-F238E27FC236}">
                    <a16:creationId xmlns:a16="http://schemas.microsoft.com/office/drawing/2014/main" id="{B8EC9CFE-3119-41B6-A908-F80D200546D1}"/>
                  </a:ext>
                </a:extLst>
              </p:cNvPr>
              <p:cNvSpPr>
                <a:spLocks/>
              </p:cNvSpPr>
              <p:nvPr/>
            </p:nvSpPr>
            <p:spPr bwMode="auto">
              <a:xfrm>
                <a:off x="7554" y="2751"/>
                <a:ext cx="33" cy="99"/>
              </a:xfrm>
              <a:custGeom>
                <a:avLst/>
                <a:gdLst>
                  <a:gd name="T0" fmla="*/ 19 w 51"/>
                  <a:gd name="T1" fmla="*/ 4 h 150"/>
                  <a:gd name="T2" fmla="*/ 4 w 51"/>
                  <a:gd name="T3" fmla="*/ 5 h 150"/>
                  <a:gd name="T4" fmla="*/ 5 w 51"/>
                  <a:gd name="T5" fmla="*/ 20 h 150"/>
                  <a:gd name="T6" fmla="*/ 30 w 51"/>
                  <a:gd name="T7" fmla="*/ 76 h 150"/>
                  <a:gd name="T8" fmla="*/ 5 w 51"/>
                  <a:gd name="T9" fmla="*/ 132 h 150"/>
                  <a:gd name="T10" fmla="*/ 4 w 51"/>
                  <a:gd name="T11" fmla="*/ 147 h 150"/>
                  <a:gd name="T12" fmla="*/ 12 w 51"/>
                  <a:gd name="T13" fmla="*/ 150 h 150"/>
                  <a:gd name="T14" fmla="*/ 19 w 51"/>
                  <a:gd name="T15" fmla="*/ 148 h 150"/>
                  <a:gd name="T16" fmla="*/ 51 w 51"/>
                  <a:gd name="T17" fmla="*/ 76 h 150"/>
                  <a:gd name="T18" fmla="*/ 19 w 51"/>
                  <a:gd name="T19" fmla="*/ 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50">
                    <a:moveTo>
                      <a:pt x="19" y="4"/>
                    </a:moveTo>
                    <a:cubicBezTo>
                      <a:pt x="14" y="0"/>
                      <a:pt x="8" y="0"/>
                      <a:pt x="4" y="5"/>
                    </a:cubicBezTo>
                    <a:cubicBezTo>
                      <a:pt x="0" y="9"/>
                      <a:pt x="0" y="16"/>
                      <a:pt x="5" y="20"/>
                    </a:cubicBezTo>
                    <a:cubicBezTo>
                      <a:pt x="21" y="34"/>
                      <a:pt x="30" y="54"/>
                      <a:pt x="30" y="76"/>
                    </a:cubicBezTo>
                    <a:cubicBezTo>
                      <a:pt x="30" y="97"/>
                      <a:pt x="21" y="117"/>
                      <a:pt x="5" y="132"/>
                    </a:cubicBezTo>
                    <a:cubicBezTo>
                      <a:pt x="0" y="136"/>
                      <a:pt x="0" y="142"/>
                      <a:pt x="4" y="147"/>
                    </a:cubicBezTo>
                    <a:cubicBezTo>
                      <a:pt x="6" y="149"/>
                      <a:pt x="9" y="150"/>
                      <a:pt x="12" y="150"/>
                    </a:cubicBezTo>
                    <a:cubicBezTo>
                      <a:pt x="14" y="150"/>
                      <a:pt x="17" y="149"/>
                      <a:pt x="19" y="148"/>
                    </a:cubicBezTo>
                    <a:cubicBezTo>
                      <a:pt x="39" y="129"/>
                      <a:pt x="51" y="103"/>
                      <a:pt x="51" y="76"/>
                    </a:cubicBezTo>
                    <a:cubicBezTo>
                      <a:pt x="51" y="48"/>
                      <a:pt x="39" y="22"/>
                      <a:pt x="19"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grpSp>
      <p:grpSp>
        <p:nvGrpSpPr>
          <p:cNvPr id="240" name="Group 239">
            <a:extLst>
              <a:ext uri="{FF2B5EF4-FFF2-40B4-BE49-F238E27FC236}">
                <a16:creationId xmlns:a16="http://schemas.microsoft.com/office/drawing/2014/main" id="{56CE325A-B8D1-4DFA-97C7-CCB502309108}"/>
              </a:ext>
            </a:extLst>
          </p:cNvPr>
          <p:cNvGrpSpPr/>
          <p:nvPr/>
        </p:nvGrpSpPr>
        <p:grpSpPr>
          <a:xfrm>
            <a:off x="9895352" y="1690117"/>
            <a:ext cx="358948" cy="361568"/>
            <a:chOff x="1132776" y="1700213"/>
            <a:chExt cx="358948" cy="361568"/>
          </a:xfrm>
        </p:grpSpPr>
        <p:sp>
          <p:nvSpPr>
            <p:cNvPr id="241" name="Freeform 18">
              <a:extLst>
                <a:ext uri="{FF2B5EF4-FFF2-40B4-BE49-F238E27FC236}">
                  <a16:creationId xmlns:a16="http://schemas.microsoft.com/office/drawing/2014/main" id="{2280D395-24BF-44AF-946C-85F35F94DE1D}"/>
                </a:ext>
              </a:extLst>
            </p:cNvPr>
            <p:cNvSpPr>
              <a:spLocks noEditPoints="1"/>
            </p:cNvSpPr>
            <p:nvPr/>
          </p:nvSpPr>
          <p:spPr bwMode="auto">
            <a:xfrm>
              <a:off x="1132776" y="1700213"/>
              <a:ext cx="358948" cy="361568"/>
            </a:xfrm>
            <a:custGeom>
              <a:avLst/>
              <a:gdLst>
                <a:gd name="T0" fmla="*/ 121 w 123"/>
                <a:gd name="T1" fmla="*/ 60 h 124"/>
                <a:gd name="T2" fmla="*/ 122 w 123"/>
                <a:gd name="T3" fmla="*/ 51 h 124"/>
                <a:gd name="T4" fmla="*/ 118 w 123"/>
                <a:gd name="T5" fmla="*/ 44 h 124"/>
                <a:gd name="T6" fmla="*/ 111 w 123"/>
                <a:gd name="T7" fmla="*/ 41 h 124"/>
                <a:gd name="T8" fmla="*/ 114 w 123"/>
                <a:gd name="T9" fmla="*/ 30 h 124"/>
                <a:gd name="T10" fmla="*/ 109 w 123"/>
                <a:gd name="T11" fmla="*/ 24 h 124"/>
                <a:gd name="T12" fmla="*/ 98 w 123"/>
                <a:gd name="T13" fmla="*/ 23 h 124"/>
                <a:gd name="T14" fmla="*/ 98 w 123"/>
                <a:gd name="T15" fmla="*/ 15 h 124"/>
                <a:gd name="T16" fmla="*/ 92 w 123"/>
                <a:gd name="T17" fmla="*/ 9 h 124"/>
                <a:gd name="T18" fmla="*/ 84 w 123"/>
                <a:gd name="T19" fmla="*/ 6 h 124"/>
                <a:gd name="T20" fmla="*/ 77 w 123"/>
                <a:gd name="T21" fmla="*/ 11 h 124"/>
                <a:gd name="T22" fmla="*/ 71 w 123"/>
                <a:gd name="T23" fmla="*/ 1 h 124"/>
                <a:gd name="T24" fmla="*/ 63 w 123"/>
                <a:gd name="T25" fmla="*/ 1 h 124"/>
                <a:gd name="T26" fmla="*/ 55 w 123"/>
                <a:gd name="T27" fmla="*/ 9 h 124"/>
                <a:gd name="T28" fmla="*/ 49 w 123"/>
                <a:gd name="T29" fmla="*/ 3 h 124"/>
                <a:gd name="T30" fmla="*/ 40 w 123"/>
                <a:gd name="T31" fmla="*/ 4 h 124"/>
                <a:gd name="T32" fmla="*/ 33 w 123"/>
                <a:gd name="T33" fmla="*/ 9 h 124"/>
                <a:gd name="T34" fmla="*/ 32 w 123"/>
                <a:gd name="T35" fmla="*/ 17 h 124"/>
                <a:gd name="T36" fmla="*/ 21 w 123"/>
                <a:gd name="T37" fmla="*/ 16 h 124"/>
                <a:gd name="T38" fmla="*/ 15 w 123"/>
                <a:gd name="T39" fmla="*/ 22 h 124"/>
                <a:gd name="T40" fmla="*/ 16 w 123"/>
                <a:gd name="T41" fmla="*/ 33 h 124"/>
                <a:gd name="T42" fmla="*/ 9 w 123"/>
                <a:gd name="T43" fmla="*/ 34 h 124"/>
                <a:gd name="T44" fmla="*/ 3 w 123"/>
                <a:gd name="T45" fmla="*/ 41 h 124"/>
                <a:gd name="T46" fmla="*/ 3 w 123"/>
                <a:gd name="T47" fmla="*/ 49 h 124"/>
                <a:gd name="T48" fmla="*/ 8 w 123"/>
                <a:gd name="T49" fmla="*/ 55 h 124"/>
                <a:gd name="T50" fmla="*/ 0 w 123"/>
                <a:gd name="T51" fmla="*/ 63 h 124"/>
                <a:gd name="T52" fmla="*/ 1 w 123"/>
                <a:gd name="T53" fmla="*/ 71 h 124"/>
                <a:gd name="T54" fmla="*/ 10 w 123"/>
                <a:gd name="T55" fmla="*/ 78 h 124"/>
                <a:gd name="T56" fmla="*/ 6 w 123"/>
                <a:gd name="T57" fmla="*/ 85 h 124"/>
                <a:gd name="T58" fmla="*/ 8 w 123"/>
                <a:gd name="T59" fmla="*/ 93 h 124"/>
                <a:gd name="T60" fmla="*/ 14 w 123"/>
                <a:gd name="T61" fmla="*/ 99 h 124"/>
                <a:gd name="T62" fmla="*/ 22 w 123"/>
                <a:gd name="T63" fmla="*/ 99 h 124"/>
                <a:gd name="T64" fmla="*/ 23 w 123"/>
                <a:gd name="T65" fmla="*/ 110 h 124"/>
                <a:gd name="T66" fmla="*/ 30 w 123"/>
                <a:gd name="T67" fmla="*/ 114 h 124"/>
                <a:gd name="T68" fmla="*/ 41 w 123"/>
                <a:gd name="T69" fmla="*/ 112 h 124"/>
                <a:gd name="T70" fmla="*/ 43 w 123"/>
                <a:gd name="T71" fmla="*/ 119 h 124"/>
                <a:gd name="T72" fmla="*/ 51 w 123"/>
                <a:gd name="T73" fmla="*/ 123 h 124"/>
                <a:gd name="T74" fmla="*/ 59 w 123"/>
                <a:gd name="T75" fmla="*/ 122 h 124"/>
                <a:gd name="T76" fmla="*/ 64 w 123"/>
                <a:gd name="T77" fmla="*/ 116 h 124"/>
                <a:gd name="T78" fmla="*/ 73 w 123"/>
                <a:gd name="T79" fmla="*/ 122 h 124"/>
                <a:gd name="T80" fmla="*/ 81 w 123"/>
                <a:gd name="T81" fmla="*/ 120 h 124"/>
                <a:gd name="T82" fmla="*/ 86 w 123"/>
                <a:gd name="T83" fmla="*/ 110 h 124"/>
                <a:gd name="T84" fmla="*/ 93 w 123"/>
                <a:gd name="T85" fmla="*/ 113 h 124"/>
                <a:gd name="T86" fmla="*/ 101 w 123"/>
                <a:gd name="T87" fmla="*/ 109 h 124"/>
                <a:gd name="T88" fmla="*/ 106 w 123"/>
                <a:gd name="T89" fmla="*/ 102 h 124"/>
                <a:gd name="T90" fmla="*/ 104 w 123"/>
                <a:gd name="T91" fmla="*/ 94 h 124"/>
                <a:gd name="T92" fmla="*/ 115 w 123"/>
                <a:gd name="T93" fmla="*/ 91 h 124"/>
                <a:gd name="T94" fmla="*/ 118 w 123"/>
                <a:gd name="T95" fmla="*/ 84 h 124"/>
                <a:gd name="T96" fmla="*/ 114 w 123"/>
                <a:gd name="T97" fmla="*/ 74 h 124"/>
                <a:gd name="T98" fmla="*/ 121 w 123"/>
                <a:gd name="T99" fmla="*/ 70 h 124"/>
                <a:gd name="T100" fmla="*/ 61 w 123"/>
                <a:gd name="T101" fmla="*/ 111 h 124"/>
                <a:gd name="T102" fmla="*/ 45 w 123"/>
                <a:gd name="T103" fmla="*/ 108 h 124"/>
                <a:gd name="T104" fmla="*/ 31 w 123"/>
                <a:gd name="T105" fmla="*/ 10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24">
                  <a:moveTo>
                    <a:pt x="121" y="64"/>
                  </a:moveTo>
                  <a:cubicBezTo>
                    <a:pt x="122" y="64"/>
                    <a:pt x="122" y="64"/>
                    <a:pt x="123" y="63"/>
                  </a:cubicBezTo>
                  <a:cubicBezTo>
                    <a:pt x="123" y="63"/>
                    <a:pt x="123" y="63"/>
                    <a:pt x="123" y="62"/>
                  </a:cubicBezTo>
                  <a:cubicBezTo>
                    <a:pt x="123" y="61"/>
                    <a:pt x="123" y="61"/>
                    <a:pt x="123" y="61"/>
                  </a:cubicBezTo>
                  <a:cubicBezTo>
                    <a:pt x="122" y="60"/>
                    <a:pt x="122" y="60"/>
                    <a:pt x="121" y="60"/>
                  </a:cubicBezTo>
                  <a:cubicBezTo>
                    <a:pt x="121" y="60"/>
                    <a:pt x="118" y="60"/>
                    <a:pt x="115" y="59"/>
                  </a:cubicBezTo>
                  <a:cubicBezTo>
                    <a:pt x="115" y="58"/>
                    <a:pt x="115" y="57"/>
                    <a:pt x="115" y="55"/>
                  </a:cubicBezTo>
                  <a:cubicBezTo>
                    <a:pt x="117" y="55"/>
                    <a:pt x="120" y="54"/>
                    <a:pt x="121" y="54"/>
                  </a:cubicBezTo>
                  <a:cubicBezTo>
                    <a:pt x="121" y="54"/>
                    <a:pt x="122" y="53"/>
                    <a:pt x="122" y="53"/>
                  </a:cubicBezTo>
                  <a:cubicBezTo>
                    <a:pt x="122" y="52"/>
                    <a:pt x="122" y="52"/>
                    <a:pt x="122" y="51"/>
                  </a:cubicBezTo>
                  <a:cubicBezTo>
                    <a:pt x="122" y="51"/>
                    <a:pt x="122" y="50"/>
                    <a:pt x="121" y="50"/>
                  </a:cubicBezTo>
                  <a:cubicBezTo>
                    <a:pt x="121" y="50"/>
                    <a:pt x="120" y="49"/>
                    <a:pt x="120" y="49"/>
                  </a:cubicBezTo>
                  <a:cubicBezTo>
                    <a:pt x="119" y="50"/>
                    <a:pt x="116" y="50"/>
                    <a:pt x="114" y="50"/>
                  </a:cubicBezTo>
                  <a:cubicBezTo>
                    <a:pt x="113" y="49"/>
                    <a:pt x="113" y="47"/>
                    <a:pt x="113" y="46"/>
                  </a:cubicBezTo>
                  <a:cubicBezTo>
                    <a:pt x="115" y="45"/>
                    <a:pt x="118" y="44"/>
                    <a:pt x="118" y="44"/>
                  </a:cubicBezTo>
                  <a:cubicBezTo>
                    <a:pt x="119" y="43"/>
                    <a:pt x="119" y="43"/>
                    <a:pt x="119" y="42"/>
                  </a:cubicBezTo>
                  <a:cubicBezTo>
                    <a:pt x="120" y="42"/>
                    <a:pt x="120" y="41"/>
                    <a:pt x="119" y="41"/>
                  </a:cubicBezTo>
                  <a:cubicBezTo>
                    <a:pt x="119" y="40"/>
                    <a:pt x="119" y="40"/>
                    <a:pt x="118" y="40"/>
                  </a:cubicBezTo>
                  <a:cubicBezTo>
                    <a:pt x="118" y="40"/>
                    <a:pt x="117" y="39"/>
                    <a:pt x="117" y="40"/>
                  </a:cubicBezTo>
                  <a:cubicBezTo>
                    <a:pt x="116" y="40"/>
                    <a:pt x="113" y="40"/>
                    <a:pt x="111" y="41"/>
                  </a:cubicBezTo>
                  <a:cubicBezTo>
                    <a:pt x="110" y="40"/>
                    <a:pt x="110" y="39"/>
                    <a:pt x="109" y="38"/>
                  </a:cubicBezTo>
                  <a:cubicBezTo>
                    <a:pt x="111" y="36"/>
                    <a:pt x="114" y="34"/>
                    <a:pt x="114" y="34"/>
                  </a:cubicBezTo>
                  <a:cubicBezTo>
                    <a:pt x="115" y="34"/>
                    <a:pt x="115" y="33"/>
                    <a:pt x="115" y="33"/>
                  </a:cubicBezTo>
                  <a:cubicBezTo>
                    <a:pt x="115" y="32"/>
                    <a:pt x="115" y="32"/>
                    <a:pt x="115" y="31"/>
                  </a:cubicBezTo>
                  <a:cubicBezTo>
                    <a:pt x="115" y="31"/>
                    <a:pt x="114" y="30"/>
                    <a:pt x="114" y="30"/>
                  </a:cubicBezTo>
                  <a:cubicBezTo>
                    <a:pt x="113" y="30"/>
                    <a:pt x="113" y="30"/>
                    <a:pt x="112" y="30"/>
                  </a:cubicBezTo>
                  <a:cubicBezTo>
                    <a:pt x="112" y="31"/>
                    <a:pt x="109" y="32"/>
                    <a:pt x="106" y="33"/>
                  </a:cubicBezTo>
                  <a:cubicBezTo>
                    <a:pt x="106" y="32"/>
                    <a:pt x="105" y="31"/>
                    <a:pt x="104" y="30"/>
                  </a:cubicBezTo>
                  <a:cubicBezTo>
                    <a:pt x="106" y="28"/>
                    <a:pt x="108" y="26"/>
                    <a:pt x="109" y="25"/>
                  </a:cubicBezTo>
                  <a:cubicBezTo>
                    <a:pt x="109" y="25"/>
                    <a:pt x="109" y="24"/>
                    <a:pt x="109" y="24"/>
                  </a:cubicBezTo>
                  <a:cubicBezTo>
                    <a:pt x="109" y="23"/>
                    <a:pt x="109" y="23"/>
                    <a:pt x="109" y="22"/>
                  </a:cubicBezTo>
                  <a:cubicBezTo>
                    <a:pt x="108" y="22"/>
                    <a:pt x="108" y="22"/>
                    <a:pt x="107" y="22"/>
                  </a:cubicBezTo>
                  <a:cubicBezTo>
                    <a:pt x="107" y="21"/>
                    <a:pt x="106" y="22"/>
                    <a:pt x="106" y="22"/>
                  </a:cubicBezTo>
                  <a:cubicBezTo>
                    <a:pt x="105" y="22"/>
                    <a:pt x="103" y="24"/>
                    <a:pt x="101" y="25"/>
                  </a:cubicBezTo>
                  <a:cubicBezTo>
                    <a:pt x="100" y="24"/>
                    <a:pt x="99" y="24"/>
                    <a:pt x="98" y="23"/>
                  </a:cubicBezTo>
                  <a:cubicBezTo>
                    <a:pt x="99" y="20"/>
                    <a:pt x="101" y="18"/>
                    <a:pt x="101" y="17"/>
                  </a:cubicBezTo>
                  <a:cubicBezTo>
                    <a:pt x="102" y="17"/>
                    <a:pt x="102" y="16"/>
                    <a:pt x="102" y="16"/>
                  </a:cubicBezTo>
                  <a:cubicBezTo>
                    <a:pt x="102" y="16"/>
                    <a:pt x="101" y="15"/>
                    <a:pt x="101" y="15"/>
                  </a:cubicBezTo>
                  <a:cubicBezTo>
                    <a:pt x="101" y="14"/>
                    <a:pt x="100" y="14"/>
                    <a:pt x="100" y="14"/>
                  </a:cubicBezTo>
                  <a:cubicBezTo>
                    <a:pt x="99" y="14"/>
                    <a:pt x="99" y="14"/>
                    <a:pt x="98" y="15"/>
                  </a:cubicBezTo>
                  <a:cubicBezTo>
                    <a:pt x="98" y="15"/>
                    <a:pt x="96" y="17"/>
                    <a:pt x="94" y="19"/>
                  </a:cubicBezTo>
                  <a:cubicBezTo>
                    <a:pt x="93" y="18"/>
                    <a:pt x="92" y="18"/>
                    <a:pt x="91" y="17"/>
                  </a:cubicBezTo>
                  <a:cubicBezTo>
                    <a:pt x="92" y="14"/>
                    <a:pt x="93" y="12"/>
                    <a:pt x="93" y="11"/>
                  </a:cubicBezTo>
                  <a:cubicBezTo>
                    <a:pt x="93" y="11"/>
                    <a:pt x="93" y="10"/>
                    <a:pt x="93" y="10"/>
                  </a:cubicBezTo>
                  <a:cubicBezTo>
                    <a:pt x="93" y="9"/>
                    <a:pt x="93" y="9"/>
                    <a:pt x="92" y="9"/>
                  </a:cubicBezTo>
                  <a:cubicBezTo>
                    <a:pt x="92" y="8"/>
                    <a:pt x="91" y="8"/>
                    <a:pt x="91" y="8"/>
                  </a:cubicBezTo>
                  <a:cubicBezTo>
                    <a:pt x="90" y="8"/>
                    <a:pt x="90" y="9"/>
                    <a:pt x="89" y="9"/>
                  </a:cubicBezTo>
                  <a:cubicBezTo>
                    <a:pt x="89" y="10"/>
                    <a:pt x="87" y="12"/>
                    <a:pt x="86" y="14"/>
                  </a:cubicBezTo>
                  <a:cubicBezTo>
                    <a:pt x="85" y="14"/>
                    <a:pt x="84" y="13"/>
                    <a:pt x="82" y="13"/>
                  </a:cubicBezTo>
                  <a:cubicBezTo>
                    <a:pt x="83" y="10"/>
                    <a:pt x="84" y="7"/>
                    <a:pt x="84" y="6"/>
                  </a:cubicBezTo>
                  <a:cubicBezTo>
                    <a:pt x="84" y="6"/>
                    <a:pt x="84" y="5"/>
                    <a:pt x="84" y="5"/>
                  </a:cubicBezTo>
                  <a:cubicBezTo>
                    <a:pt x="83" y="4"/>
                    <a:pt x="83" y="4"/>
                    <a:pt x="83" y="4"/>
                  </a:cubicBezTo>
                  <a:cubicBezTo>
                    <a:pt x="82" y="4"/>
                    <a:pt x="81" y="4"/>
                    <a:pt x="81" y="4"/>
                  </a:cubicBezTo>
                  <a:cubicBezTo>
                    <a:pt x="81" y="4"/>
                    <a:pt x="80" y="4"/>
                    <a:pt x="80" y="5"/>
                  </a:cubicBezTo>
                  <a:cubicBezTo>
                    <a:pt x="80" y="5"/>
                    <a:pt x="78" y="8"/>
                    <a:pt x="77" y="11"/>
                  </a:cubicBezTo>
                  <a:cubicBezTo>
                    <a:pt x="76" y="10"/>
                    <a:pt x="75" y="10"/>
                    <a:pt x="73" y="10"/>
                  </a:cubicBezTo>
                  <a:cubicBezTo>
                    <a:pt x="74" y="7"/>
                    <a:pt x="74" y="4"/>
                    <a:pt x="74" y="3"/>
                  </a:cubicBezTo>
                  <a:cubicBezTo>
                    <a:pt x="74" y="3"/>
                    <a:pt x="74" y="2"/>
                    <a:pt x="73" y="2"/>
                  </a:cubicBezTo>
                  <a:cubicBezTo>
                    <a:pt x="73" y="2"/>
                    <a:pt x="73" y="1"/>
                    <a:pt x="72" y="1"/>
                  </a:cubicBezTo>
                  <a:cubicBezTo>
                    <a:pt x="72" y="1"/>
                    <a:pt x="71" y="1"/>
                    <a:pt x="71" y="1"/>
                  </a:cubicBezTo>
                  <a:cubicBezTo>
                    <a:pt x="70" y="2"/>
                    <a:pt x="70" y="2"/>
                    <a:pt x="70" y="3"/>
                  </a:cubicBezTo>
                  <a:cubicBezTo>
                    <a:pt x="70" y="3"/>
                    <a:pt x="69" y="6"/>
                    <a:pt x="68" y="9"/>
                  </a:cubicBezTo>
                  <a:cubicBezTo>
                    <a:pt x="67" y="9"/>
                    <a:pt x="65" y="8"/>
                    <a:pt x="64" y="8"/>
                  </a:cubicBezTo>
                  <a:cubicBezTo>
                    <a:pt x="64" y="6"/>
                    <a:pt x="64" y="3"/>
                    <a:pt x="64" y="2"/>
                  </a:cubicBezTo>
                  <a:cubicBezTo>
                    <a:pt x="64" y="2"/>
                    <a:pt x="63" y="1"/>
                    <a:pt x="63" y="1"/>
                  </a:cubicBezTo>
                  <a:cubicBezTo>
                    <a:pt x="62" y="0"/>
                    <a:pt x="62" y="0"/>
                    <a:pt x="61" y="0"/>
                  </a:cubicBezTo>
                  <a:cubicBezTo>
                    <a:pt x="61" y="0"/>
                    <a:pt x="60" y="0"/>
                    <a:pt x="60" y="1"/>
                  </a:cubicBezTo>
                  <a:cubicBezTo>
                    <a:pt x="60" y="1"/>
                    <a:pt x="59" y="2"/>
                    <a:pt x="59" y="2"/>
                  </a:cubicBezTo>
                  <a:cubicBezTo>
                    <a:pt x="59" y="3"/>
                    <a:pt x="59" y="6"/>
                    <a:pt x="59" y="8"/>
                  </a:cubicBezTo>
                  <a:cubicBezTo>
                    <a:pt x="57" y="8"/>
                    <a:pt x="56" y="9"/>
                    <a:pt x="55" y="9"/>
                  </a:cubicBezTo>
                  <a:cubicBezTo>
                    <a:pt x="54" y="6"/>
                    <a:pt x="53" y="3"/>
                    <a:pt x="53" y="3"/>
                  </a:cubicBezTo>
                  <a:cubicBezTo>
                    <a:pt x="53" y="2"/>
                    <a:pt x="53" y="2"/>
                    <a:pt x="52" y="1"/>
                  </a:cubicBezTo>
                  <a:cubicBezTo>
                    <a:pt x="52" y="1"/>
                    <a:pt x="51" y="1"/>
                    <a:pt x="51" y="1"/>
                  </a:cubicBezTo>
                  <a:cubicBezTo>
                    <a:pt x="50" y="1"/>
                    <a:pt x="50" y="2"/>
                    <a:pt x="49" y="2"/>
                  </a:cubicBezTo>
                  <a:cubicBezTo>
                    <a:pt x="49" y="2"/>
                    <a:pt x="49" y="3"/>
                    <a:pt x="49" y="3"/>
                  </a:cubicBezTo>
                  <a:cubicBezTo>
                    <a:pt x="49" y="4"/>
                    <a:pt x="49" y="7"/>
                    <a:pt x="49" y="10"/>
                  </a:cubicBezTo>
                  <a:cubicBezTo>
                    <a:pt x="48" y="10"/>
                    <a:pt x="47" y="10"/>
                    <a:pt x="46" y="11"/>
                  </a:cubicBezTo>
                  <a:cubicBezTo>
                    <a:pt x="44" y="8"/>
                    <a:pt x="43" y="5"/>
                    <a:pt x="43" y="5"/>
                  </a:cubicBezTo>
                  <a:cubicBezTo>
                    <a:pt x="43" y="4"/>
                    <a:pt x="42" y="4"/>
                    <a:pt x="42" y="4"/>
                  </a:cubicBezTo>
                  <a:cubicBezTo>
                    <a:pt x="41" y="4"/>
                    <a:pt x="41" y="4"/>
                    <a:pt x="40" y="4"/>
                  </a:cubicBezTo>
                  <a:cubicBezTo>
                    <a:pt x="40" y="4"/>
                    <a:pt x="39" y="4"/>
                    <a:pt x="39" y="5"/>
                  </a:cubicBezTo>
                  <a:cubicBezTo>
                    <a:pt x="39" y="5"/>
                    <a:pt x="39" y="6"/>
                    <a:pt x="39" y="6"/>
                  </a:cubicBezTo>
                  <a:cubicBezTo>
                    <a:pt x="39" y="7"/>
                    <a:pt x="40" y="10"/>
                    <a:pt x="41" y="13"/>
                  </a:cubicBezTo>
                  <a:cubicBezTo>
                    <a:pt x="39" y="13"/>
                    <a:pt x="38" y="14"/>
                    <a:pt x="37" y="14"/>
                  </a:cubicBezTo>
                  <a:cubicBezTo>
                    <a:pt x="35" y="12"/>
                    <a:pt x="34" y="10"/>
                    <a:pt x="33" y="9"/>
                  </a:cubicBezTo>
                  <a:cubicBezTo>
                    <a:pt x="33" y="9"/>
                    <a:pt x="33" y="8"/>
                    <a:pt x="32" y="8"/>
                  </a:cubicBezTo>
                  <a:cubicBezTo>
                    <a:pt x="32" y="8"/>
                    <a:pt x="31" y="8"/>
                    <a:pt x="31" y="9"/>
                  </a:cubicBezTo>
                  <a:cubicBezTo>
                    <a:pt x="30" y="9"/>
                    <a:pt x="30" y="9"/>
                    <a:pt x="30" y="10"/>
                  </a:cubicBezTo>
                  <a:cubicBezTo>
                    <a:pt x="29" y="10"/>
                    <a:pt x="29" y="11"/>
                    <a:pt x="30" y="11"/>
                  </a:cubicBezTo>
                  <a:cubicBezTo>
                    <a:pt x="30" y="12"/>
                    <a:pt x="31" y="14"/>
                    <a:pt x="32" y="17"/>
                  </a:cubicBezTo>
                  <a:cubicBezTo>
                    <a:pt x="31" y="18"/>
                    <a:pt x="30" y="18"/>
                    <a:pt x="29" y="19"/>
                  </a:cubicBezTo>
                  <a:cubicBezTo>
                    <a:pt x="27" y="17"/>
                    <a:pt x="25" y="15"/>
                    <a:pt x="25" y="15"/>
                  </a:cubicBezTo>
                  <a:cubicBezTo>
                    <a:pt x="24" y="14"/>
                    <a:pt x="24" y="14"/>
                    <a:pt x="23" y="14"/>
                  </a:cubicBezTo>
                  <a:cubicBezTo>
                    <a:pt x="23" y="14"/>
                    <a:pt x="22" y="14"/>
                    <a:pt x="22" y="15"/>
                  </a:cubicBezTo>
                  <a:cubicBezTo>
                    <a:pt x="21" y="15"/>
                    <a:pt x="21" y="16"/>
                    <a:pt x="21" y="16"/>
                  </a:cubicBezTo>
                  <a:cubicBezTo>
                    <a:pt x="21" y="16"/>
                    <a:pt x="21" y="17"/>
                    <a:pt x="21" y="17"/>
                  </a:cubicBezTo>
                  <a:cubicBezTo>
                    <a:pt x="22" y="18"/>
                    <a:pt x="23" y="20"/>
                    <a:pt x="25" y="23"/>
                  </a:cubicBezTo>
                  <a:cubicBezTo>
                    <a:pt x="24" y="24"/>
                    <a:pt x="23" y="24"/>
                    <a:pt x="22" y="25"/>
                  </a:cubicBezTo>
                  <a:cubicBezTo>
                    <a:pt x="20" y="24"/>
                    <a:pt x="17" y="22"/>
                    <a:pt x="17" y="22"/>
                  </a:cubicBezTo>
                  <a:cubicBezTo>
                    <a:pt x="16" y="22"/>
                    <a:pt x="16" y="21"/>
                    <a:pt x="15" y="22"/>
                  </a:cubicBezTo>
                  <a:cubicBezTo>
                    <a:pt x="15" y="22"/>
                    <a:pt x="14" y="22"/>
                    <a:pt x="14" y="22"/>
                  </a:cubicBezTo>
                  <a:cubicBezTo>
                    <a:pt x="14" y="23"/>
                    <a:pt x="14" y="23"/>
                    <a:pt x="14" y="24"/>
                  </a:cubicBezTo>
                  <a:cubicBezTo>
                    <a:pt x="14" y="24"/>
                    <a:pt x="14" y="25"/>
                    <a:pt x="14" y="25"/>
                  </a:cubicBezTo>
                  <a:cubicBezTo>
                    <a:pt x="15" y="26"/>
                    <a:pt x="17" y="28"/>
                    <a:pt x="19" y="30"/>
                  </a:cubicBezTo>
                  <a:cubicBezTo>
                    <a:pt x="18" y="31"/>
                    <a:pt x="17" y="32"/>
                    <a:pt x="16" y="33"/>
                  </a:cubicBezTo>
                  <a:cubicBezTo>
                    <a:pt x="14" y="32"/>
                    <a:pt x="11" y="31"/>
                    <a:pt x="11" y="30"/>
                  </a:cubicBezTo>
                  <a:cubicBezTo>
                    <a:pt x="10" y="30"/>
                    <a:pt x="10" y="30"/>
                    <a:pt x="9" y="30"/>
                  </a:cubicBezTo>
                  <a:cubicBezTo>
                    <a:pt x="9" y="30"/>
                    <a:pt x="8" y="31"/>
                    <a:pt x="8" y="31"/>
                  </a:cubicBezTo>
                  <a:cubicBezTo>
                    <a:pt x="8" y="32"/>
                    <a:pt x="8" y="32"/>
                    <a:pt x="8" y="33"/>
                  </a:cubicBezTo>
                  <a:cubicBezTo>
                    <a:pt x="8" y="33"/>
                    <a:pt x="8" y="34"/>
                    <a:pt x="9" y="34"/>
                  </a:cubicBezTo>
                  <a:cubicBezTo>
                    <a:pt x="9" y="34"/>
                    <a:pt x="11" y="36"/>
                    <a:pt x="14" y="38"/>
                  </a:cubicBezTo>
                  <a:cubicBezTo>
                    <a:pt x="13" y="39"/>
                    <a:pt x="12" y="40"/>
                    <a:pt x="12" y="41"/>
                  </a:cubicBezTo>
                  <a:cubicBezTo>
                    <a:pt x="9" y="40"/>
                    <a:pt x="6" y="40"/>
                    <a:pt x="6" y="40"/>
                  </a:cubicBezTo>
                  <a:cubicBezTo>
                    <a:pt x="5" y="39"/>
                    <a:pt x="5" y="40"/>
                    <a:pt x="4" y="40"/>
                  </a:cubicBezTo>
                  <a:cubicBezTo>
                    <a:pt x="4" y="40"/>
                    <a:pt x="4" y="40"/>
                    <a:pt x="3" y="41"/>
                  </a:cubicBezTo>
                  <a:cubicBezTo>
                    <a:pt x="3" y="41"/>
                    <a:pt x="3" y="42"/>
                    <a:pt x="3" y="42"/>
                  </a:cubicBezTo>
                  <a:cubicBezTo>
                    <a:pt x="4" y="43"/>
                    <a:pt x="4" y="43"/>
                    <a:pt x="4" y="44"/>
                  </a:cubicBezTo>
                  <a:cubicBezTo>
                    <a:pt x="5" y="44"/>
                    <a:pt x="8" y="45"/>
                    <a:pt x="10" y="46"/>
                  </a:cubicBezTo>
                  <a:cubicBezTo>
                    <a:pt x="10" y="47"/>
                    <a:pt x="9" y="49"/>
                    <a:pt x="9" y="50"/>
                  </a:cubicBezTo>
                  <a:cubicBezTo>
                    <a:pt x="6" y="50"/>
                    <a:pt x="3" y="50"/>
                    <a:pt x="3" y="49"/>
                  </a:cubicBezTo>
                  <a:cubicBezTo>
                    <a:pt x="2" y="49"/>
                    <a:pt x="2" y="50"/>
                    <a:pt x="1" y="50"/>
                  </a:cubicBezTo>
                  <a:cubicBezTo>
                    <a:pt x="1" y="50"/>
                    <a:pt x="1" y="51"/>
                    <a:pt x="1" y="51"/>
                  </a:cubicBezTo>
                  <a:cubicBezTo>
                    <a:pt x="1" y="52"/>
                    <a:pt x="1" y="52"/>
                    <a:pt x="1" y="53"/>
                  </a:cubicBezTo>
                  <a:cubicBezTo>
                    <a:pt x="1" y="53"/>
                    <a:pt x="2" y="54"/>
                    <a:pt x="2" y="54"/>
                  </a:cubicBezTo>
                  <a:cubicBezTo>
                    <a:pt x="3" y="54"/>
                    <a:pt x="6" y="55"/>
                    <a:pt x="8" y="55"/>
                  </a:cubicBezTo>
                  <a:cubicBezTo>
                    <a:pt x="8" y="57"/>
                    <a:pt x="8" y="58"/>
                    <a:pt x="8" y="59"/>
                  </a:cubicBezTo>
                  <a:cubicBezTo>
                    <a:pt x="5" y="60"/>
                    <a:pt x="2" y="60"/>
                    <a:pt x="2" y="60"/>
                  </a:cubicBezTo>
                  <a:cubicBezTo>
                    <a:pt x="1" y="60"/>
                    <a:pt x="1" y="60"/>
                    <a:pt x="0" y="61"/>
                  </a:cubicBezTo>
                  <a:cubicBezTo>
                    <a:pt x="0" y="61"/>
                    <a:pt x="0" y="61"/>
                    <a:pt x="0" y="62"/>
                  </a:cubicBezTo>
                  <a:cubicBezTo>
                    <a:pt x="0" y="63"/>
                    <a:pt x="0" y="63"/>
                    <a:pt x="0" y="63"/>
                  </a:cubicBezTo>
                  <a:cubicBezTo>
                    <a:pt x="1" y="64"/>
                    <a:pt x="1" y="64"/>
                    <a:pt x="2" y="64"/>
                  </a:cubicBezTo>
                  <a:cubicBezTo>
                    <a:pt x="2" y="64"/>
                    <a:pt x="5" y="64"/>
                    <a:pt x="8" y="65"/>
                  </a:cubicBezTo>
                  <a:cubicBezTo>
                    <a:pt x="8" y="66"/>
                    <a:pt x="8" y="67"/>
                    <a:pt x="8" y="69"/>
                  </a:cubicBezTo>
                  <a:cubicBezTo>
                    <a:pt x="6" y="69"/>
                    <a:pt x="3" y="70"/>
                    <a:pt x="2" y="70"/>
                  </a:cubicBezTo>
                  <a:cubicBezTo>
                    <a:pt x="2" y="71"/>
                    <a:pt x="1" y="71"/>
                    <a:pt x="1" y="71"/>
                  </a:cubicBezTo>
                  <a:cubicBezTo>
                    <a:pt x="1" y="72"/>
                    <a:pt x="1" y="72"/>
                    <a:pt x="1" y="73"/>
                  </a:cubicBezTo>
                  <a:cubicBezTo>
                    <a:pt x="1" y="73"/>
                    <a:pt x="1" y="74"/>
                    <a:pt x="1" y="74"/>
                  </a:cubicBezTo>
                  <a:cubicBezTo>
                    <a:pt x="2" y="74"/>
                    <a:pt x="2" y="75"/>
                    <a:pt x="3" y="75"/>
                  </a:cubicBezTo>
                  <a:cubicBezTo>
                    <a:pt x="3" y="75"/>
                    <a:pt x="6" y="74"/>
                    <a:pt x="9" y="74"/>
                  </a:cubicBezTo>
                  <a:cubicBezTo>
                    <a:pt x="9" y="75"/>
                    <a:pt x="10" y="77"/>
                    <a:pt x="10" y="78"/>
                  </a:cubicBezTo>
                  <a:cubicBezTo>
                    <a:pt x="8" y="79"/>
                    <a:pt x="5" y="80"/>
                    <a:pt x="4" y="81"/>
                  </a:cubicBezTo>
                  <a:cubicBezTo>
                    <a:pt x="4" y="81"/>
                    <a:pt x="4" y="81"/>
                    <a:pt x="3" y="82"/>
                  </a:cubicBezTo>
                  <a:cubicBezTo>
                    <a:pt x="3" y="82"/>
                    <a:pt x="3" y="83"/>
                    <a:pt x="3" y="83"/>
                  </a:cubicBezTo>
                  <a:cubicBezTo>
                    <a:pt x="4" y="84"/>
                    <a:pt x="4" y="84"/>
                    <a:pt x="4" y="84"/>
                  </a:cubicBezTo>
                  <a:cubicBezTo>
                    <a:pt x="5" y="85"/>
                    <a:pt x="5" y="85"/>
                    <a:pt x="6" y="85"/>
                  </a:cubicBezTo>
                  <a:cubicBezTo>
                    <a:pt x="6" y="84"/>
                    <a:pt x="9" y="84"/>
                    <a:pt x="12" y="83"/>
                  </a:cubicBezTo>
                  <a:cubicBezTo>
                    <a:pt x="12" y="84"/>
                    <a:pt x="13" y="85"/>
                    <a:pt x="14" y="87"/>
                  </a:cubicBezTo>
                  <a:cubicBezTo>
                    <a:pt x="11" y="88"/>
                    <a:pt x="9" y="90"/>
                    <a:pt x="9" y="90"/>
                  </a:cubicBezTo>
                  <a:cubicBezTo>
                    <a:pt x="8" y="90"/>
                    <a:pt x="8" y="91"/>
                    <a:pt x="8" y="91"/>
                  </a:cubicBezTo>
                  <a:cubicBezTo>
                    <a:pt x="8" y="92"/>
                    <a:pt x="8" y="92"/>
                    <a:pt x="8" y="93"/>
                  </a:cubicBezTo>
                  <a:cubicBezTo>
                    <a:pt x="8" y="93"/>
                    <a:pt x="9" y="94"/>
                    <a:pt x="9" y="94"/>
                  </a:cubicBezTo>
                  <a:cubicBezTo>
                    <a:pt x="10" y="94"/>
                    <a:pt x="10" y="94"/>
                    <a:pt x="11" y="94"/>
                  </a:cubicBezTo>
                  <a:cubicBezTo>
                    <a:pt x="11" y="94"/>
                    <a:pt x="14" y="92"/>
                    <a:pt x="16" y="91"/>
                  </a:cubicBezTo>
                  <a:cubicBezTo>
                    <a:pt x="17" y="92"/>
                    <a:pt x="18" y="93"/>
                    <a:pt x="19" y="94"/>
                  </a:cubicBezTo>
                  <a:cubicBezTo>
                    <a:pt x="17" y="96"/>
                    <a:pt x="15" y="99"/>
                    <a:pt x="14" y="99"/>
                  </a:cubicBezTo>
                  <a:cubicBezTo>
                    <a:pt x="14" y="99"/>
                    <a:pt x="14" y="100"/>
                    <a:pt x="14" y="100"/>
                  </a:cubicBezTo>
                  <a:cubicBezTo>
                    <a:pt x="14" y="101"/>
                    <a:pt x="14" y="101"/>
                    <a:pt x="14" y="102"/>
                  </a:cubicBezTo>
                  <a:cubicBezTo>
                    <a:pt x="14" y="102"/>
                    <a:pt x="15" y="102"/>
                    <a:pt x="15" y="103"/>
                  </a:cubicBezTo>
                  <a:cubicBezTo>
                    <a:pt x="16" y="103"/>
                    <a:pt x="16" y="103"/>
                    <a:pt x="17" y="102"/>
                  </a:cubicBezTo>
                  <a:cubicBezTo>
                    <a:pt x="17" y="102"/>
                    <a:pt x="20" y="100"/>
                    <a:pt x="22" y="99"/>
                  </a:cubicBezTo>
                  <a:cubicBezTo>
                    <a:pt x="23" y="100"/>
                    <a:pt x="24" y="100"/>
                    <a:pt x="25" y="101"/>
                  </a:cubicBezTo>
                  <a:cubicBezTo>
                    <a:pt x="23" y="104"/>
                    <a:pt x="22" y="106"/>
                    <a:pt x="21" y="107"/>
                  </a:cubicBezTo>
                  <a:cubicBezTo>
                    <a:pt x="21" y="107"/>
                    <a:pt x="21" y="108"/>
                    <a:pt x="21" y="108"/>
                  </a:cubicBezTo>
                  <a:cubicBezTo>
                    <a:pt x="21" y="109"/>
                    <a:pt x="21" y="109"/>
                    <a:pt x="22" y="109"/>
                  </a:cubicBezTo>
                  <a:cubicBezTo>
                    <a:pt x="22" y="110"/>
                    <a:pt x="23" y="110"/>
                    <a:pt x="23" y="110"/>
                  </a:cubicBezTo>
                  <a:cubicBezTo>
                    <a:pt x="24" y="110"/>
                    <a:pt x="24" y="110"/>
                    <a:pt x="25" y="109"/>
                  </a:cubicBezTo>
                  <a:cubicBezTo>
                    <a:pt x="25" y="109"/>
                    <a:pt x="27" y="107"/>
                    <a:pt x="29" y="105"/>
                  </a:cubicBezTo>
                  <a:cubicBezTo>
                    <a:pt x="30" y="106"/>
                    <a:pt x="31" y="106"/>
                    <a:pt x="32" y="107"/>
                  </a:cubicBezTo>
                  <a:cubicBezTo>
                    <a:pt x="31" y="110"/>
                    <a:pt x="30" y="112"/>
                    <a:pt x="30" y="113"/>
                  </a:cubicBezTo>
                  <a:cubicBezTo>
                    <a:pt x="29" y="113"/>
                    <a:pt x="29" y="114"/>
                    <a:pt x="30" y="114"/>
                  </a:cubicBezTo>
                  <a:cubicBezTo>
                    <a:pt x="30" y="115"/>
                    <a:pt x="30" y="115"/>
                    <a:pt x="31" y="116"/>
                  </a:cubicBezTo>
                  <a:cubicBezTo>
                    <a:pt x="31" y="116"/>
                    <a:pt x="32" y="116"/>
                    <a:pt x="32" y="116"/>
                  </a:cubicBezTo>
                  <a:cubicBezTo>
                    <a:pt x="33" y="116"/>
                    <a:pt x="33" y="115"/>
                    <a:pt x="33" y="115"/>
                  </a:cubicBezTo>
                  <a:cubicBezTo>
                    <a:pt x="34" y="115"/>
                    <a:pt x="35" y="112"/>
                    <a:pt x="37" y="110"/>
                  </a:cubicBezTo>
                  <a:cubicBezTo>
                    <a:pt x="38" y="111"/>
                    <a:pt x="39" y="111"/>
                    <a:pt x="41" y="112"/>
                  </a:cubicBezTo>
                  <a:cubicBezTo>
                    <a:pt x="40" y="114"/>
                    <a:pt x="39" y="117"/>
                    <a:pt x="39" y="118"/>
                  </a:cubicBezTo>
                  <a:cubicBezTo>
                    <a:pt x="39" y="118"/>
                    <a:pt x="39" y="119"/>
                    <a:pt x="39" y="119"/>
                  </a:cubicBezTo>
                  <a:cubicBezTo>
                    <a:pt x="39" y="120"/>
                    <a:pt x="40" y="120"/>
                    <a:pt x="40" y="120"/>
                  </a:cubicBezTo>
                  <a:cubicBezTo>
                    <a:pt x="41" y="120"/>
                    <a:pt x="41" y="120"/>
                    <a:pt x="42" y="120"/>
                  </a:cubicBezTo>
                  <a:cubicBezTo>
                    <a:pt x="42" y="120"/>
                    <a:pt x="43" y="120"/>
                    <a:pt x="43" y="119"/>
                  </a:cubicBezTo>
                  <a:cubicBezTo>
                    <a:pt x="43" y="119"/>
                    <a:pt x="44" y="116"/>
                    <a:pt x="46" y="113"/>
                  </a:cubicBezTo>
                  <a:cubicBezTo>
                    <a:pt x="47" y="114"/>
                    <a:pt x="48" y="114"/>
                    <a:pt x="49" y="114"/>
                  </a:cubicBezTo>
                  <a:cubicBezTo>
                    <a:pt x="49" y="117"/>
                    <a:pt x="49" y="120"/>
                    <a:pt x="49" y="121"/>
                  </a:cubicBezTo>
                  <a:cubicBezTo>
                    <a:pt x="49" y="121"/>
                    <a:pt x="49" y="122"/>
                    <a:pt x="49" y="122"/>
                  </a:cubicBezTo>
                  <a:cubicBezTo>
                    <a:pt x="50" y="123"/>
                    <a:pt x="50" y="123"/>
                    <a:pt x="51" y="123"/>
                  </a:cubicBezTo>
                  <a:cubicBezTo>
                    <a:pt x="51" y="123"/>
                    <a:pt x="52" y="123"/>
                    <a:pt x="52" y="123"/>
                  </a:cubicBezTo>
                  <a:cubicBezTo>
                    <a:pt x="53" y="122"/>
                    <a:pt x="53" y="122"/>
                    <a:pt x="53" y="121"/>
                  </a:cubicBezTo>
                  <a:cubicBezTo>
                    <a:pt x="53" y="121"/>
                    <a:pt x="54" y="118"/>
                    <a:pt x="55" y="115"/>
                  </a:cubicBezTo>
                  <a:cubicBezTo>
                    <a:pt x="56" y="116"/>
                    <a:pt x="57" y="116"/>
                    <a:pt x="59" y="116"/>
                  </a:cubicBezTo>
                  <a:cubicBezTo>
                    <a:pt x="59" y="118"/>
                    <a:pt x="59" y="121"/>
                    <a:pt x="59" y="122"/>
                  </a:cubicBezTo>
                  <a:cubicBezTo>
                    <a:pt x="59" y="123"/>
                    <a:pt x="60" y="123"/>
                    <a:pt x="60" y="123"/>
                  </a:cubicBezTo>
                  <a:cubicBezTo>
                    <a:pt x="60" y="124"/>
                    <a:pt x="61" y="124"/>
                    <a:pt x="61" y="124"/>
                  </a:cubicBezTo>
                  <a:cubicBezTo>
                    <a:pt x="62" y="124"/>
                    <a:pt x="62" y="124"/>
                    <a:pt x="63" y="123"/>
                  </a:cubicBezTo>
                  <a:cubicBezTo>
                    <a:pt x="63" y="123"/>
                    <a:pt x="64" y="123"/>
                    <a:pt x="64" y="122"/>
                  </a:cubicBezTo>
                  <a:cubicBezTo>
                    <a:pt x="64" y="121"/>
                    <a:pt x="64" y="118"/>
                    <a:pt x="64" y="116"/>
                  </a:cubicBezTo>
                  <a:cubicBezTo>
                    <a:pt x="65" y="116"/>
                    <a:pt x="67" y="116"/>
                    <a:pt x="68" y="115"/>
                  </a:cubicBezTo>
                  <a:cubicBezTo>
                    <a:pt x="69" y="118"/>
                    <a:pt x="70" y="121"/>
                    <a:pt x="70" y="121"/>
                  </a:cubicBezTo>
                  <a:cubicBezTo>
                    <a:pt x="70" y="122"/>
                    <a:pt x="70" y="122"/>
                    <a:pt x="71" y="123"/>
                  </a:cubicBezTo>
                  <a:cubicBezTo>
                    <a:pt x="71" y="123"/>
                    <a:pt x="72" y="123"/>
                    <a:pt x="72" y="123"/>
                  </a:cubicBezTo>
                  <a:cubicBezTo>
                    <a:pt x="73" y="123"/>
                    <a:pt x="73" y="123"/>
                    <a:pt x="73" y="122"/>
                  </a:cubicBezTo>
                  <a:cubicBezTo>
                    <a:pt x="74" y="122"/>
                    <a:pt x="74" y="121"/>
                    <a:pt x="74" y="121"/>
                  </a:cubicBezTo>
                  <a:cubicBezTo>
                    <a:pt x="74" y="120"/>
                    <a:pt x="74" y="117"/>
                    <a:pt x="73" y="114"/>
                  </a:cubicBezTo>
                  <a:cubicBezTo>
                    <a:pt x="75" y="114"/>
                    <a:pt x="76" y="114"/>
                    <a:pt x="77" y="113"/>
                  </a:cubicBezTo>
                  <a:cubicBezTo>
                    <a:pt x="78" y="116"/>
                    <a:pt x="80" y="119"/>
                    <a:pt x="80" y="119"/>
                  </a:cubicBezTo>
                  <a:cubicBezTo>
                    <a:pt x="80" y="120"/>
                    <a:pt x="81" y="120"/>
                    <a:pt x="81" y="120"/>
                  </a:cubicBezTo>
                  <a:cubicBezTo>
                    <a:pt x="81" y="120"/>
                    <a:pt x="82" y="120"/>
                    <a:pt x="83" y="120"/>
                  </a:cubicBezTo>
                  <a:cubicBezTo>
                    <a:pt x="83" y="120"/>
                    <a:pt x="83" y="120"/>
                    <a:pt x="84" y="119"/>
                  </a:cubicBezTo>
                  <a:cubicBezTo>
                    <a:pt x="84" y="119"/>
                    <a:pt x="84" y="118"/>
                    <a:pt x="84" y="118"/>
                  </a:cubicBezTo>
                  <a:cubicBezTo>
                    <a:pt x="84" y="117"/>
                    <a:pt x="83" y="114"/>
                    <a:pt x="82" y="112"/>
                  </a:cubicBezTo>
                  <a:cubicBezTo>
                    <a:pt x="84" y="111"/>
                    <a:pt x="85" y="111"/>
                    <a:pt x="86" y="110"/>
                  </a:cubicBezTo>
                  <a:cubicBezTo>
                    <a:pt x="87" y="112"/>
                    <a:pt x="89" y="115"/>
                    <a:pt x="89" y="115"/>
                  </a:cubicBezTo>
                  <a:cubicBezTo>
                    <a:pt x="90" y="115"/>
                    <a:pt x="90" y="116"/>
                    <a:pt x="91" y="116"/>
                  </a:cubicBezTo>
                  <a:cubicBezTo>
                    <a:pt x="91" y="116"/>
                    <a:pt x="92" y="116"/>
                    <a:pt x="92" y="116"/>
                  </a:cubicBezTo>
                  <a:cubicBezTo>
                    <a:pt x="93" y="115"/>
                    <a:pt x="93" y="115"/>
                    <a:pt x="93" y="114"/>
                  </a:cubicBezTo>
                  <a:cubicBezTo>
                    <a:pt x="93" y="114"/>
                    <a:pt x="93" y="113"/>
                    <a:pt x="93" y="113"/>
                  </a:cubicBezTo>
                  <a:cubicBezTo>
                    <a:pt x="93" y="112"/>
                    <a:pt x="92" y="110"/>
                    <a:pt x="91" y="107"/>
                  </a:cubicBezTo>
                  <a:cubicBezTo>
                    <a:pt x="92" y="106"/>
                    <a:pt x="93" y="106"/>
                    <a:pt x="94" y="105"/>
                  </a:cubicBezTo>
                  <a:cubicBezTo>
                    <a:pt x="96" y="107"/>
                    <a:pt x="98" y="109"/>
                    <a:pt x="98" y="109"/>
                  </a:cubicBezTo>
                  <a:cubicBezTo>
                    <a:pt x="99" y="110"/>
                    <a:pt x="99" y="110"/>
                    <a:pt x="100" y="110"/>
                  </a:cubicBezTo>
                  <a:cubicBezTo>
                    <a:pt x="100" y="110"/>
                    <a:pt x="101" y="110"/>
                    <a:pt x="101" y="109"/>
                  </a:cubicBezTo>
                  <a:cubicBezTo>
                    <a:pt x="101" y="109"/>
                    <a:pt x="102" y="109"/>
                    <a:pt x="102" y="108"/>
                  </a:cubicBezTo>
                  <a:cubicBezTo>
                    <a:pt x="102" y="108"/>
                    <a:pt x="102" y="107"/>
                    <a:pt x="101" y="107"/>
                  </a:cubicBezTo>
                  <a:cubicBezTo>
                    <a:pt x="101" y="106"/>
                    <a:pt x="99" y="104"/>
                    <a:pt x="98" y="101"/>
                  </a:cubicBezTo>
                  <a:cubicBezTo>
                    <a:pt x="99" y="100"/>
                    <a:pt x="100" y="100"/>
                    <a:pt x="101" y="99"/>
                  </a:cubicBezTo>
                  <a:cubicBezTo>
                    <a:pt x="103" y="100"/>
                    <a:pt x="105" y="102"/>
                    <a:pt x="106" y="102"/>
                  </a:cubicBezTo>
                  <a:cubicBezTo>
                    <a:pt x="106" y="103"/>
                    <a:pt x="107" y="103"/>
                    <a:pt x="107" y="103"/>
                  </a:cubicBezTo>
                  <a:cubicBezTo>
                    <a:pt x="108" y="102"/>
                    <a:pt x="108" y="102"/>
                    <a:pt x="109" y="102"/>
                  </a:cubicBezTo>
                  <a:cubicBezTo>
                    <a:pt x="109" y="101"/>
                    <a:pt x="109" y="101"/>
                    <a:pt x="109" y="100"/>
                  </a:cubicBezTo>
                  <a:cubicBezTo>
                    <a:pt x="109" y="100"/>
                    <a:pt x="109" y="99"/>
                    <a:pt x="109" y="99"/>
                  </a:cubicBezTo>
                  <a:cubicBezTo>
                    <a:pt x="108" y="99"/>
                    <a:pt x="106" y="96"/>
                    <a:pt x="104" y="94"/>
                  </a:cubicBezTo>
                  <a:cubicBezTo>
                    <a:pt x="105" y="93"/>
                    <a:pt x="106" y="92"/>
                    <a:pt x="106" y="91"/>
                  </a:cubicBezTo>
                  <a:cubicBezTo>
                    <a:pt x="109" y="92"/>
                    <a:pt x="112" y="94"/>
                    <a:pt x="112" y="94"/>
                  </a:cubicBezTo>
                  <a:cubicBezTo>
                    <a:pt x="113" y="94"/>
                    <a:pt x="113" y="94"/>
                    <a:pt x="114" y="94"/>
                  </a:cubicBezTo>
                  <a:cubicBezTo>
                    <a:pt x="114" y="94"/>
                    <a:pt x="115" y="93"/>
                    <a:pt x="115" y="93"/>
                  </a:cubicBezTo>
                  <a:cubicBezTo>
                    <a:pt x="115" y="92"/>
                    <a:pt x="115" y="92"/>
                    <a:pt x="115" y="91"/>
                  </a:cubicBezTo>
                  <a:cubicBezTo>
                    <a:pt x="115" y="91"/>
                    <a:pt x="115" y="91"/>
                    <a:pt x="114" y="90"/>
                  </a:cubicBezTo>
                  <a:cubicBezTo>
                    <a:pt x="114" y="90"/>
                    <a:pt x="111" y="88"/>
                    <a:pt x="109" y="87"/>
                  </a:cubicBezTo>
                  <a:cubicBezTo>
                    <a:pt x="110" y="85"/>
                    <a:pt x="110" y="84"/>
                    <a:pt x="111" y="83"/>
                  </a:cubicBezTo>
                  <a:cubicBezTo>
                    <a:pt x="113" y="84"/>
                    <a:pt x="116" y="84"/>
                    <a:pt x="117" y="85"/>
                  </a:cubicBezTo>
                  <a:cubicBezTo>
                    <a:pt x="117" y="85"/>
                    <a:pt x="118" y="85"/>
                    <a:pt x="118" y="84"/>
                  </a:cubicBezTo>
                  <a:cubicBezTo>
                    <a:pt x="119" y="84"/>
                    <a:pt x="119" y="84"/>
                    <a:pt x="119" y="83"/>
                  </a:cubicBezTo>
                  <a:cubicBezTo>
                    <a:pt x="120" y="83"/>
                    <a:pt x="120" y="82"/>
                    <a:pt x="119" y="82"/>
                  </a:cubicBezTo>
                  <a:cubicBezTo>
                    <a:pt x="119" y="81"/>
                    <a:pt x="119" y="81"/>
                    <a:pt x="118" y="81"/>
                  </a:cubicBezTo>
                  <a:cubicBezTo>
                    <a:pt x="118" y="80"/>
                    <a:pt x="115" y="79"/>
                    <a:pt x="113" y="78"/>
                  </a:cubicBezTo>
                  <a:cubicBezTo>
                    <a:pt x="113" y="77"/>
                    <a:pt x="113" y="75"/>
                    <a:pt x="114" y="74"/>
                  </a:cubicBezTo>
                  <a:cubicBezTo>
                    <a:pt x="116" y="74"/>
                    <a:pt x="119" y="75"/>
                    <a:pt x="120" y="75"/>
                  </a:cubicBezTo>
                  <a:cubicBezTo>
                    <a:pt x="120" y="75"/>
                    <a:pt x="121" y="74"/>
                    <a:pt x="121" y="74"/>
                  </a:cubicBezTo>
                  <a:cubicBezTo>
                    <a:pt x="122" y="74"/>
                    <a:pt x="122" y="73"/>
                    <a:pt x="122" y="73"/>
                  </a:cubicBezTo>
                  <a:cubicBezTo>
                    <a:pt x="122" y="72"/>
                    <a:pt x="122" y="72"/>
                    <a:pt x="122" y="71"/>
                  </a:cubicBezTo>
                  <a:cubicBezTo>
                    <a:pt x="122" y="71"/>
                    <a:pt x="121" y="71"/>
                    <a:pt x="121" y="70"/>
                  </a:cubicBezTo>
                  <a:cubicBezTo>
                    <a:pt x="120" y="70"/>
                    <a:pt x="117" y="69"/>
                    <a:pt x="115" y="69"/>
                  </a:cubicBezTo>
                  <a:cubicBezTo>
                    <a:pt x="115" y="67"/>
                    <a:pt x="115" y="66"/>
                    <a:pt x="115" y="65"/>
                  </a:cubicBezTo>
                  <a:cubicBezTo>
                    <a:pt x="118" y="64"/>
                    <a:pt x="121" y="64"/>
                    <a:pt x="121" y="64"/>
                  </a:cubicBezTo>
                  <a:close/>
                  <a:moveTo>
                    <a:pt x="61" y="111"/>
                  </a:moveTo>
                  <a:cubicBezTo>
                    <a:pt x="61" y="111"/>
                    <a:pt x="61" y="111"/>
                    <a:pt x="61" y="111"/>
                  </a:cubicBezTo>
                  <a:cubicBezTo>
                    <a:pt x="61" y="111"/>
                    <a:pt x="61" y="111"/>
                    <a:pt x="61" y="111"/>
                  </a:cubicBezTo>
                  <a:cubicBezTo>
                    <a:pt x="61" y="111"/>
                    <a:pt x="61" y="111"/>
                    <a:pt x="61" y="111"/>
                  </a:cubicBezTo>
                  <a:close/>
                  <a:moveTo>
                    <a:pt x="45" y="108"/>
                  </a:moveTo>
                  <a:cubicBezTo>
                    <a:pt x="45" y="108"/>
                    <a:pt x="45" y="108"/>
                    <a:pt x="44" y="108"/>
                  </a:cubicBezTo>
                  <a:cubicBezTo>
                    <a:pt x="44" y="108"/>
                    <a:pt x="44" y="108"/>
                    <a:pt x="45" y="108"/>
                  </a:cubicBezTo>
                  <a:cubicBezTo>
                    <a:pt x="45" y="108"/>
                    <a:pt x="45" y="108"/>
                    <a:pt x="45" y="108"/>
                  </a:cubicBezTo>
                  <a:close/>
                  <a:moveTo>
                    <a:pt x="31" y="100"/>
                  </a:moveTo>
                  <a:cubicBezTo>
                    <a:pt x="30" y="100"/>
                    <a:pt x="30" y="99"/>
                    <a:pt x="29" y="99"/>
                  </a:cubicBezTo>
                  <a:cubicBezTo>
                    <a:pt x="30" y="99"/>
                    <a:pt x="30" y="99"/>
                    <a:pt x="30" y="100"/>
                  </a:cubicBezTo>
                  <a:cubicBezTo>
                    <a:pt x="30" y="100"/>
                    <a:pt x="30" y="100"/>
                    <a:pt x="31" y="100"/>
                  </a:cubicBezTo>
                  <a:close/>
                  <a:moveTo>
                    <a:pt x="20" y="87"/>
                  </a:moveTo>
                  <a:cubicBezTo>
                    <a:pt x="19" y="87"/>
                    <a:pt x="19" y="86"/>
                    <a:pt x="19" y="86"/>
                  </a:cubicBezTo>
                  <a:cubicBezTo>
                    <a:pt x="19" y="86"/>
                    <a:pt x="19" y="86"/>
                    <a:pt x="19" y="87"/>
                  </a:cubicBezTo>
                  <a:cubicBezTo>
                    <a:pt x="19" y="87"/>
                    <a:pt x="19" y="87"/>
                    <a:pt x="20" y="8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42" name="Freeform 473">
              <a:extLst>
                <a:ext uri="{FF2B5EF4-FFF2-40B4-BE49-F238E27FC236}">
                  <a16:creationId xmlns:a16="http://schemas.microsoft.com/office/drawing/2014/main" id="{5B1FE1CE-A58F-4F77-B01D-9C78E4009D51}"/>
                </a:ext>
              </a:extLst>
            </p:cNvPr>
            <p:cNvSpPr>
              <a:spLocks noEditPoints="1"/>
            </p:cNvSpPr>
            <p:nvPr/>
          </p:nvSpPr>
          <p:spPr bwMode="auto">
            <a:xfrm>
              <a:off x="1256405" y="1787670"/>
              <a:ext cx="157928" cy="170933"/>
            </a:xfrm>
            <a:custGeom>
              <a:avLst/>
              <a:gdLst>
                <a:gd name="T0" fmla="*/ 11 w 256"/>
                <a:gd name="T1" fmla="*/ 277 h 277"/>
                <a:gd name="T2" fmla="*/ 5 w 256"/>
                <a:gd name="T3" fmla="*/ 276 h 277"/>
                <a:gd name="T4" fmla="*/ 0 w 256"/>
                <a:gd name="T5" fmla="*/ 267 h 277"/>
                <a:gd name="T6" fmla="*/ 0 w 256"/>
                <a:gd name="T7" fmla="*/ 11 h 277"/>
                <a:gd name="T8" fmla="*/ 5 w 256"/>
                <a:gd name="T9" fmla="*/ 1 h 277"/>
                <a:gd name="T10" fmla="*/ 16 w 256"/>
                <a:gd name="T11" fmla="*/ 1 h 277"/>
                <a:gd name="T12" fmla="*/ 250 w 256"/>
                <a:gd name="T13" fmla="*/ 129 h 277"/>
                <a:gd name="T14" fmla="*/ 256 w 256"/>
                <a:gd name="T15" fmla="*/ 139 h 277"/>
                <a:gd name="T16" fmla="*/ 250 w 256"/>
                <a:gd name="T17" fmla="*/ 148 h 277"/>
                <a:gd name="T18" fmla="*/ 16 w 256"/>
                <a:gd name="T19" fmla="*/ 276 h 277"/>
                <a:gd name="T20" fmla="*/ 11 w 256"/>
                <a:gd name="T21" fmla="*/ 277 h 277"/>
                <a:gd name="T22" fmla="*/ 21 w 256"/>
                <a:gd name="T23" fmla="*/ 29 h 277"/>
                <a:gd name="T24" fmla="*/ 21 w 256"/>
                <a:gd name="T25" fmla="*/ 249 h 277"/>
                <a:gd name="T26" fmla="*/ 223 w 256"/>
                <a:gd name="T27" fmla="*/ 139 h 277"/>
                <a:gd name="T28" fmla="*/ 21 w 256"/>
                <a:gd name="T29" fmla="*/ 2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77">
                  <a:moveTo>
                    <a:pt x="11" y="277"/>
                  </a:moveTo>
                  <a:cubicBezTo>
                    <a:pt x="9" y="277"/>
                    <a:pt x="7" y="277"/>
                    <a:pt x="5" y="276"/>
                  </a:cubicBezTo>
                  <a:cubicBezTo>
                    <a:pt x="2" y="274"/>
                    <a:pt x="0" y="270"/>
                    <a:pt x="0" y="267"/>
                  </a:cubicBezTo>
                  <a:cubicBezTo>
                    <a:pt x="0" y="11"/>
                    <a:pt x="0" y="11"/>
                    <a:pt x="0" y="11"/>
                  </a:cubicBezTo>
                  <a:cubicBezTo>
                    <a:pt x="0" y="7"/>
                    <a:pt x="2" y="3"/>
                    <a:pt x="5" y="1"/>
                  </a:cubicBezTo>
                  <a:cubicBezTo>
                    <a:pt x="8" y="0"/>
                    <a:pt x="12" y="0"/>
                    <a:pt x="16" y="1"/>
                  </a:cubicBezTo>
                  <a:cubicBezTo>
                    <a:pt x="250" y="129"/>
                    <a:pt x="250" y="129"/>
                    <a:pt x="250" y="129"/>
                  </a:cubicBezTo>
                  <a:cubicBezTo>
                    <a:pt x="254" y="131"/>
                    <a:pt x="256" y="135"/>
                    <a:pt x="256" y="139"/>
                  </a:cubicBezTo>
                  <a:cubicBezTo>
                    <a:pt x="256" y="143"/>
                    <a:pt x="254" y="146"/>
                    <a:pt x="250" y="148"/>
                  </a:cubicBezTo>
                  <a:cubicBezTo>
                    <a:pt x="16" y="276"/>
                    <a:pt x="16" y="276"/>
                    <a:pt x="16" y="276"/>
                  </a:cubicBezTo>
                  <a:cubicBezTo>
                    <a:pt x="14" y="277"/>
                    <a:pt x="12" y="277"/>
                    <a:pt x="11" y="277"/>
                  </a:cubicBezTo>
                  <a:close/>
                  <a:moveTo>
                    <a:pt x="21" y="29"/>
                  </a:moveTo>
                  <a:cubicBezTo>
                    <a:pt x="21" y="249"/>
                    <a:pt x="21" y="249"/>
                    <a:pt x="21" y="249"/>
                  </a:cubicBezTo>
                  <a:cubicBezTo>
                    <a:pt x="223" y="139"/>
                    <a:pt x="223" y="139"/>
                    <a:pt x="223" y="139"/>
                  </a:cubicBezTo>
                  <a:lnTo>
                    <a:pt x="21" y="2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87" name="Rectangle 86">
            <a:extLst>
              <a:ext uri="{FF2B5EF4-FFF2-40B4-BE49-F238E27FC236}">
                <a16:creationId xmlns:a16="http://schemas.microsoft.com/office/drawing/2014/main" id="{D7AB7291-0652-409F-8BD3-1EC487E08BA7}"/>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8" name="Rectangle 87">
            <a:extLst>
              <a:ext uri="{FF2B5EF4-FFF2-40B4-BE49-F238E27FC236}">
                <a16:creationId xmlns:a16="http://schemas.microsoft.com/office/drawing/2014/main" id="{72701EEF-CF84-4040-899B-999D4F3F35DE}"/>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262270248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TextBox 623"/>
          <p:cNvSpPr txBox="1"/>
          <p:nvPr/>
        </p:nvSpPr>
        <p:spPr>
          <a:xfrm>
            <a:off x="344414" y="1281640"/>
            <a:ext cx="5737566" cy="1938992"/>
          </a:xfrm>
          <a:prstGeom prst="rect">
            <a:avLst/>
          </a:prstGeom>
          <a:noFill/>
        </p:spPr>
        <p:txBody>
          <a:bodyPr wrap="square" rtlCol="0">
            <a:spAutoFit/>
          </a:bodyPr>
          <a:lstStyle/>
          <a:p>
            <a:r>
              <a:rPr lang="es-MX" sz="4000" b="1" dirty="0">
                <a:latin typeface="Verdana" panose="020B0604030504040204" pitchFamily="34" charset="0"/>
                <a:ea typeface="Verdana" panose="020B0604030504040204" pitchFamily="34" charset="0"/>
              </a:rPr>
              <a:t>¿A dónde se dirige </a:t>
            </a:r>
          </a:p>
          <a:p>
            <a:r>
              <a:rPr lang="es-MX" sz="4000" b="1" dirty="0">
                <a:latin typeface="Verdana" panose="020B0604030504040204" pitchFamily="34" charset="0"/>
                <a:ea typeface="Verdana" panose="020B0604030504040204" pitchFamily="34" charset="0"/>
              </a:rPr>
              <a:t>esta nueva certificación?</a:t>
            </a:r>
          </a:p>
        </p:txBody>
      </p:sp>
      <p:sp>
        <p:nvSpPr>
          <p:cNvPr id="263" name="Freeform 5">
            <a:extLst>
              <a:ext uri="{FF2B5EF4-FFF2-40B4-BE49-F238E27FC236}">
                <a16:creationId xmlns:a16="http://schemas.microsoft.com/office/drawing/2014/main" id="{0AC02598-6755-4346-A5F0-954953C07EBB}"/>
              </a:ext>
            </a:extLst>
          </p:cNvPr>
          <p:cNvSpPr>
            <a:spLocks noEditPoints="1"/>
          </p:cNvSpPr>
          <p:nvPr/>
        </p:nvSpPr>
        <p:spPr bwMode="auto">
          <a:xfrm>
            <a:off x="52731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6">
            <a:extLst>
              <a:ext uri="{FF2B5EF4-FFF2-40B4-BE49-F238E27FC236}">
                <a16:creationId xmlns:a16="http://schemas.microsoft.com/office/drawing/2014/main" id="{3DD70A3D-F2A4-4D32-99AA-D181B1EBAB21}"/>
              </a:ext>
            </a:extLst>
          </p:cNvPr>
          <p:cNvSpPr>
            <a:spLocks noEditPoints="1"/>
          </p:cNvSpPr>
          <p:nvPr/>
        </p:nvSpPr>
        <p:spPr bwMode="auto">
          <a:xfrm>
            <a:off x="52711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69BB3C46-033F-4DF7-B3F7-FAC88B275935}"/>
              </a:ext>
            </a:extLst>
          </p:cNvPr>
          <p:cNvSpPr>
            <a:spLocks noEditPoints="1"/>
          </p:cNvSpPr>
          <p:nvPr/>
        </p:nvSpPr>
        <p:spPr bwMode="auto">
          <a:xfrm>
            <a:off x="52013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D116F28F-19BB-4EE7-A9DD-03811F77CF0C}"/>
              </a:ext>
            </a:extLst>
          </p:cNvPr>
          <p:cNvSpPr>
            <a:spLocks noEditPoints="1"/>
          </p:cNvSpPr>
          <p:nvPr/>
        </p:nvSpPr>
        <p:spPr bwMode="auto">
          <a:xfrm>
            <a:off x="51982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9">
            <a:extLst>
              <a:ext uri="{FF2B5EF4-FFF2-40B4-BE49-F238E27FC236}">
                <a16:creationId xmlns:a16="http://schemas.microsoft.com/office/drawing/2014/main" id="{30435FEC-1117-46AE-8CD9-43215089A2D4}"/>
              </a:ext>
            </a:extLst>
          </p:cNvPr>
          <p:cNvSpPr>
            <a:spLocks noEditPoints="1"/>
          </p:cNvSpPr>
          <p:nvPr/>
        </p:nvSpPr>
        <p:spPr bwMode="auto">
          <a:xfrm>
            <a:off x="114893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
            <a:extLst>
              <a:ext uri="{FF2B5EF4-FFF2-40B4-BE49-F238E27FC236}">
                <a16:creationId xmlns:a16="http://schemas.microsoft.com/office/drawing/2014/main" id="{36F06EB5-EE73-4399-AF7F-646358717C4D}"/>
              </a:ext>
            </a:extLst>
          </p:cNvPr>
          <p:cNvSpPr>
            <a:spLocks noEditPoints="1"/>
          </p:cNvSpPr>
          <p:nvPr/>
        </p:nvSpPr>
        <p:spPr bwMode="auto">
          <a:xfrm>
            <a:off x="114863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
            <a:extLst>
              <a:ext uri="{FF2B5EF4-FFF2-40B4-BE49-F238E27FC236}">
                <a16:creationId xmlns:a16="http://schemas.microsoft.com/office/drawing/2014/main" id="{2C5D0E98-4D93-4198-856C-81DF565F80BC}"/>
              </a:ext>
            </a:extLst>
          </p:cNvPr>
          <p:cNvSpPr>
            <a:spLocks noEditPoints="1"/>
          </p:cNvSpPr>
          <p:nvPr/>
        </p:nvSpPr>
        <p:spPr bwMode="auto">
          <a:xfrm>
            <a:off x="114175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2">
            <a:extLst>
              <a:ext uri="{FF2B5EF4-FFF2-40B4-BE49-F238E27FC236}">
                <a16:creationId xmlns:a16="http://schemas.microsoft.com/office/drawing/2014/main" id="{3D50FB71-85C5-46B6-97BA-ACE562D9F287}"/>
              </a:ext>
            </a:extLst>
          </p:cNvPr>
          <p:cNvSpPr>
            <a:spLocks noEditPoints="1"/>
          </p:cNvSpPr>
          <p:nvPr/>
        </p:nvSpPr>
        <p:spPr bwMode="auto">
          <a:xfrm>
            <a:off x="114144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3">
            <a:extLst>
              <a:ext uri="{FF2B5EF4-FFF2-40B4-BE49-F238E27FC236}">
                <a16:creationId xmlns:a16="http://schemas.microsoft.com/office/drawing/2014/main" id="{138A1430-A86E-49F8-BAEB-7655580A2A08}"/>
              </a:ext>
            </a:extLst>
          </p:cNvPr>
          <p:cNvSpPr>
            <a:spLocks noEditPoints="1"/>
          </p:cNvSpPr>
          <p:nvPr/>
        </p:nvSpPr>
        <p:spPr bwMode="auto">
          <a:xfrm>
            <a:off x="53885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4">
            <a:extLst>
              <a:ext uri="{FF2B5EF4-FFF2-40B4-BE49-F238E27FC236}">
                <a16:creationId xmlns:a16="http://schemas.microsoft.com/office/drawing/2014/main" id="{E6B976CE-3917-487C-8EAC-CEB1ED0D6AC1}"/>
              </a:ext>
            </a:extLst>
          </p:cNvPr>
          <p:cNvSpPr>
            <a:spLocks noEditPoints="1"/>
          </p:cNvSpPr>
          <p:nvPr/>
        </p:nvSpPr>
        <p:spPr bwMode="auto">
          <a:xfrm>
            <a:off x="53855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5">
            <a:extLst>
              <a:ext uri="{FF2B5EF4-FFF2-40B4-BE49-F238E27FC236}">
                <a16:creationId xmlns:a16="http://schemas.microsoft.com/office/drawing/2014/main" id="{09F873B0-CC64-4329-B926-224A9C1E8A7F}"/>
              </a:ext>
            </a:extLst>
          </p:cNvPr>
          <p:cNvSpPr>
            <a:spLocks noEditPoints="1"/>
          </p:cNvSpPr>
          <p:nvPr/>
        </p:nvSpPr>
        <p:spPr bwMode="auto">
          <a:xfrm>
            <a:off x="54199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
            <a:extLst>
              <a:ext uri="{FF2B5EF4-FFF2-40B4-BE49-F238E27FC236}">
                <a16:creationId xmlns:a16="http://schemas.microsoft.com/office/drawing/2014/main" id="{C8461AE9-26F6-40A6-B62D-9354D4B32C99}"/>
              </a:ext>
            </a:extLst>
          </p:cNvPr>
          <p:cNvSpPr>
            <a:spLocks noEditPoints="1"/>
          </p:cNvSpPr>
          <p:nvPr/>
        </p:nvSpPr>
        <p:spPr bwMode="auto">
          <a:xfrm>
            <a:off x="54149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7">
            <a:extLst>
              <a:ext uri="{FF2B5EF4-FFF2-40B4-BE49-F238E27FC236}">
                <a16:creationId xmlns:a16="http://schemas.microsoft.com/office/drawing/2014/main" id="{5BACA4CA-F723-4A0D-A4B4-2B0F2B8E4B86}"/>
              </a:ext>
            </a:extLst>
          </p:cNvPr>
          <p:cNvSpPr>
            <a:spLocks noEditPoints="1"/>
          </p:cNvSpPr>
          <p:nvPr/>
        </p:nvSpPr>
        <p:spPr bwMode="auto">
          <a:xfrm>
            <a:off x="60030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8">
            <a:extLst>
              <a:ext uri="{FF2B5EF4-FFF2-40B4-BE49-F238E27FC236}">
                <a16:creationId xmlns:a16="http://schemas.microsoft.com/office/drawing/2014/main" id="{71AD192F-C3B7-442B-BB03-F53C9EB9CD44}"/>
              </a:ext>
            </a:extLst>
          </p:cNvPr>
          <p:cNvSpPr>
            <a:spLocks noEditPoints="1"/>
          </p:cNvSpPr>
          <p:nvPr/>
        </p:nvSpPr>
        <p:spPr bwMode="auto">
          <a:xfrm>
            <a:off x="60010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9">
            <a:extLst>
              <a:ext uri="{FF2B5EF4-FFF2-40B4-BE49-F238E27FC236}">
                <a16:creationId xmlns:a16="http://schemas.microsoft.com/office/drawing/2014/main" id="{43040A79-5470-4754-9754-3B274215BFF7}"/>
              </a:ext>
            </a:extLst>
          </p:cNvPr>
          <p:cNvSpPr>
            <a:spLocks noEditPoints="1"/>
          </p:cNvSpPr>
          <p:nvPr/>
        </p:nvSpPr>
        <p:spPr bwMode="auto">
          <a:xfrm>
            <a:off x="50859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20">
            <a:extLst>
              <a:ext uri="{FF2B5EF4-FFF2-40B4-BE49-F238E27FC236}">
                <a16:creationId xmlns:a16="http://schemas.microsoft.com/office/drawing/2014/main" id="{1A232D3B-A942-454E-B098-F1C4679CC89A}"/>
              </a:ext>
            </a:extLst>
          </p:cNvPr>
          <p:cNvSpPr>
            <a:spLocks noEditPoints="1"/>
          </p:cNvSpPr>
          <p:nvPr/>
        </p:nvSpPr>
        <p:spPr bwMode="auto">
          <a:xfrm>
            <a:off x="50808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1">
            <a:extLst>
              <a:ext uri="{FF2B5EF4-FFF2-40B4-BE49-F238E27FC236}">
                <a16:creationId xmlns:a16="http://schemas.microsoft.com/office/drawing/2014/main" id="{4A7A755C-8A86-48B4-A2D7-C87F1F4A4E73}"/>
              </a:ext>
            </a:extLst>
          </p:cNvPr>
          <p:cNvSpPr>
            <a:spLocks noEditPoints="1"/>
          </p:cNvSpPr>
          <p:nvPr/>
        </p:nvSpPr>
        <p:spPr bwMode="auto">
          <a:xfrm>
            <a:off x="46101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22">
            <a:extLst>
              <a:ext uri="{FF2B5EF4-FFF2-40B4-BE49-F238E27FC236}">
                <a16:creationId xmlns:a16="http://schemas.microsoft.com/office/drawing/2014/main" id="{E4DD2D6D-2DB2-4B80-8065-92ED12430984}"/>
              </a:ext>
            </a:extLst>
          </p:cNvPr>
          <p:cNvSpPr>
            <a:spLocks noEditPoints="1"/>
          </p:cNvSpPr>
          <p:nvPr/>
        </p:nvSpPr>
        <p:spPr bwMode="auto">
          <a:xfrm>
            <a:off x="46030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23">
            <a:extLst>
              <a:ext uri="{FF2B5EF4-FFF2-40B4-BE49-F238E27FC236}">
                <a16:creationId xmlns:a16="http://schemas.microsoft.com/office/drawing/2014/main" id="{A20AE99A-768C-45FB-984F-E157D04E7A90}"/>
              </a:ext>
            </a:extLst>
          </p:cNvPr>
          <p:cNvSpPr>
            <a:spLocks noEditPoints="1"/>
          </p:cNvSpPr>
          <p:nvPr/>
        </p:nvSpPr>
        <p:spPr bwMode="auto">
          <a:xfrm>
            <a:off x="45049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4">
            <a:extLst>
              <a:ext uri="{FF2B5EF4-FFF2-40B4-BE49-F238E27FC236}">
                <a16:creationId xmlns:a16="http://schemas.microsoft.com/office/drawing/2014/main" id="{C28A0ADF-B052-4BE2-8F66-A19D73F2FE53}"/>
              </a:ext>
            </a:extLst>
          </p:cNvPr>
          <p:cNvSpPr>
            <a:spLocks noEditPoints="1"/>
          </p:cNvSpPr>
          <p:nvPr/>
        </p:nvSpPr>
        <p:spPr bwMode="auto">
          <a:xfrm>
            <a:off x="44978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25">
            <a:extLst>
              <a:ext uri="{FF2B5EF4-FFF2-40B4-BE49-F238E27FC236}">
                <a16:creationId xmlns:a16="http://schemas.microsoft.com/office/drawing/2014/main" id="{60E90381-9EEE-4344-B92C-1B3A25CC51E3}"/>
              </a:ext>
            </a:extLst>
          </p:cNvPr>
          <p:cNvSpPr>
            <a:spLocks noEditPoints="1"/>
          </p:cNvSpPr>
          <p:nvPr/>
        </p:nvSpPr>
        <p:spPr bwMode="auto">
          <a:xfrm>
            <a:off x="115784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26">
            <a:extLst>
              <a:ext uri="{FF2B5EF4-FFF2-40B4-BE49-F238E27FC236}">
                <a16:creationId xmlns:a16="http://schemas.microsoft.com/office/drawing/2014/main" id="{747C703A-AB3A-4A2B-88AD-B70982C3B7EA}"/>
              </a:ext>
            </a:extLst>
          </p:cNvPr>
          <p:cNvSpPr>
            <a:spLocks noEditPoints="1"/>
          </p:cNvSpPr>
          <p:nvPr/>
        </p:nvSpPr>
        <p:spPr bwMode="auto">
          <a:xfrm>
            <a:off x="115734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27">
            <a:extLst>
              <a:ext uri="{FF2B5EF4-FFF2-40B4-BE49-F238E27FC236}">
                <a16:creationId xmlns:a16="http://schemas.microsoft.com/office/drawing/2014/main" id="{29F01649-B303-4B2E-8CE6-38F2AC360F35}"/>
              </a:ext>
            </a:extLst>
          </p:cNvPr>
          <p:cNvSpPr>
            <a:spLocks noEditPoints="1"/>
          </p:cNvSpPr>
          <p:nvPr/>
        </p:nvSpPr>
        <p:spPr bwMode="auto">
          <a:xfrm>
            <a:off x="116068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28">
            <a:extLst>
              <a:ext uri="{FF2B5EF4-FFF2-40B4-BE49-F238E27FC236}">
                <a16:creationId xmlns:a16="http://schemas.microsoft.com/office/drawing/2014/main" id="{41CE3925-42BB-4F50-A968-9B7ACCFC8830}"/>
              </a:ext>
            </a:extLst>
          </p:cNvPr>
          <p:cNvSpPr>
            <a:spLocks noEditPoints="1"/>
          </p:cNvSpPr>
          <p:nvPr/>
        </p:nvSpPr>
        <p:spPr bwMode="auto">
          <a:xfrm>
            <a:off x="116047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29">
            <a:extLst>
              <a:ext uri="{FF2B5EF4-FFF2-40B4-BE49-F238E27FC236}">
                <a16:creationId xmlns:a16="http://schemas.microsoft.com/office/drawing/2014/main" id="{6E63F76B-4084-4E85-9892-3F605EB9CBE7}"/>
              </a:ext>
            </a:extLst>
          </p:cNvPr>
          <p:cNvSpPr>
            <a:spLocks noEditPoints="1"/>
          </p:cNvSpPr>
          <p:nvPr/>
        </p:nvSpPr>
        <p:spPr bwMode="auto">
          <a:xfrm>
            <a:off x="118345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30">
            <a:extLst>
              <a:ext uri="{FF2B5EF4-FFF2-40B4-BE49-F238E27FC236}">
                <a16:creationId xmlns:a16="http://schemas.microsoft.com/office/drawing/2014/main" id="{BF6A2D58-A949-4662-853A-42D10FC865C2}"/>
              </a:ext>
            </a:extLst>
          </p:cNvPr>
          <p:cNvSpPr>
            <a:spLocks noEditPoints="1"/>
          </p:cNvSpPr>
          <p:nvPr/>
        </p:nvSpPr>
        <p:spPr bwMode="auto">
          <a:xfrm>
            <a:off x="118305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31">
            <a:extLst>
              <a:ext uri="{FF2B5EF4-FFF2-40B4-BE49-F238E27FC236}">
                <a16:creationId xmlns:a16="http://schemas.microsoft.com/office/drawing/2014/main" id="{EDFAA406-C385-4516-9AC7-93F531A7B0DF}"/>
              </a:ext>
            </a:extLst>
          </p:cNvPr>
          <p:cNvSpPr>
            <a:spLocks noEditPoints="1"/>
          </p:cNvSpPr>
          <p:nvPr/>
        </p:nvSpPr>
        <p:spPr bwMode="auto">
          <a:xfrm>
            <a:off x="119388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32">
            <a:extLst>
              <a:ext uri="{FF2B5EF4-FFF2-40B4-BE49-F238E27FC236}">
                <a16:creationId xmlns:a16="http://schemas.microsoft.com/office/drawing/2014/main" id="{C0BE317D-EF9C-4C8A-829B-090B6A103667}"/>
              </a:ext>
            </a:extLst>
          </p:cNvPr>
          <p:cNvSpPr>
            <a:spLocks noEditPoints="1"/>
          </p:cNvSpPr>
          <p:nvPr/>
        </p:nvSpPr>
        <p:spPr bwMode="auto">
          <a:xfrm>
            <a:off x="119357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33">
            <a:extLst>
              <a:ext uri="{FF2B5EF4-FFF2-40B4-BE49-F238E27FC236}">
                <a16:creationId xmlns:a16="http://schemas.microsoft.com/office/drawing/2014/main" id="{9CF74DD3-1975-45C0-AA4A-607C684E6C8A}"/>
              </a:ext>
            </a:extLst>
          </p:cNvPr>
          <p:cNvSpPr>
            <a:spLocks noEditPoints="1"/>
          </p:cNvSpPr>
          <p:nvPr/>
        </p:nvSpPr>
        <p:spPr bwMode="auto">
          <a:xfrm>
            <a:off x="112829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34">
            <a:extLst>
              <a:ext uri="{FF2B5EF4-FFF2-40B4-BE49-F238E27FC236}">
                <a16:creationId xmlns:a16="http://schemas.microsoft.com/office/drawing/2014/main" id="{C28578B6-CF2F-4B64-B2BF-BE5C9E3771BE}"/>
              </a:ext>
            </a:extLst>
          </p:cNvPr>
          <p:cNvSpPr>
            <a:spLocks noEditPoints="1"/>
          </p:cNvSpPr>
          <p:nvPr/>
        </p:nvSpPr>
        <p:spPr bwMode="auto">
          <a:xfrm>
            <a:off x="112798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35">
            <a:extLst>
              <a:ext uri="{FF2B5EF4-FFF2-40B4-BE49-F238E27FC236}">
                <a16:creationId xmlns:a16="http://schemas.microsoft.com/office/drawing/2014/main" id="{9B23F82E-968A-4BDF-B657-332D629056ED}"/>
              </a:ext>
            </a:extLst>
          </p:cNvPr>
          <p:cNvSpPr>
            <a:spLocks noEditPoints="1"/>
          </p:cNvSpPr>
          <p:nvPr/>
        </p:nvSpPr>
        <p:spPr bwMode="auto">
          <a:xfrm>
            <a:off x="110713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36">
            <a:extLst>
              <a:ext uri="{FF2B5EF4-FFF2-40B4-BE49-F238E27FC236}">
                <a16:creationId xmlns:a16="http://schemas.microsoft.com/office/drawing/2014/main" id="{86CB239B-609C-4A8E-8F56-77051A1E43D2}"/>
              </a:ext>
            </a:extLst>
          </p:cNvPr>
          <p:cNvSpPr>
            <a:spLocks noEditPoints="1"/>
          </p:cNvSpPr>
          <p:nvPr/>
        </p:nvSpPr>
        <p:spPr bwMode="auto">
          <a:xfrm>
            <a:off x="110662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37">
            <a:extLst>
              <a:ext uri="{FF2B5EF4-FFF2-40B4-BE49-F238E27FC236}">
                <a16:creationId xmlns:a16="http://schemas.microsoft.com/office/drawing/2014/main" id="{7CA998CE-96C6-4F6E-98AF-087B0E4C2B7A}"/>
              </a:ext>
            </a:extLst>
          </p:cNvPr>
          <p:cNvSpPr>
            <a:spLocks noEditPoints="1"/>
          </p:cNvSpPr>
          <p:nvPr/>
        </p:nvSpPr>
        <p:spPr bwMode="auto">
          <a:xfrm>
            <a:off x="110713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38">
            <a:extLst>
              <a:ext uri="{FF2B5EF4-FFF2-40B4-BE49-F238E27FC236}">
                <a16:creationId xmlns:a16="http://schemas.microsoft.com/office/drawing/2014/main" id="{FD168DE7-BDE5-4D22-9923-6F2064F14C4B}"/>
              </a:ext>
            </a:extLst>
          </p:cNvPr>
          <p:cNvSpPr>
            <a:spLocks noEditPoints="1"/>
          </p:cNvSpPr>
          <p:nvPr/>
        </p:nvSpPr>
        <p:spPr bwMode="auto">
          <a:xfrm>
            <a:off x="110662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39">
            <a:extLst>
              <a:ext uri="{FF2B5EF4-FFF2-40B4-BE49-F238E27FC236}">
                <a16:creationId xmlns:a16="http://schemas.microsoft.com/office/drawing/2014/main" id="{C0A48846-3CA1-4033-A124-EE4557838E03}"/>
              </a:ext>
            </a:extLst>
          </p:cNvPr>
          <p:cNvSpPr>
            <a:spLocks/>
          </p:cNvSpPr>
          <p:nvPr/>
        </p:nvSpPr>
        <p:spPr bwMode="auto">
          <a:xfrm>
            <a:off x="85488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40">
            <a:extLst>
              <a:ext uri="{FF2B5EF4-FFF2-40B4-BE49-F238E27FC236}">
                <a16:creationId xmlns:a16="http://schemas.microsoft.com/office/drawing/2014/main" id="{24A8079F-89AC-436E-B953-435EE482DCA9}"/>
              </a:ext>
            </a:extLst>
          </p:cNvPr>
          <p:cNvSpPr>
            <a:spLocks/>
          </p:cNvSpPr>
          <p:nvPr/>
        </p:nvSpPr>
        <p:spPr bwMode="auto">
          <a:xfrm>
            <a:off x="86115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41">
            <a:extLst>
              <a:ext uri="{FF2B5EF4-FFF2-40B4-BE49-F238E27FC236}">
                <a16:creationId xmlns:a16="http://schemas.microsoft.com/office/drawing/2014/main" id="{81C621F1-7C8A-4615-8426-9C22F13EC511}"/>
              </a:ext>
            </a:extLst>
          </p:cNvPr>
          <p:cNvSpPr>
            <a:spLocks/>
          </p:cNvSpPr>
          <p:nvPr/>
        </p:nvSpPr>
        <p:spPr bwMode="auto">
          <a:xfrm>
            <a:off x="86986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42">
            <a:extLst>
              <a:ext uri="{FF2B5EF4-FFF2-40B4-BE49-F238E27FC236}">
                <a16:creationId xmlns:a16="http://schemas.microsoft.com/office/drawing/2014/main" id="{E13A57FB-5430-4F4D-9262-E6A55FC02746}"/>
              </a:ext>
            </a:extLst>
          </p:cNvPr>
          <p:cNvSpPr>
            <a:spLocks/>
          </p:cNvSpPr>
          <p:nvPr/>
        </p:nvSpPr>
        <p:spPr bwMode="auto">
          <a:xfrm>
            <a:off x="86814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43">
            <a:extLst>
              <a:ext uri="{FF2B5EF4-FFF2-40B4-BE49-F238E27FC236}">
                <a16:creationId xmlns:a16="http://schemas.microsoft.com/office/drawing/2014/main" id="{6FD50FCB-B2A2-4702-B7E9-27779A07C1F5}"/>
              </a:ext>
            </a:extLst>
          </p:cNvPr>
          <p:cNvSpPr>
            <a:spLocks/>
          </p:cNvSpPr>
          <p:nvPr/>
        </p:nvSpPr>
        <p:spPr bwMode="auto">
          <a:xfrm>
            <a:off x="87796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44">
            <a:extLst>
              <a:ext uri="{FF2B5EF4-FFF2-40B4-BE49-F238E27FC236}">
                <a16:creationId xmlns:a16="http://schemas.microsoft.com/office/drawing/2014/main" id="{87351DCE-DCEF-4F6E-8E3E-0AA07C951286}"/>
              </a:ext>
            </a:extLst>
          </p:cNvPr>
          <p:cNvSpPr>
            <a:spLocks noEditPoints="1"/>
          </p:cNvSpPr>
          <p:nvPr/>
        </p:nvSpPr>
        <p:spPr bwMode="auto">
          <a:xfrm>
            <a:off x="68320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45">
            <a:extLst>
              <a:ext uri="{FF2B5EF4-FFF2-40B4-BE49-F238E27FC236}">
                <a16:creationId xmlns:a16="http://schemas.microsoft.com/office/drawing/2014/main" id="{69AA655C-3DA3-4E54-B98A-33555F63ECED}"/>
              </a:ext>
            </a:extLst>
          </p:cNvPr>
          <p:cNvSpPr>
            <a:spLocks/>
          </p:cNvSpPr>
          <p:nvPr/>
        </p:nvSpPr>
        <p:spPr bwMode="auto">
          <a:xfrm>
            <a:off x="71296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46">
            <a:extLst>
              <a:ext uri="{FF2B5EF4-FFF2-40B4-BE49-F238E27FC236}">
                <a16:creationId xmlns:a16="http://schemas.microsoft.com/office/drawing/2014/main" id="{82F26EA6-B6B4-4EE9-9E75-2B35665D30B7}"/>
              </a:ext>
            </a:extLst>
          </p:cNvPr>
          <p:cNvSpPr>
            <a:spLocks/>
          </p:cNvSpPr>
          <p:nvPr/>
        </p:nvSpPr>
        <p:spPr bwMode="auto">
          <a:xfrm>
            <a:off x="71276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8BBFDA97-AE45-441A-8C61-EB23C907BFAE}"/>
              </a:ext>
            </a:extLst>
          </p:cNvPr>
          <p:cNvSpPr>
            <a:spLocks/>
          </p:cNvSpPr>
          <p:nvPr/>
        </p:nvSpPr>
        <p:spPr bwMode="auto">
          <a:xfrm>
            <a:off x="81317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79AD60B0-D39A-48E8-B502-F68C69FD52D7}"/>
              </a:ext>
            </a:extLst>
          </p:cNvPr>
          <p:cNvSpPr>
            <a:spLocks/>
          </p:cNvSpPr>
          <p:nvPr/>
        </p:nvSpPr>
        <p:spPr bwMode="auto">
          <a:xfrm>
            <a:off x="86358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83F2EC32-D75C-4F48-9BF1-F3EDC2F35AE7}"/>
              </a:ext>
            </a:extLst>
          </p:cNvPr>
          <p:cNvSpPr>
            <a:spLocks/>
          </p:cNvSpPr>
          <p:nvPr/>
        </p:nvSpPr>
        <p:spPr bwMode="auto">
          <a:xfrm>
            <a:off x="86308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0AC3DE7F-80CB-4BC8-9DB1-C68B21A2FF66}"/>
              </a:ext>
            </a:extLst>
          </p:cNvPr>
          <p:cNvSpPr>
            <a:spLocks/>
          </p:cNvSpPr>
          <p:nvPr/>
        </p:nvSpPr>
        <p:spPr bwMode="auto">
          <a:xfrm>
            <a:off x="105864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99740E23-B111-4E2C-ABB3-09491D102FA7}"/>
              </a:ext>
            </a:extLst>
          </p:cNvPr>
          <p:cNvSpPr>
            <a:spLocks/>
          </p:cNvSpPr>
          <p:nvPr/>
        </p:nvSpPr>
        <p:spPr bwMode="auto">
          <a:xfrm>
            <a:off x="105864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2">
            <a:extLst>
              <a:ext uri="{FF2B5EF4-FFF2-40B4-BE49-F238E27FC236}">
                <a16:creationId xmlns:a16="http://schemas.microsoft.com/office/drawing/2014/main" id="{B4C96584-395B-482E-826C-29D2B5CF0416}"/>
              </a:ext>
            </a:extLst>
          </p:cNvPr>
          <p:cNvSpPr>
            <a:spLocks/>
          </p:cNvSpPr>
          <p:nvPr/>
        </p:nvSpPr>
        <p:spPr bwMode="auto">
          <a:xfrm>
            <a:off x="89314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53">
            <a:extLst>
              <a:ext uri="{FF2B5EF4-FFF2-40B4-BE49-F238E27FC236}">
                <a16:creationId xmlns:a16="http://schemas.microsoft.com/office/drawing/2014/main" id="{C3D89076-7146-40B4-9F85-339860C7803E}"/>
              </a:ext>
            </a:extLst>
          </p:cNvPr>
          <p:cNvSpPr>
            <a:spLocks/>
          </p:cNvSpPr>
          <p:nvPr/>
        </p:nvSpPr>
        <p:spPr bwMode="auto">
          <a:xfrm>
            <a:off x="89314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54">
            <a:extLst>
              <a:ext uri="{FF2B5EF4-FFF2-40B4-BE49-F238E27FC236}">
                <a16:creationId xmlns:a16="http://schemas.microsoft.com/office/drawing/2014/main" id="{1E3E8514-F560-43C7-A3B2-2033E0BA2C52}"/>
              </a:ext>
            </a:extLst>
          </p:cNvPr>
          <p:cNvSpPr>
            <a:spLocks/>
          </p:cNvSpPr>
          <p:nvPr/>
        </p:nvSpPr>
        <p:spPr bwMode="auto">
          <a:xfrm>
            <a:off x="93920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55">
            <a:extLst>
              <a:ext uri="{FF2B5EF4-FFF2-40B4-BE49-F238E27FC236}">
                <a16:creationId xmlns:a16="http://schemas.microsoft.com/office/drawing/2014/main" id="{C29D82AD-C822-44D4-AFE2-56F139164BB2}"/>
              </a:ext>
            </a:extLst>
          </p:cNvPr>
          <p:cNvSpPr>
            <a:spLocks/>
          </p:cNvSpPr>
          <p:nvPr/>
        </p:nvSpPr>
        <p:spPr bwMode="auto">
          <a:xfrm>
            <a:off x="93900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56">
            <a:extLst>
              <a:ext uri="{FF2B5EF4-FFF2-40B4-BE49-F238E27FC236}">
                <a16:creationId xmlns:a16="http://schemas.microsoft.com/office/drawing/2014/main" id="{44A97774-BDD4-4CD6-A010-BDB65625E2F0}"/>
              </a:ext>
            </a:extLst>
          </p:cNvPr>
          <p:cNvSpPr>
            <a:spLocks noEditPoints="1"/>
          </p:cNvSpPr>
          <p:nvPr/>
        </p:nvSpPr>
        <p:spPr bwMode="auto">
          <a:xfrm>
            <a:off x="60182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Rectangle 57">
            <a:extLst>
              <a:ext uri="{FF2B5EF4-FFF2-40B4-BE49-F238E27FC236}">
                <a16:creationId xmlns:a16="http://schemas.microsoft.com/office/drawing/2014/main" id="{4A0D4A55-3093-49C2-8C71-1BE94D2F509B}"/>
              </a:ext>
            </a:extLst>
          </p:cNvPr>
          <p:cNvSpPr>
            <a:spLocks noChangeArrowheads="1"/>
          </p:cNvSpPr>
          <p:nvPr/>
        </p:nvSpPr>
        <p:spPr bwMode="auto">
          <a:xfrm>
            <a:off x="8109509" y="4756193"/>
            <a:ext cx="166008" cy="2935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Rectangle 58">
            <a:extLst>
              <a:ext uri="{FF2B5EF4-FFF2-40B4-BE49-F238E27FC236}">
                <a16:creationId xmlns:a16="http://schemas.microsoft.com/office/drawing/2014/main" id="{B03300C5-881F-46BF-9600-75817C1C3AFB}"/>
              </a:ext>
            </a:extLst>
          </p:cNvPr>
          <p:cNvSpPr>
            <a:spLocks noChangeArrowheads="1"/>
          </p:cNvSpPr>
          <p:nvPr/>
        </p:nvSpPr>
        <p:spPr bwMode="auto">
          <a:xfrm>
            <a:off x="8109509" y="4679262"/>
            <a:ext cx="166008" cy="3138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Rectangle 59">
            <a:extLst>
              <a:ext uri="{FF2B5EF4-FFF2-40B4-BE49-F238E27FC236}">
                <a16:creationId xmlns:a16="http://schemas.microsoft.com/office/drawing/2014/main" id="{995E551D-16C4-4105-B20A-12DEF78D8EDC}"/>
              </a:ext>
            </a:extLst>
          </p:cNvPr>
          <p:cNvSpPr>
            <a:spLocks noChangeArrowheads="1"/>
          </p:cNvSpPr>
          <p:nvPr/>
        </p:nvSpPr>
        <p:spPr bwMode="auto">
          <a:xfrm>
            <a:off x="8109509" y="4607393"/>
            <a:ext cx="166008" cy="2834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60">
            <a:extLst>
              <a:ext uri="{FF2B5EF4-FFF2-40B4-BE49-F238E27FC236}">
                <a16:creationId xmlns:a16="http://schemas.microsoft.com/office/drawing/2014/main" id="{5FA4B37C-8819-46AA-9AF0-6F632933EE16}"/>
              </a:ext>
            </a:extLst>
          </p:cNvPr>
          <p:cNvSpPr>
            <a:spLocks/>
          </p:cNvSpPr>
          <p:nvPr/>
        </p:nvSpPr>
        <p:spPr bwMode="auto">
          <a:xfrm>
            <a:off x="63664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61">
            <a:extLst>
              <a:ext uri="{FF2B5EF4-FFF2-40B4-BE49-F238E27FC236}">
                <a16:creationId xmlns:a16="http://schemas.microsoft.com/office/drawing/2014/main" id="{3A9CDD08-1A22-478B-BBFD-9FAEAD2F22C3}"/>
              </a:ext>
            </a:extLst>
          </p:cNvPr>
          <p:cNvSpPr>
            <a:spLocks/>
          </p:cNvSpPr>
          <p:nvPr/>
        </p:nvSpPr>
        <p:spPr bwMode="auto">
          <a:xfrm>
            <a:off x="63613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62">
            <a:extLst>
              <a:ext uri="{FF2B5EF4-FFF2-40B4-BE49-F238E27FC236}">
                <a16:creationId xmlns:a16="http://schemas.microsoft.com/office/drawing/2014/main" id="{DD4D916F-5E08-4EA5-ABF9-FF2A0AF9D21E}"/>
              </a:ext>
            </a:extLst>
          </p:cNvPr>
          <p:cNvSpPr>
            <a:spLocks/>
          </p:cNvSpPr>
          <p:nvPr/>
        </p:nvSpPr>
        <p:spPr bwMode="auto">
          <a:xfrm>
            <a:off x="71873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63">
            <a:extLst>
              <a:ext uri="{FF2B5EF4-FFF2-40B4-BE49-F238E27FC236}">
                <a16:creationId xmlns:a16="http://schemas.microsoft.com/office/drawing/2014/main" id="{9E8E672D-A4D7-4AE1-9E5E-B28F65472F20}"/>
              </a:ext>
            </a:extLst>
          </p:cNvPr>
          <p:cNvSpPr>
            <a:spLocks/>
          </p:cNvSpPr>
          <p:nvPr/>
        </p:nvSpPr>
        <p:spPr bwMode="auto">
          <a:xfrm>
            <a:off x="71853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4">
            <a:extLst>
              <a:ext uri="{FF2B5EF4-FFF2-40B4-BE49-F238E27FC236}">
                <a16:creationId xmlns:a16="http://schemas.microsoft.com/office/drawing/2014/main" id="{DF6A3945-F967-4022-838F-EACD2AC35FE3}"/>
              </a:ext>
            </a:extLst>
          </p:cNvPr>
          <p:cNvSpPr>
            <a:spLocks/>
          </p:cNvSpPr>
          <p:nvPr/>
        </p:nvSpPr>
        <p:spPr bwMode="auto">
          <a:xfrm>
            <a:off x="78119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65">
            <a:extLst>
              <a:ext uri="{FF2B5EF4-FFF2-40B4-BE49-F238E27FC236}">
                <a16:creationId xmlns:a16="http://schemas.microsoft.com/office/drawing/2014/main" id="{8F2CE2BF-6584-41DD-8C40-BBEA8F6F61E4}"/>
              </a:ext>
            </a:extLst>
          </p:cNvPr>
          <p:cNvSpPr>
            <a:spLocks/>
          </p:cNvSpPr>
          <p:nvPr/>
        </p:nvSpPr>
        <p:spPr bwMode="auto">
          <a:xfrm>
            <a:off x="78098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66">
            <a:extLst>
              <a:ext uri="{FF2B5EF4-FFF2-40B4-BE49-F238E27FC236}">
                <a16:creationId xmlns:a16="http://schemas.microsoft.com/office/drawing/2014/main" id="{F918E45A-FA47-44D9-81F3-6911CE9E24D5}"/>
              </a:ext>
            </a:extLst>
          </p:cNvPr>
          <p:cNvSpPr>
            <a:spLocks/>
          </p:cNvSpPr>
          <p:nvPr/>
        </p:nvSpPr>
        <p:spPr bwMode="auto">
          <a:xfrm>
            <a:off x="82228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67">
            <a:extLst>
              <a:ext uri="{FF2B5EF4-FFF2-40B4-BE49-F238E27FC236}">
                <a16:creationId xmlns:a16="http://schemas.microsoft.com/office/drawing/2014/main" id="{7210E89B-40F7-4D5D-9B77-0BD19A39BE76}"/>
              </a:ext>
            </a:extLst>
          </p:cNvPr>
          <p:cNvSpPr>
            <a:spLocks/>
          </p:cNvSpPr>
          <p:nvPr/>
        </p:nvSpPr>
        <p:spPr bwMode="auto">
          <a:xfrm>
            <a:off x="82198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68">
            <a:extLst>
              <a:ext uri="{FF2B5EF4-FFF2-40B4-BE49-F238E27FC236}">
                <a16:creationId xmlns:a16="http://schemas.microsoft.com/office/drawing/2014/main" id="{5BDE5632-D0AB-4FB5-8BD4-EFBCB2C767A6}"/>
              </a:ext>
            </a:extLst>
          </p:cNvPr>
          <p:cNvSpPr>
            <a:spLocks/>
          </p:cNvSpPr>
          <p:nvPr/>
        </p:nvSpPr>
        <p:spPr bwMode="auto">
          <a:xfrm>
            <a:off x="60708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69">
            <a:extLst>
              <a:ext uri="{FF2B5EF4-FFF2-40B4-BE49-F238E27FC236}">
                <a16:creationId xmlns:a16="http://schemas.microsoft.com/office/drawing/2014/main" id="{20C1E29A-FADE-47BD-8EB1-6ED3F745DBC1}"/>
              </a:ext>
            </a:extLst>
          </p:cNvPr>
          <p:cNvSpPr>
            <a:spLocks/>
          </p:cNvSpPr>
          <p:nvPr/>
        </p:nvSpPr>
        <p:spPr bwMode="auto">
          <a:xfrm>
            <a:off x="60708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70">
            <a:extLst>
              <a:ext uri="{FF2B5EF4-FFF2-40B4-BE49-F238E27FC236}">
                <a16:creationId xmlns:a16="http://schemas.microsoft.com/office/drawing/2014/main" id="{E93B88B2-7C43-41C7-9DC2-E391E11CC8D1}"/>
              </a:ext>
            </a:extLst>
          </p:cNvPr>
          <p:cNvSpPr>
            <a:spLocks/>
          </p:cNvSpPr>
          <p:nvPr/>
        </p:nvSpPr>
        <p:spPr bwMode="auto">
          <a:xfrm>
            <a:off x="67115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71">
            <a:extLst>
              <a:ext uri="{FF2B5EF4-FFF2-40B4-BE49-F238E27FC236}">
                <a16:creationId xmlns:a16="http://schemas.microsoft.com/office/drawing/2014/main" id="{0E5C410F-4305-4859-989D-3ABBBB235C96}"/>
              </a:ext>
            </a:extLst>
          </p:cNvPr>
          <p:cNvSpPr>
            <a:spLocks/>
          </p:cNvSpPr>
          <p:nvPr/>
        </p:nvSpPr>
        <p:spPr bwMode="auto">
          <a:xfrm>
            <a:off x="67115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72">
            <a:extLst>
              <a:ext uri="{FF2B5EF4-FFF2-40B4-BE49-F238E27FC236}">
                <a16:creationId xmlns:a16="http://schemas.microsoft.com/office/drawing/2014/main" id="{CB2567C0-6C3B-48AE-98B1-A3D8EF71C0C1}"/>
              </a:ext>
            </a:extLst>
          </p:cNvPr>
          <p:cNvSpPr>
            <a:spLocks/>
          </p:cNvSpPr>
          <p:nvPr/>
        </p:nvSpPr>
        <p:spPr bwMode="auto">
          <a:xfrm>
            <a:off x="71731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73">
            <a:extLst>
              <a:ext uri="{FF2B5EF4-FFF2-40B4-BE49-F238E27FC236}">
                <a16:creationId xmlns:a16="http://schemas.microsoft.com/office/drawing/2014/main" id="{DA756EF4-1770-42FC-BD92-CB50B7EEEF99}"/>
              </a:ext>
            </a:extLst>
          </p:cNvPr>
          <p:cNvSpPr>
            <a:spLocks/>
          </p:cNvSpPr>
          <p:nvPr/>
        </p:nvSpPr>
        <p:spPr bwMode="auto">
          <a:xfrm>
            <a:off x="71731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74">
            <a:extLst>
              <a:ext uri="{FF2B5EF4-FFF2-40B4-BE49-F238E27FC236}">
                <a16:creationId xmlns:a16="http://schemas.microsoft.com/office/drawing/2014/main" id="{2EF5C2E5-C765-46ED-AD1F-749321565B97}"/>
              </a:ext>
            </a:extLst>
          </p:cNvPr>
          <p:cNvSpPr>
            <a:spLocks/>
          </p:cNvSpPr>
          <p:nvPr/>
        </p:nvSpPr>
        <p:spPr bwMode="auto">
          <a:xfrm>
            <a:off x="71731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75">
            <a:extLst>
              <a:ext uri="{FF2B5EF4-FFF2-40B4-BE49-F238E27FC236}">
                <a16:creationId xmlns:a16="http://schemas.microsoft.com/office/drawing/2014/main" id="{CBE77F58-DD4D-4ED3-BDD1-5DBC91243EC8}"/>
              </a:ext>
            </a:extLst>
          </p:cNvPr>
          <p:cNvSpPr>
            <a:spLocks noEditPoints="1"/>
          </p:cNvSpPr>
          <p:nvPr/>
        </p:nvSpPr>
        <p:spPr bwMode="auto">
          <a:xfrm>
            <a:off x="71924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76">
            <a:extLst>
              <a:ext uri="{FF2B5EF4-FFF2-40B4-BE49-F238E27FC236}">
                <a16:creationId xmlns:a16="http://schemas.microsoft.com/office/drawing/2014/main" id="{F79DEA51-B21E-49EF-8156-138F7029C94A}"/>
              </a:ext>
            </a:extLst>
          </p:cNvPr>
          <p:cNvSpPr>
            <a:spLocks/>
          </p:cNvSpPr>
          <p:nvPr/>
        </p:nvSpPr>
        <p:spPr bwMode="auto">
          <a:xfrm>
            <a:off x="71731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77">
            <a:extLst>
              <a:ext uri="{FF2B5EF4-FFF2-40B4-BE49-F238E27FC236}">
                <a16:creationId xmlns:a16="http://schemas.microsoft.com/office/drawing/2014/main" id="{E4CB22C5-F624-444C-B8AA-028084DABD28}"/>
              </a:ext>
            </a:extLst>
          </p:cNvPr>
          <p:cNvSpPr>
            <a:spLocks noEditPoints="1"/>
          </p:cNvSpPr>
          <p:nvPr/>
        </p:nvSpPr>
        <p:spPr bwMode="auto">
          <a:xfrm>
            <a:off x="71154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78">
            <a:extLst>
              <a:ext uri="{FF2B5EF4-FFF2-40B4-BE49-F238E27FC236}">
                <a16:creationId xmlns:a16="http://schemas.microsoft.com/office/drawing/2014/main" id="{8A229632-901D-4BB1-9F99-DCA13AE8421C}"/>
              </a:ext>
            </a:extLst>
          </p:cNvPr>
          <p:cNvSpPr>
            <a:spLocks noEditPoints="1"/>
          </p:cNvSpPr>
          <p:nvPr/>
        </p:nvSpPr>
        <p:spPr bwMode="auto">
          <a:xfrm>
            <a:off x="70668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79">
            <a:extLst>
              <a:ext uri="{FF2B5EF4-FFF2-40B4-BE49-F238E27FC236}">
                <a16:creationId xmlns:a16="http://schemas.microsoft.com/office/drawing/2014/main" id="{C48D60C8-8643-47AB-A12B-4E4A1ECB4E3D}"/>
              </a:ext>
            </a:extLst>
          </p:cNvPr>
          <p:cNvSpPr>
            <a:spLocks noEditPoints="1"/>
          </p:cNvSpPr>
          <p:nvPr/>
        </p:nvSpPr>
        <p:spPr bwMode="auto">
          <a:xfrm>
            <a:off x="70193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80">
            <a:extLst>
              <a:ext uri="{FF2B5EF4-FFF2-40B4-BE49-F238E27FC236}">
                <a16:creationId xmlns:a16="http://schemas.microsoft.com/office/drawing/2014/main" id="{2430A0EE-BF3F-4788-9F51-565C2BF8C23F}"/>
              </a:ext>
            </a:extLst>
          </p:cNvPr>
          <p:cNvSpPr>
            <a:spLocks noChangeArrowheads="1"/>
          </p:cNvSpPr>
          <p:nvPr/>
        </p:nvSpPr>
        <p:spPr bwMode="auto">
          <a:xfrm>
            <a:off x="72258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81">
            <a:extLst>
              <a:ext uri="{FF2B5EF4-FFF2-40B4-BE49-F238E27FC236}">
                <a16:creationId xmlns:a16="http://schemas.microsoft.com/office/drawing/2014/main" id="{4B1509E5-7E51-489F-8EB2-7F1CA976DF64}"/>
              </a:ext>
            </a:extLst>
          </p:cNvPr>
          <p:cNvSpPr>
            <a:spLocks/>
          </p:cNvSpPr>
          <p:nvPr/>
        </p:nvSpPr>
        <p:spPr bwMode="auto">
          <a:xfrm>
            <a:off x="58187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Line 82">
            <a:extLst>
              <a:ext uri="{FF2B5EF4-FFF2-40B4-BE49-F238E27FC236}">
                <a16:creationId xmlns:a16="http://schemas.microsoft.com/office/drawing/2014/main" id="{BB7189DE-7CA6-4D03-8D5B-97BE451C4162}"/>
              </a:ext>
            </a:extLst>
          </p:cNvPr>
          <p:cNvSpPr>
            <a:spLocks noChangeShapeType="1"/>
          </p:cNvSpPr>
          <p:nvPr/>
        </p:nvSpPr>
        <p:spPr bwMode="auto">
          <a:xfrm flipH="1">
            <a:off x="58187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83">
            <a:extLst>
              <a:ext uri="{FF2B5EF4-FFF2-40B4-BE49-F238E27FC236}">
                <a16:creationId xmlns:a16="http://schemas.microsoft.com/office/drawing/2014/main" id="{0AA23294-F586-4C34-9F0D-8FD3175B3A01}"/>
              </a:ext>
            </a:extLst>
          </p:cNvPr>
          <p:cNvSpPr>
            <a:spLocks/>
          </p:cNvSpPr>
          <p:nvPr/>
        </p:nvSpPr>
        <p:spPr bwMode="auto">
          <a:xfrm>
            <a:off x="63704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84">
            <a:extLst>
              <a:ext uri="{FF2B5EF4-FFF2-40B4-BE49-F238E27FC236}">
                <a16:creationId xmlns:a16="http://schemas.microsoft.com/office/drawing/2014/main" id="{5ABB8BBF-271C-4030-A893-4A603863296A}"/>
              </a:ext>
            </a:extLst>
          </p:cNvPr>
          <p:cNvSpPr>
            <a:spLocks/>
          </p:cNvSpPr>
          <p:nvPr/>
        </p:nvSpPr>
        <p:spPr bwMode="auto">
          <a:xfrm>
            <a:off x="63967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85">
            <a:extLst>
              <a:ext uri="{FF2B5EF4-FFF2-40B4-BE49-F238E27FC236}">
                <a16:creationId xmlns:a16="http://schemas.microsoft.com/office/drawing/2014/main" id="{7E3428AF-8A30-4419-8712-517335117386}"/>
              </a:ext>
            </a:extLst>
          </p:cNvPr>
          <p:cNvSpPr>
            <a:spLocks/>
          </p:cNvSpPr>
          <p:nvPr/>
        </p:nvSpPr>
        <p:spPr bwMode="auto">
          <a:xfrm>
            <a:off x="69231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87">
            <a:extLst>
              <a:ext uri="{FF2B5EF4-FFF2-40B4-BE49-F238E27FC236}">
                <a16:creationId xmlns:a16="http://schemas.microsoft.com/office/drawing/2014/main" id="{8CAED341-145D-41DF-A4F2-04FD928DB1CF}"/>
              </a:ext>
            </a:extLst>
          </p:cNvPr>
          <p:cNvSpPr>
            <a:spLocks/>
          </p:cNvSpPr>
          <p:nvPr/>
        </p:nvSpPr>
        <p:spPr bwMode="auto">
          <a:xfrm>
            <a:off x="69059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88">
            <a:extLst>
              <a:ext uri="{FF2B5EF4-FFF2-40B4-BE49-F238E27FC236}">
                <a16:creationId xmlns:a16="http://schemas.microsoft.com/office/drawing/2014/main" id="{56C6FEAA-39EC-4387-83E7-AF06B453401A}"/>
              </a:ext>
            </a:extLst>
          </p:cNvPr>
          <p:cNvSpPr>
            <a:spLocks/>
          </p:cNvSpPr>
          <p:nvPr/>
        </p:nvSpPr>
        <p:spPr bwMode="auto">
          <a:xfrm>
            <a:off x="69231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90">
            <a:extLst>
              <a:ext uri="{FF2B5EF4-FFF2-40B4-BE49-F238E27FC236}">
                <a16:creationId xmlns:a16="http://schemas.microsoft.com/office/drawing/2014/main" id="{A0C5FCB2-ADE3-4FD1-BA5E-F0CCB0208EB3}"/>
              </a:ext>
            </a:extLst>
          </p:cNvPr>
          <p:cNvSpPr>
            <a:spLocks/>
          </p:cNvSpPr>
          <p:nvPr/>
        </p:nvSpPr>
        <p:spPr bwMode="auto">
          <a:xfrm>
            <a:off x="69059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91">
            <a:extLst>
              <a:ext uri="{FF2B5EF4-FFF2-40B4-BE49-F238E27FC236}">
                <a16:creationId xmlns:a16="http://schemas.microsoft.com/office/drawing/2014/main" id="{B7E1EAAC-E1CB-4D0E-ACAD-655F92073C9C}"/>
              </a:ext>
            </a:extLst>
          </p:cNvPr>
          <p:cNvSpPr>
            <a:spLocks/>
          </p:cNvSpPr>
          <p:nvPr/>
        </p:nvSpPr>
        <p:spPr bwMode="auto">
          <a:xfrm>
            <a:off x="69231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Line 92">
            <a:extLst>
              <a:ext uri="{FF2B5EF4-FFF2-40B4-BE49-F238E27FC236}">
                <a16:creationId xmlns:a16="http://schemas.microsoft.com/office/drawing/2014/main" id="{98758716-922F-47CC-85E1-F500501DEB80}"/>
              </a:ext>
            </a:extLst>
          </p:cNvPr>
          <p:cNvSpPr>
            <a:spLocks noChangeShapeType="1"/>
          </p:cNvSpPr>
          <p:nvPr/>
        </p:nvSpPr>
        <p:spPr bwMode="auto">
          <a:xfrm flipV="1">
            <a:off x="69231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93">
            <a:extLst>
              <a:ext uri="{FF2B5EF4-FFF2-40B4-BE49-F238E27FC236}">
                <a16:creationId xmlns:a16="http://schemas.microsoft.com/office/drawing/2014/main" id="{701AAA5C-F0C1-4632-9017-66FF904A91F6}"/>
              </a:ext>
            </a:extLst>
          </p:cNvPr>
          <p:cNvSpPr>
            <a:spLocks/>
          </p:cNvSpPr>
          <p:nvPr/>
        </p:nvSpPr>
        <p:spPr bwMode="auto">
          <a:xfrm>
            <a:off x="69059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94">
            <a:extLst>
              <a:ext uri="{FF2B5EF4-FFF2-40B4-BE49-F238E27FC236}">
                <a16:creationId xmlns:a16="http://schemas.microsoft.com/office/drawing/2014/main" id="{A2ADFB66-780B-42FF-9327-376ECE302696}"/>
              </a:ext>
            </a:extLst>
          </p:cNvPr>
          <p:cNvSpPr>
            <a:spLocks/>
          </p:cNvSpPr>
          <p:nvPr/>
        </p:nvSpPr>
        <p:spPr bwMode="auto">
          <a:xfrm>
            <a:off x="69231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96">
            <a:extLst>
              <a:ext uri="{FF2B5EF4-FFF2-40B4-BE49-F238E27FC236}">
                <a16:creationId xmlns:a16="http://schemas.microsoft.com/office/drawing/2014/main" id="{943382C0-7935-4BAD-98BF-D83DD186EA8A}"/>
              </a:ext>
            </a:extLst>
          </p:cNvPr>
          <p:cNvSpPr>
            <a:spLocks/>
          </p:cNvSpPr>
          <p:nvPr/>
        </p:nvSpPr>
        <p:spPr bwMode="auto">
          <a:xfrm>
            <a:off x="69059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97">
            <a:extLst>
              <a:ext uri="{FF2B5EF4-FFF2-40B4-BE49-F238E27FC236}">
                <a16:creationId xmlns:a16="http://schemas.microsoft.com/office/drawing/2014/main" id="{91DB40D7-47F4-45DB-9BD5-90230099A5CB}"/>
              </a:ext>
            </a:extLst>
          </p:cNvPr>
          <p:cNvSpPr>
            <a:spLocks/>
          </p:cNvSpPr>
          <p:nvPr/>
        </p:nvSpPr>
        <p:spPr bwMode="auto">
          <a:xfrm>
            <a:off x="70648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Line 98">
            <a:extLst>
              <a:ext uri="{FF2B5EF4-FFF2-40B4-BE49-F238E27FC236}">
                <a16:creationId xmlns:a16="http://schemas.microsoft.com/office/drawing/2014/main" id="{1EE752DF-82CD-4CBD-9603-E30B304B133B}"/>
              </a:ext>
            </a:extLst>
          </p:cNvPr>
          <p:cNvSpPr>
            <a:spLocks noChangeShapeType="1"/>
          </p:cNvSpPr>
          <p:nvPr/>
        </p:nvSpPr>
        <p:spPr bwMode="auto">
          <a:xfrm flipV="1">
            <a:off x="70648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99">
            <a:extLst>
              <a:ext uri="{FF2B5EF4-FFF2-40B4-BE49-F238E27FC236}">
                <a16:creationId xmlns:a16="http://schemas.microsoft.com/office/drawing/2014/main" id="{7487AAEB-7837-4B52-9CE0-8083121312BD}"/>
              </a:ext>
            </a:extLst>
          </p:cNvPr>
          <p:cNvSpPr>
            <a:spLocks/>
          </p:cNvSpPr>
          <p:nvPr/>
        </p:nvSpPr>
        <p:spPr bwMode="auto">
          <a:xfrm>
            <a:off x="70507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00">
            <a:extLst>
              <a:ext uri="{FF2B5EF4-FFF2-40B4-BE49-F238E27FC236}">
                <a16:creationId xmlns:a16="http://schemas.microsoft.com/office/drawing/2014/main" id="{FC8D16BC-9028-419E-ADD0-D6BDA609493B}"/>
              </a:ext>
            </a:extLst>
          </p:cNvPr>
          <p:cNvSpPr>
            <a:spLocks/>
          </p:cNvSpPr>
          <p:nvPr/>
        </p:nvSpPr>
        <p:spPr bwMode="auto">
          <a:xfrm>
            <a:off x="60991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101">
            <a:extLst>
              <a:ext uri="{FF2B5EF4-FFF2-40B4-BE49-F238E27FC236}">
                <a16:creationId xmlns:a16="http://schemas.microsoft.com/office/drawing/2014/main" id="{1E16C0F1-3527-4758-AFF0-2CE07B8F3EB0}"/>
              </a:ext>
            </a:extLst>
          </p:cNvPr>
          <p:cNvSpPr>
            <a:spLocks/>
          </p:cNvSpPr>
          <p:nvPr/>
        </p:nvSpPr>
        <p:spPr bwMode="auto">
          <a:xfrm>
            <a:off x="61062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02">
            <a:extLst>
              <a:ext uri="{FF2B5EF4-FFF2-40B4-BE49-F238E27FC236}">
                <a16:creationId xmlns:a16="http://schemas.microsoft.com/office/drawing/2014/main" id="{DD7863FA-C8B6-4C18-AE68-5ACB97B83FB1}"/>
              </a:ext>
            </a:extLst>
          </p:cNvPr>
          <p:cNvSpPr>
            <a:spLocks/>
          </p:cNvSpPr>
          <p:nvPr/>
        </p:nvSpPr>
        <p:spPr bwMode="auto">
          <a:xfrm>
            <a:off x="64281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Line 103">
            <a:extLst>
              <a:ext uri="{FF2B5EF4-FFF2-40B4-BE49-F238E27FC236}">
                <a16:creationId xmlns:a16="http://schemas.microsoft.com/office/drawing/2014/main" id="{1B0595F1-A4F9-42ED-85DE-D5821C1592D5}"/>
              </a:ext>
            </a:extLst>
          </p:cNvPr>
          <p:cNvSpPr>
            <a:spLocks noChangeShapeType="1"/>
          </p:cNvSpPr>
          <p:nvPr/>
        </p:nvSpPr>
        <p:spPr bwMode="auto">
          <a:xfrm>
            <a:off x="64281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04">
            <a:extLst>
              <a:ext uri="{FF2B5EF4-FFF2-40B4-BE49-F238E27FC236}">
                <a16:creationId xmlns:a16="http://schemas.microsoft.com/office/drawing/2014/main" id="{9EEDB4ED-DF97-4E01-B213-9CD1821562EC}"/>
              </a:ext>
            </a:extLst>
          </p:cNvPr>
          <p:cNvSpPr>
            <a:spLocks/>
          </p:cNvSpPr>
          <p:nvPr/>
        </p:nvSpPr>
        <p:spPr bwMode="auto">
          <a:xfrm>
            <a:off x="64139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05">
            <a:extLst>
              <a:ext uri="{FF2B5EF4-FFF2-40B4-BE49-F238E27FC236}">
                <a16:creationId xmlns:a16="http://schemas.microsoft.com/office/drawing/2014/main" id="{586DA189-846F-42A6-A018-398E5899D998}"/>
              </a:ext>
            </a:extLst>
          </p:cNvPr>
          <p:cNvSpPr>
            <a:spLocks noEditPoints="1"/>
          </p:cNvSpPr>
          <p:nvPr/>
        </p:nvSpPr>
        <p:spPr bwMode="auto">
          <a:xfrm>
            <a:off x="64139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06">
            <a:extLst>
              <a:ext uri="{FF2B5EF4-FFF2-40B4-BE49-F238E27FC236}">
                <a16:creationId xmlns:a16="http://schemas.microsoft.com/office/drawing/2014/main" id="{6515FE9B-3332-4F48-A522-8F847134E7FC}"/>
              </a:ext>
            </a:extLst>
          </p:cNvPr>
          <p:cNvSpPr>
            <a:spLocks/>
          </p:cNvSpPr>
          <p:nvPr/>
        </p:nvSpPr>
        <p:spPr bwMode="auto">
          <a:xfrm>
            <a:off x="64139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07">
            <a:extLst>
              <a:ext uri="{FF2B5EF4-FFF2-40B4-BE49-F238E27FC236}">
                <a16:creationId xmlns:a16="http://schemas.microsoft.com/office/drawing/2014/main" id="{63FCBFBE-2CDB-4C2D-99AF-EFFC485A2889}"/>
              </a:ext>
            </a:extLst>
          </p:cNvPr>
          <p:cNvSpPr>
            <a:spLocks/>
          </p:cNvSpPr>
          <p:nvPr/>
        </p:nvSpPr>
        <p:spPr bwMode="auto">
          <a:xfrm>
            <a:off x="65030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Line 108">
            <a:extLst>
              <a:ext uri="{FF2B5EF4-FFF2-40B4-BE49-F238E27FC236}">
                <a16:creationId xmlns:a16="http://schemas.microsoft.com/office/drawing/2014/main" id="{69F5BCD8-4FF9-4E51-8818-F7EF396BCB72}"/>
              </a:ext>
            </a:extLst>
          </p:cNvPr>
          <p:cNvSpPr>
            <a:spLocks noChangeShapeType="1"/>
          </p:cNvSpPr>
          <p:nvPr/>
        </p:nvSpPr>
        <p:spPr bwMode="auto">
          <a:xfrm>
            <a:off x="65030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09">
            <a:extLst>
              <a:ext uri="{FF2B5EF4-FFF2-40B4-BE49-F238E27FC236}">
                <a16:creationId xmlns:a16="http://schemas.microsoft.com/office/drawing/2014/main" id="{04AFCAE0-69DC-4A61-8067-90916FFD0562}"/>
              </a:ext>
            </a:extLst>
          </p:cNvPr>
          <p:cNvSpPr>
            <a:spLocks/>
          </p:cNvSpPr>
          <p:nvPr/>
        </p:nvSpPr>
        <p:spPr bwMode="auto">
          <a:xfrm>
            <a:off x="64889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10">
            <a:extLst>
              <a:ext uri="{FF2B5EF4-FFF2-40B4-BE49-F238E27FC236}">
                <a16:creationId xmlns:a16="http://schemas.microsoft.com/office/drawing/2014/main" id="{35AD3660-19D5-4249-BADC-17ED698EB1D6}"/>
              </a:ext>
            </a:extLst>
          </p:cNvPr>
          <p:cNvSpPr>
            <a:spLocks noEditPoints="1"/>
          </p:cNvSpPr>
          <p:nvPr/>
        </p:nvSpPr>
        <p:spPr bwMode="auto">
          <a:xfrm>
            <a:off x="64889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1">
            <a:extLst>
              <a:ext uri="{FF2B5EF4-FFF2-40B4-BE49-F238E27FC236}">
                <a16:creationId xmlns:a16="http://schemas.microsoft.com/office/drawing/2014/main" id="{A8B643AE-8051-497E-BD9E-30C40E4BBF3B}"/>
              </a:ext>
            </a:extLst>
          </p:cNvPr>
          <p:cNvSpPr>
            <a:spLocks/>
          </p:cNvSpPr>
          <p:nvPr/>
        </p:nvSpPr>
        <p:spPr bwMode="auto">
          <a:xfrm>
            <a:off x="64889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2">
            <a:extLst>
              <a:ext uri="{FF2B5EF4-FFF2-40B4-BE49-F238E27FC236}">
                <a16:creationId xmlns:a16="http://schemas.microsoft.com/office/drawing/2014/main" id="{3D3E0BFF-92C7-4A4E-AFE3-53844B797272}"/>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3">
            <a:extLst>
              <a:ext uri="{FF2B5EF4-FFF2-40B4-BE49-F238E27FC236}">
                <a16:creationId xmlns:a16="http://schemas.microsoft.com/office/drawing/2014/main" id="{7FCCCC2A-2C86-43A5-94C2-3895E395867F}"/>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4">
            <a:extLst>
              <a:ext uri="{FF2B5EF4-FFF2-40B4-BE49-F238E27FC236}">
                <a16:creationId xmlns:a16="http://schemas.microsoft.com/office/drawing/2014/main" id="{448F3735-00E5-4CB1-9217-0E935E3D0168}"/>
              </a:ext>
            </a:extLst>
          </p:cNvPr>
          <p:cNvSpPr>
            <a:spLocks/>
          </p:cNvSpPr>
          <p:nvPr/>
        </p:nvSpPr>
        <p:spPr bwMode="auto">
          <a:xfrm>
            <a:off x="65030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15">
            <a:extLst>
              <a:ext uri="{FF2B5EF4-FFF2-40B4-BE49-F238E27FC236}">
                <a16:creationId xmlns:a16="http://schemas.microsoft.com/office/drawing/2014/main" id="{07A1CF61-F93A-4DC1-A2CD-AFC222CDE5D6}"/>
              </a:ext>
            </a:extLst>
          </p:cNvPr>
          <p:cNvSpPr>
            <a:spLocks/>
          </p:cNvSpPr>
          <p:nvPr/>
        </p:nvSpPr>
        <p:spPr bwMode="auto">
          <a:xfrm>
            <a:off x="66711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Line 116">
            <a:extLst>
              <a:ext uri="{FF2B5EF4-FFF2-40B4-BE49-F238E27FC236}">
                <a16:creationId xmlns:a16="http://schemas.microsoft.com/office/drawing/2014/main" id="{4A7C9D3E-D60C-4BEE-A928-85B9F65608BB}"/>
              </a:ext>
            </a:extLst>
          </p:cNvPr>
          <p:cNvSpPr>
            <a:spLocks noChangeShapeType="1"/>
          </p:cNvSpPr>
          <p:nvPr/>
        </p:nvSpPr>
        <p:spPr bwMode="auto">
          <a:xfrm>
            <a:off x="66711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17">
            <a:extLst>
              <a:ext uri="{FF2B5EF4-FFF2-40B4-BE49-F238E27FC236}">
                <a16:creationId xmlns:a16="http://schemas.microsoft.com/office/drawing/2014/main" id="{37F67472-064E-4004-AAA6-03653B1E09E9}"/>
              </a:ext>
            </a:extLst>
          </p:cNvPr>
          <p:cNvSpPr>
            <a:spLocks/>
          </p:cNvSpPr>
          <p:nvPr/>
        </p:nvSpPr>
        <p:spPr bwMode="auto">
          <a:xfrm>
            <a:off x="66569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18">
            <a:extLst>
              <a:ext uri="{FF2B5EF4-FFF2-40B4-BE49-F238E27FC236}">
                <a16:creationId xmlns:a16="http://schemas.microsoft.com/office/drawing/2014/main" id="{BDD5CC62-305B-4339-B5DC-F1C10826D325}"/>
              </a:ext>
            </a:extLst>
          </p:cNvPr>
          <p:cNvSpPr>
            <a:spLocks/>
          </p:cNvSpPr>
          <p:nvPr/>
        </p:nvSpPr>
        <p:spPr bwMode="auto">
          <a:xfrm>
            <a:off x="66711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Line 119">
            <a:extLst>
              <a:ext uri="{FF2B5EF4-FFF2-40B4-BE49-F238E27FC236}">
                <a16:creationId xmlns:a16="http://schemas.microsoft.com/office/drawing/2014/main" id="{828ADA32-27AB-4A32-8FFB-4F87D03B5CDE}"/>
              </a:ext>
            </a:extLst>
          </p:cNvPr>
          <p:cNvSpPr>
            <a:spLocks noChangeShapeType="1"/>
          </p:cNvSpPr>
          <p:nvPr/>
        </p:nvSpPr>
        <p:spPr bwMode="auto">
          <a:xfrm>
            <a:off x="66711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20">
            <a:extLst>
              <a:ext uri="{FF2B5EF4-FFF2-40B4-BE49-F238E27FC236}">
                <a16:creationId xmlns:a16="http://schemas.microsoft.com/office/drawing/2014/main" id="{7CDFC42A-4652-4240-8D03-E1DF95444692}"/>
              </a:ext>
            </a:extLst>
          </p:cNvPr>
          <p:cNvSpPr>
            <a:spLocks/>
          </p:cNvSpPr>
          <p:nvPr/>
        </p:nvSpPr>
        <p:spPr bwMode="auto">
          <a:xfrm>
            <a:off x="66569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21">
            <a:extLst>
              <a:ext uri="{FF2B5EF4-FFF2-40B4-BE49-F238E27FC236}">
                <a16:creationId xmlns:a16="http://schemas.microsoft.com/office/drawing/2014/main" id="{29D40E5C-6BAF-4E5C-BD6E-8FBDBC3A17A6}"/>
              </a:ext>
            </a:extLst>
          </p:cNvPr>
          <p:cNvSpPr>
            <a:spLocks/>
          </p:cNvSpPr>
          <p:nvPr/>
        </p:nvSpPr>
        <p:spPr bwMode="auto">
          <a:xfrm>
            <a:off x="66711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Line 122">
            <a:extLst>
              <a:ext uri="{FF2B5EF4-FFF2-40B4-BE49-F238E27FC236}">
                <a16:creationId xmlns:a16="http://schemas.microsoft.com/office/drawing/2014/main" id="{F1C9D73E-8811-4F3D-B9DC-A1CE6060AE8E}"/>
              </a:ext>
            </a:extLst>
          </p:cNvPr>
          <p:cNvSpPr>
            <a:spLocks noChangeShapeType="1"/>
          </p:cNvSpPr>
          <p:nvPr/>
        </p:nvSpPr>
        <p:spPr bwMode="auto">
          <a:xfrm>
            <a:off x="66711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23">
            <a:extLst>
              <a:ext uri="{FF2B5EF4-FFF2-40B4-BE49-F238E27FC236}">
                <a16:creationId xmlns:a16="http://schemas.microsoft.com/office/drawing/2014/main" id="{EEE89B26-5049-47F9-912C-757E939AAF6D}"/>
              </a:ext>
            </a:extLst>
          </p:cNvPr>
          <p:cNvSpPr>
            <a:spLocks/>
          </p:cNvSpPr>
          <p:nvPr/>
        </p:nvSpPr>
        <p:spPr bwMode="auto">
          <a:xfrm>
            <a:off x="66569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24">
            <a:extLst>
              <a:ext uri="{FF2B5EF4-FFF2-40B4-BE49-F238E27FC236}">
                <a16:creationId xmlns:a16="http://schemas.microsoft.com/office/drawing/2014/main" id="{97CA06C6-092D-4F5D-93EF-FA3C6CF73244}"/>
              </a:ext>
            </a:extLst>
          </p:cNvPr>
          <p:cNvSpPr>
            <a:spLocks/>
          </p:cNvSpPr>
          <p:nvPr/>
        </p:nvSpPr>
        <p:spPr bwMode="auto">
          <a:xfrm>
            <a:off x="66711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Line 125">
            <a:extLst>
              <a:ext uri="{FF2B5EF4-FFF2-40B4-BE49-F238E27FC236}">
                <a16:creationId xmlns:a16="http://schemas.microsoft.com/office/drawing/2014/main" id="{6E624F09-6E3E-49D2-85A4-D3DDDA2AF6F6}"/>
              </a:ext>
            </a:extLst>
          </p:cNvPr>
          <p:cNvSpPr>
            <a:spLocks noChangeShapeType="1"/>
          </p:cNvSpPr>
          <p:nvPr/>
        </p:nvSpPr>
        <p:spPr bwMode="auto">
          <a:xfrm>
            <a:off x="66711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26">
            <a:extLst>
              <a:ext uri="{FF2B5EF4-FFF2-40B4-BE49-F238E27FC236}">
                <a16:creationId xmlns:a16="http://schemas.microsoft.com/office/drawing/2014/main" id="{6702ED48-B0AC-4AF5-906C-B7DA5175EAF0}"/>
              </a:ext>
            </a:extLst>
          </p:cNvPr>
          <p:cNvSpPr>
            <a:spLocks/>
          </p:cNvSpPr>
          <p:nvPr/>
        </p:nvSpPr>
        <p:spPr bwMode="auto">
          <a:xfrm>
            <a:off x="66569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27">
            <a:extLst>
              <a:ext uri="{FF2B5EF4-FFF2-40B4-BE49-F238E27FC236}">
                <a16:creationId xmlns:a16="http://schemas.microsoft.com/office/drawing/2014/main" id="{5D547806-A907-4EE1-BD69-32DA35883278}"/>
              </a:ext>
            </a:extLst>
          </p:cNvPr>
          <p:cNvSpPr>
            <a:spLocks/>
          </p:cNvSpPr>
          <p:nvPr/>
        </p:nvSpPr>
        <p:spPr bwMode="auto">
          <a:xfrm>
            <a:off x="65941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Line 128">
            <a:extLst>
              <a:ext uri="{FF2B5EF4-FFF2-40B4-BE49-F238E27FC236}">
                <a16:creationId xmlns:a16="http://schemas.microsoft.com/office/drawing/2014/main" id="{375C41C1-26CC-436E-95BC-314151503643}"/>
              </a:ext>
            </a:extLst>
          </p:cNvPr>
          <p:cNvSpPr>
            <a:spLocks noChangeShapeType="1"/>
          </p:cNvSpPr>
          <p:nvPr/>
        </p:nvSpPr>
        <p:spPr bwMode="auto">
          <a:xfrm flipH="1">
            <a:off x="65941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29">
            <a:extLst>
              <a:ext uri="{FF2B5EF4-FFF2-40B4-BE49-F238E27FC236}">
                <a16:creationId xmlns:a16="http://schemas.microsoft.com/office/drawing/2014/main" id="{26DF7296-9273-4FD6-873B-C674E2039A18}"/>
              </a:ext>
            </a:extLst>
          </p:cNvPr>
          <p:cNvSpPr>
            <a:spLocks/>
          </p:cNvSpPr>
          <p:nvPr/>
        </p:nvSpPr>
        <p:spPr bwMode="auto">
          <a:xfrm>
            <a:off x="65800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0">
            <a:extLst>
              <a:ext uri="{FF2B5EF4-FFF2-40B4-BE49-F238E27FC236}">
                <a16:creationId xmlns:a16="http://schemas.microsoft.com/office/drawing/2014/main" id="{0BF50A63-9929-4B37-B626-7653F298DB61}"/>
              </a:ext>
            </a:extLst>
          </p:cNvPr>
          <p:cNvSpPr>
            <a:spLocks/>
          </p:cNvSpPr>
          <p:nvPr/>
        </p:nvSpPr>
        <p:spPr bwMode="auto">
          <a:xfrm>
            <a:off x="65941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Line 131">
            <a:extLst>
              <a:ext uri="{FF2B5EF4-FFF2-40B4-BE49-F238E27FC236}">
                <a16:creationId xmlns:a16="http://schemas.microsoft.com/office/drawing/2014/main" id="{31B2705E-526A-40A3-80FA-568DF6252626}"/>
              </a:ext>
            </a:extLst>
          </p:cNvPr>
          <p:cNvSpPr>
            <a:spLocks noChangeShapeType="1"/>
          </p:cNvSpPr>
          <p:nvPr/>
        </p:nvSpPr>
        <p:spPr bwMode="auto">
          <a:xfrm flipH="1">
            <a:off x="65941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2">
            <a:extLst>
              <a:ext uri="{FF2B5EF4-FFF2-40B4-BE49-F238E27FC236}">
                <a16:creationId xmlns:a16="http://schemas.microsoft.com/office/drawing/2014/main" id="{B2D2A2FE-93BC-4C77-B130-44A4FB744C68}"/>
              </a:ext>
            </a:extLst>
          </p:cNvPr>
          <p:cNvSpPr>
            <a:spLocks/>
          </p:cNvSpPr>
          <p:nvPr/>
        </p:nvSpPr>
        <p:spPr bwMode="auto">
          <a:xfrm>
            <a:off x="65800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3">
            <a:extLst>
              <a:ext uri="{FF2B5EF4-FFF2-40B4-BE49-F238E27FC236}">
                <a16:creationId xmlns:a16="http://schemas.microsoft.com/office/drawing/2014/main" id="{834DD598-1FEF-40C7-A97A-B8B32901FE14}"/>
              </a:ext>
            </a:extLst>
          </p:cNvPr>
          <p:cNvSpPr>
            <a:spLocks/>
          </p:cNvSpPr>
          <p:nvPr/>
        </p:nvSpPr>
        <p:spPr bwMode="auto">
          <a:xfrm>
            <a:off x="65941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Line 134">
            <a:extLst>
              <a:ext uri="{FF2B5EF4-FFF2-40B4-BE49-F238E27FC236}">
                <a16:creationId xmlns:a16="http://schemas.microsoft.com/office/drawing/2014/main" id="{46E0AFF3-2C56-4668-87B7-46B5501F0802}"/>
              </a:ext>
            </a:extLst>
          </p:cNvPr>
          <p:cNvSpPr>
            <a:spLocks noChangeShapeType="1"/>
          </p:cNvSpPr>
          <p:nvPr/>
        </p:nvSpPr>
        <p:spPr bwMode="auto">
          <a:xfrm flipH="1">
            <a:off x="65941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
            <a:extLst>
              <a:ext uri="{FF2B5EF4-FFF2-40B4-BE49-F238E27FC236}">
                <a16:creationId xmlns:a16="http://schemas.microsoft.com/office/drawing/2014/main" id="{AB997A49-2BD9-40FD-9896-B36DF4C9FD4B}"/>
              </a:ext>
            </a:extLst>
          </p:cNvPr>
          <p:cNvSpPr>
            <a:spLocks/>
          </p:cNvSpPr>
          <p:nvPr/>
        </p:nvSpPr>
        <p:spPr bwMode="auto">
          <a:xfrm>
            <a:off x="65800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6">
            <a:extLst>
              <a:ext uri="{FF2B5EF4-FFF2-40B4-BE49-F238E27FC236}">
                <a16:creationId xmlns:a16="http://schemas.microsoft.com/office/drawing/2014/main" id="{651B1C68-7979-409C-BA25-062E62C86AEB}"/>
              </a:ext>
            </a:extLst>
          </p:cNvPr>
          <p:cNvSpPr>
            <a:spLocks/>
          </p:cNvSpPr>
          <p:nvPr/>
        </p:nvSpPr>
        <p:spPr bwMode="auto">
          <a:xfrm>
            <a:off x="65941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Line 137">
            <a:extLst>
              <a:ext uri="{FF2B5EF4-FFF2-40B4-BE49-F238E27FC236}">
                <a16:creationId xmlns:a16="http://schemas.microsoft.com/office/drawing/2014/main" id="{047DA9AB-B696-44F4-A16F-4F589B423997}"/>
              </a:ext>
            </a:extLst>
          </p:cNvPr>
          <p:cNvSpPr>
            <a:spLocks noChangeShapeType="1"/>
          </p:cNvSpPr>
          <p:nvPr/>
        </p:nvSpPr>
        <p:spPr bwMode="auto">
          <a:xfrm flipH="1">
            <a:off x="65941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8">
            <a:extLst>
              <a:ext uri="{FF2B5EF4-FFF2-40B4-BE49-F238E27FC236}">
                <a16:creationId xmlns:a16="http://schemas.microsoft.com/office/drawing/2014/main" id="{7264C2EE-4438-47A6-A740-3E9614286A54}"/>
              </a:ext>
            </a:extLst>
          </p:cNvPr>
          <p:cNvSpPr>
            <a:spLocks/>
          </p:cNvSpPr>
          <p:nvPr/>
        </p:nvSpPr>
        <p:spPr bwMode="auto">
          <a:xfrm>
            <a:off x="65800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9">
            <a:extLst>
              <a:ext uri="{FF2B5EF4-FFF2-40B4-BE49-F238E27FC236}">
                <a16:creationId xmlns:a16="http://schemas.microsoft.com/office/drawing/2014/main" id="{3B9F0B90-C3D3-4595-AF4B-B1122D7D3A29}"/>
              </a:ext>
            </a:extLst>
          </p:cNvPr>
          <p:cNvSpPr>
            <a:spLocks/>
          </p:cNvSpPr>
          <p:nvPr/>
        </p:nvSpPr>
        <p:spPr bwMode="auto">
          <a:xfrm>
            <a:off x="70172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40">
            <a:extLst>
              <a:ext uri="{FF2B5EF4-FFF2-40B4-BE49-F238E27FC236}">
                <a16:creationId xmlns:a16="http://schemas.microsoft.com/office/drawing/2014/main" id="{DC52748C-2AAA-437E-A4AD-DC3154841E45}"/>
              </a:ext>
            </a:extLst>
          </p:cNvPr>
          <p:cNvSpPr>
            <a:spLocks/>
          </p:cNvSpPr>
          <p:nvPr/>
        </p:nvSpPr>
        <p:spPr bwMode="auto">
          <a:xfrm>
            <a:off x="70021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41">
            <a:extLst>
              <a:ext uri="{FF2B5EF4-FFF2-40B4-BE49-F238E27FC236}">
                <a16:creationId xmlns:a16="http://schemas.microsoft.com/office/drawing/2014/main" id="{CE9FE345-6C6E-4AAA-BB52-FD2314A39A75}"/>
              </a:ext>
            </a:extLst>
          </p:cNvPr>
          <p:cNvSpPr>
            <a:spLocks/>
          </p:cNvSpPr>
          <p:nvPr/>
        </p:nvSpPr>
        <p:spPr bwMode="auto">
          <a:xfrm>
            <a:off x="69302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42">
            <a:extLst>
              <a:ext uri="{FF2B5EF4-FFF2-40B4-BE49-F238E27FC236}">
                <a16:creationId xmlns:a16="http://schemas.microsoft.com/office/drawing/2014/main" id="{81CCEBA6-B1BA-4206-99D3-B2BFA916E4A7}"/>
              </a:ext>
            </a:extLst>
          </p:cNvPr>
          <p:cNvSpPr>
            <a:spLocks/>
          </p:cNvSpPr>
          <p:nvPr/>
        </p:nvSpPr>
        <p:spPr bwMode="auto">
          <a:xfrm>
            <a:off x="69160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43">
            <a:extLst>
              <a:ext uri="{FF2B5EF4-FFF2-40B4-BE49-F238E27FC236}">
                <a16:creationId xmlns:a16="http://schemas.microsoft.com/office/drawing/2014/main" id="{287C104C-8301-47EA-9AF8-C02E0242238D}"/>
              </a:ext>
            </a:extLst>
          </p:cNvPr>
          <p:cNvSpPr>
            <a:spLocks/>
          </p:cNvSpPr>
          <p:nvPr/>
        </p:nvSpPr>
        <p:spPr bwMode="auto">
          <a:xfrm>
            <a:off x="71367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44">
            <a:extLst>
              <a:ext uri="{FF2B5EF4-FFF2-40B4-BE49-F238E27FC236}">
                <a16:creationId xmlns:a16="http://schemas.microsoft.com/office/drawing/2014/main" id="{55218925-7E6E-4829-8E4C-69599F98DE01}"/>
              </a:ext>
            </a:extLst>
          </p:cNvPr>
          <p:cNvSpPr>
            <a:spLocks/>
          </p:cNvSpPr>
          <p:nvPr/>
        </p:nvSpPr>
        <p:spPr bwMode="auto">
          <a:xfrm>
            <a:off x="71225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45">
            <a:extLst>
              <a:ext uri="{FF2B5EF4-FFF2-40B4-BE49-F238E27FC236}">
                <a16:creationId xmlns:a16="http://schemas.microsoft.com/office/drawing/2014/main" id="{06A0F581-E8F5-410E-A35C-7DB138F942BB}"/>
              </a:ext>
            </a:extLst>
          </p:cNvPr>
          <p:cNvSpPr>
            <a:spLocks/>
          </p:cNvSpPr>
          <p:nvPr/>
        </p:nvSpPr>
        <p:spPr bwMode="auto">
          <a:xfrm>
            <a:off x="43986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146">
            <a:extLst>
              <a:ext uri="{FF2B5EF4-FFF2-40B4-BE49-F238E27FC236}">
                <a16:creationId xmlns:a16="http://schemas.microsoft.com/office/drawing/2014/main" id="{2AB32569-38D6-4638-960A-F6E86A219DA7}"/>
              </a:ext>
            </a:extLst>
          </p:cNvPr>
          <p:cNvSpPr>
            <a:spLocks/>
          </p:cNvSpPr>
          <p:nvPr/>
        </p:nvSpPr>
        <p:spPr bwMode="auto">
          <a:xfrm>
            <a:off x="51820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3" name="Freeform 147">
            <a:extLst>
              <a:ext uri="{FF2B5EF4-FFF2-40B4-BE49-F238E27FC236}">
                <a16:creationId xmlns:a16="http://schemas.microsoft.com/office/drawing/2014/main" id="{F8E1D9F4-A27E-4F87-BA37-199D8C962531}"/>
              </a:ext>
            </a:extLst>
          </p:cNvPr>
          <p:cNvSpPr>
            <a:spLocks/>
          </p:cNvSpPr>
          <p:nvPr/>
        </p:nvSpPr>
        <p:spPr bwMode="auto">
          <a:xfrm>
            <a:off x="51770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Freeform 148">
            <a:extLst>
              <a:ext uri="{FF2B5EF4-FFF2-40B4-BE49-F238E27FC236}">
                <a16:creationId xmlns:a16="http://schemas.microsoft.com/office/drawing/2014/main" id="{FF89F0EE-85D5-48BA-8136-28906807045C}"/>
              </a:ext>
            </a:extLst>
          </p:cNvPr>
          <p:cNvSpPr>
            <a:spLocks/>
          </p:cNvSpPr>
          <p:nvPr/>
        </p:nvSpPr>
        <p:spPr bwMode="auto">
          <a:xfrm>
            <a:off x="43581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5" name="Freeform 149">
            <a:extLst>
              <a:ext uri="{FF2B5EF4-FFF2-40B4-BE49-F238E27FC236}">
                <a16:creationId xmlns:a16="http://schemas.microsoft.com/office/drawing/2014/main" id="{A8BDBF4D-45B4-4DED-A2DC-390B793B1B1B}"/>
              </a:ext>
            </a:extLst>
          </p:cNvPr>
          <p:cNvSpPr>
            <a:spLocks/>
          </p:cNvSpPr>
          <p:nvPr/>
        </p:nvSpPr>
        <p:spPr bwMode="auto">
          <a:xfrm>
            <a:off x="43561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6" name="Freeform 150">
            <a:extLst>
              <a:ext uri="{FF2B5EF4-FFF2-40B4-BE49-F238E27FC236}">
                <a16:creationId xmlns:a16="http://schemas.microsoft.com/office/drawing/2014/main" id="{B1DA25E7-67FA-475F-82AE-E9CE7EFEE88D}"/>
              </a:ext>
            </a:extLst>
          </p:cNvPr>
          <p:cNvSpPr>
            <a:spLocks noEditPoints="1"/>
          </p:cNvSpPr>
          <p:nvPr/>
        </p:nvSpPr>
        <p:spPr bwMode="auto">
          <a:xfrm>
            <a:off x="82441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7" name="Freeform 151">
            <a:extLst>
              <a:ext uri="{FF2B5EF4-FFF2-40B4-BE49-F238E27FC236}">
                <a16:creationId xmlns:a16="http://schemas.microsoft.com/office/drawing/2014/main" id="{4A7E2240-B13D-46AB-9FB6-54D8011957B9}"/>
              </a:ext>
            </a:extLst>
          </p:cNvPr>
          <p:cNvSpPr>
            <a:spLocks/>
          </p:cNvSpPr>
          <p:nvPr/>
        </p:nvSpPr>
        <p:spPr bwMode="auto">
          <a:xfrm>
            <a:off x="90245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8" name="Freeform 152">
            <a:extLst>
              <a:ext uri="{FF2B5EF4-FFF2-40B4-BE49-F238E27FC236}">
                <a16:creationId xmlns:a16="http://schemas.microsoft.com/office/drawing/2014/main" id="{FF5150B8-DDD3-44BE-A810-9CF78EA2FA87}"/>
              </a:ext>
            </a:extLst>
          </p:cNvPr>
          <p:cNvSpPr>
            <a:spLocks/>
          </p:cNvSpPr>
          <p:nvPr/>
        </p:nvSpPr>
        <p:spPr bwMode="auto">
          <a:xfrm>
            <a:off x="90245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9" name="Freeform 153">
            <a:extLst>
              <a:ext uri="{FF2B5EF4-FFF2-40B4-BE49-F238E27FC236}">
                <a16:creationId xmlns:a16="http://schemas.microsoft.com/office/drawing/2014/main" id="{DCF3B31B-FF53-45E6-A4A6-7376A88288C0}"/>
              </a:ext>
            </a:extLst>
          </p:cNvPr>
          <p:cNvSpPr>
            <a:spLocks/>
          </p:cNvSpPr>
          <p:nvPr/>
        </p:nvSpPr>
        <p:spPr bwMode="auto">
          <a:xfrm>
            <a:off x="81287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0" name="Freeform 154">
            <a:extLst>
              <a:ext uri="{FF2B5EF4-FFF2-40B4-BE49-F238E27FC236}">
                <a16:creationId xmlns:a16="http://schemas.microsoft.com/office/drawing/2014/main" id="{0491595C-B726-4BB5-AF81-FE1DF764C74E}"/>
              </a:ext>
            </a:extLst>
          </p:cNvPr>
          <p:cNvSpPr>
            <a:spLocks/>
          </p:cNvSpPr>
          <p:nvPr/>
        </p:nvSpPr>
        <p:spPr bwMode="auto">
          <a:xfrm>
            <a:off x="81287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1" name="Freeform 155">
            <a:extLst>
              <a:ext uri="{FF2B5EF4-FFF2-40B4-BE49-F238E27FC236}">
                <a16:creationId xmlns:a16="http://schemas.microsoft.com/office/drawing/2014/main" id="{DD5CCCC6-96FE-46F6-9CAB-F180A4D8511F}"/>
              </a:ext>
            </a:extLst>
          </p:cNvPr>
          <p:cNvSpPr>
            <a:spLocks/>
          </p:cNvSpPr>
          <p:nvPr/>
        </p:nvSpPr>
        <p:spPr bwMode="auto">
          <a:xfrm>
            <a:off x="96876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2" name="Freeform 156">
            <a:extLst>
              <a:ext uri="{FF2B5EF4-FFF2-40B4-BE49-F238E27FC236}">
                <a16:creationId xmlns:a16="http://schemas.microsoft.com/office/drawing/2014/main" id="{3806B36E-DB18-412F-A0E3-12C29BE4C7AB}"/>
              </a:ext>
            </a:extLst>
          </p:cNvPr>
          <p:cNvSpPr>
            <a:spLocks/>
          </p:cNvSpPr>
          <p:nvPr/>
        </p:nvSpPr>
        <p:spPr bwMode="auto">
          <a:xfrm>
            <a:off x="96825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3" name="Freeform 157">
            <a:extLst>
              <a:ext uri="{FF2B5EF4-FFF2-40B4-BE49-F238E27FC236}">
                <a16:creationId xmlns:a16="http://schemas.microsoft.com/office/drawing/2014/main" id="{B0309D2D-E345-437E-8577-CCF45C5C1163}"/>
              </a:ext>
            </a:extLst>
          </p:cNvPr>
          <p:cNvSpPr>
            <a:spLocks/>
          </p:cNvSpPr>
          <p:nvPr/>
        </p:nvSpPr>
        <p:spPr bwMode="auto">
          <a:xfrm>
            <a:off x="46658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4" name="Freeform 158">
            <a:extLst>
              <a:ext uri="{FF2B5EF4-FFF2-40B4-BE49-F238E27FC236}">
                <a16:creationId xmlns:a16="http://schemas.microsoft.com/office/drawing/2014/main" id="{72E9F13A-5785-4C08-81FA-61CEF1B1A465}"/>
              </a:ext>
            </a:extLst>
          </p:cNvPr>
          <p:cNvSpPr>
            <a:spLocks/>
          </p:cNvSpPr>
          <p:nvPr/>
        </p:nvSpPr>
        <p:spPr bwMode="auto">
          <a:xfrm>
            <a:off x="46658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5" name="Rectangle 159">
            <a:extLst>
              <a:ext uri="{FF2B5EF4-FFF2-40B4-BE49-F238E27FC236}">
                <a16:creationId xmlns:a16="http://schemas.microsoft.com/office/drawing/2014/main" id="{BDA8E986-2472-49CE-9573-16A40078069E}"/>
              </a:ext>
            </a:extLst>
          </p:cNvPr>
          <p:cNvSpPr>
            <a:spLocks noChangeArrowheads="1"/>
          </p:cNvSpPr>
          <p:nvPr/>
        </p:nvSpPr>
        <p:spPr bwMode="auto">
          <a:xfrm>
            <a:off x="10096548" y="3257057"/>
            <a:ext cx="547625" cy="310860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160">
            <a:extLst>
              <a:ext uri="{FF2B5EF4-FFF2-40B4-BE49-F238E27FC236}">
                <a16:creationId xmlns:a16="http://schemas.microsoft.com/office/drawing/2014/main" id="{C9F6E9C3-3AEB-4647-9BD9-ADF2BE0C040E}"/>
              </a:ext>
            </a:extLst>
          </p:cNvPr>
          <p:cNvSpPr>
            <a:spLocks noEditPoints="1"/>
          </p:cNvSpPr>
          <p:nvPr/>
        </p:nvSpPr>
        <p:spPr bwMode="auto">
          <a:xfrm>
            <a:off x="100813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61">
            <a:extLst>
              <a:ext uri="{FF2B5EF4-FFF2-40B4-BE49-F238E27FC236}">
                <a16:creationId xmlns:a16="http://schemas.microsoft.com/office/drawing/2014/main" id="{C2495B20-5E70-481E-9296-AAF12722052F}"/>
              </a:ext>
            </a:extLst>
          </p:cNvPr>
          <p:cNvSpPr>
            <a:spLocks/>
          </p:cNvSpPr>
          <p:nvPr/>
        </p:nvSpPr>
        <p:spPr bwMode="auto">
          <a:xfrm>
            <a:off x="104326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62">
            <a:extLst>
              <a:ext uri="{FF2B5EF4-FFF2-40B4-BE49-F238E27FC236}">
                <a16:creationId xmlns:a16="http://schemas.microsoft.com/office/drawing/2014/main" id="{B1BD2614-DB13-4219-A820-CA1385331BDF}"/>
              </a:ext>
            </a:extLst>
          </p:cNvPr>
          <p:cNvSpPr>
            <a:spLocks/>
          </p:cNvSpPr>
          <p:nvPr/>
        </p:nvSpPr>
        <p:spPr bwMode="auto">
          <a:xfrm>
            <a:off x="101370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63">
            <a:extLst>
              <a:ext uri="{FF2B5EF4-FFF2-40B4-BE49-F238E27FC236}">
                <a16:creationId xmlns:a16="http://schemas.microsoft.com/office/drawing/2014/main" id="{25B9BAF9-460B-435E-B251-DC49CB6F2710}"/>
              </a:ext>
            </a:extLst>
          </p:cNvPr>
          <p:cNvSpPr>
            <a:spLocks/>
          </p:cNvSpPr>
          <p:nvPr/>
        </p:nvSpPr>
        <p:spPr bwMode="auto">
          <a:xfrm>
            <a:off x="102230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64">
            <a:extLst>
              <a:ext uri="{FF2B5EF4-FFF2-40B4-BE49-F238E27FC236}">
                <a16:creationId xmlns:a16="http://schemas.microsoft.com/office/drawing/2014/main" id="{C5536458-1D3A-4D74-8264-045764602B51}"/>
              </a:ext>
            </a:extLst>
          </p:cNvPr>
          <p:cNvSpPr>
            <a:spLocks/>
          </p:cNvSpPr>
          <p:nvPr/>
        </p:nvSpPr>
        <p:spPr bwMode="auto">
          <a:xfrm>
            <a:off x="101319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65">
            <a:extLst>
              <a:ext uri="{FF2B5EF4-FFF2-40B4-BE49-F238E27FC236}">
                <a16:creationId xmlns:a16="http://schemas.microsoft.com/office/drawing/2014/main" id="{A7F18A14-F8DF-4E9F-8F8D-31FE1F453309}"/>
              </a:ext>
            </a:extLst>
          </p:cNvPr>
          <p:cNvSpPr>
            <a:spLocks/>
          </p:cNvSpPr>
          <p:nvPr/>
        </p:nvSpPr>
        <p:spPr bwMode="auto">
          <a:xfrm>
            <a:off x="101319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6">
            <a:extLst>
              <a:ext uri="{FF2B5EF4-FFF2-40B4-BE49-F238E27FC236}">
                <a16:creationId xmlns:a16="http://schemas.microsoft.com/office/drawing/2014/main" id="{D63206ED-7C15-417A-BA86-FE2E69C0E9DF}"/>
              </a:ext>
            </a:extLst>
          </p:cNvPr>
          <p:cNvSpPr>
            <a:spLocks/>
          </p:cNvSpPr>
          <p:nvPr/>
        </p:nvSpPr>
        <p:spPr bwMode="auto">
          <a:xfrm>
            <a:off x="101319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67">
            <a:extLst>
              <a:ext uri="{FF2B5EF4-FFF2-40B4-BE49-F238E27FC236}">
                <a16:creationId xmlns:a16="http://schemas.microsoft.com/office/drawing/2014/main" id="{8A6E66BD-0275-499A-8297-37CA0157085D}"/>
              </a:ext>
            </a:extLst>
          </p:cNvPr>
          <p:cNvSpPr>
            <a:spLocks/>
          </p:cNvSpPr>
          <p:nvPr/>
        </p:nvSpPr>
        <p:spPr bwMode="auto">
          <a:xfrm>
            <a:off x="101319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68">
            <a:extLst>
              <a:ext uri="{FF2B5EF4-FFF2-40B4-BE49-F238E27FC236}">
                <a16:creationId xmlns:a16="http://schemas.microsoft.com/office/drawing/2014/main" id="{62075B0E-7430-4D15-AB16-DE62B56E3486}"/>
              </a:ext>
            </a:extLst>
          </p:cNvPr>
          <p:cNvSpPr>
            <a:spLocks/>
          </p:cNvSpPr>
          <p:nvPr/>
        </p:nvSpPr>
        <p:spPr bwMode="auto">
          <a:xfrm>
            <a:off x="101319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69">
            <a:extLst>
              <a:ext uri="{FF2B5EF4-FFF2-40B4-BE49-F238E27FC236}">
                <a16:creationId xmlns:a16="http://schemas.microsoft.com/office/drawing/2014/main" id="{80023F5E-01C0-45FF-9E0F-64499FCFD996}"/>
              </a:ext>
            </a:extLst>
          </p:cNvPr>
          <p:cNvSpPr>
            <a:spLocks/>
          </p:cNvSpPr>
          <p:nvPr/>
        </p:nvSpPr>
        <p:spPr bwMode="auto">
          <a:xfrm>
            <a:off x="101319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0">
            <a:extLst>
              <a:ext uri="{FF2B5EF4-FFF2-40B4-BE49-F238E27FC236}">
                <a16:creationId xmlns:a16="http://schemas.microsoft.com/office/drawing/2014/main" id="{1B34D493-3B72-4B78-BEEC-7FFAE450F73B}"/>
              </a:ext>
            </a:extLst>
          </p:cNvPr>
          <p:cNvSpPr>
            <a:spLocks/>
          </p:cNvSpPr>
          <p:nvPr/>
        </p:nvSpPr>
        <p:spPr bwMode="auto">
          <a:xfrm>
            <a:off x="101319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1">
            <a:extLst>
              <a:ext uri="{FF2B5EF4-FFF2-40B4-BE49-F238E27FC236}">
                <a16:creationId xmlns:a16="http://schemas.microsoft.com/office/drawing/2014/main" id="{5F18B045-28F3-4F6C-A1E5-56030C81129A}"/>
              </a:ext>
            </a:extLst>
          </p:cNvPr>
          <p:cNvSpPr>
            <a:spLocks/>
          </p:cNvSpPr>
          <p:nvPr/>
        </p:nvSpPr>
        <p:spPr bwMode="auto">
          <a:xfrm>
            <a:off x="101319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2">
            <a:extLst>
              <a:ext uri="{FF2B5EF4-FFF2-40B4-BE49-F238E27FC236}">
                <a16:creationId xmlns:a16="http://schemas.microsoft.com/office/drawing/2014/main" id="{731BDFBE-6877-4D7C-A2AA-8DBD6F26C34C}"/>
              </a:ext>
            </a:extLst>
          </p:cNvPr>
          <p:cNvSpPr>
            <a:spLocks/>
          </p:cNvSpPr>
          <p:nvPr/>
        </p:nvSpPr>
        <p:spPr bwMode="auto">
          <a:xfrm>
            <a:off x="101319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3">
            <a:extLst>
              <a:ext uri="{FF2B5EF4-FFF2-40B4-BE49-F238E27FC236}">
                <a16:creationId xmlns:a16="http://schemas.microsoft.com/office/drawing/2014/main" id="{2D455E27-320F-4D79-9771-DEEA503E04B4}"/>
              </a:ext>
            </a:extLst>
          </p:cNvPr>
          <p:cNvSpPr>
            <a:spLocks/>
          </p:cNvSpPr>
          <p:nvPr/>
        </p:nvSpPr>
        <p:spPr bwMode="auto">
          <a:xfrm>
            <a:off x="101319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74">
            <a:extLst>
              <a:ext uri="{FF2B5EF4-FFF2-40B4-BE49-F238E27FC236}">
                <a16:creationId xmlns:a16="http://schemas.microsoft.com/office/drawing/2014/main" id="{E7663353-0B3F-44EB-9A17-017CCEBDD14D}"/>
              </a:ext>
            </a:extLst>
          </p:cNvPr>
          <p:cNvSpPr>
            <a:spLocks/>
          </p:cNvSpPr>
          <p:nvPr/>
        </p:nvSpPr>
        <p:spPr bwMode="auto">
          <a:xfrm>
            <a:off x="101319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75">
            <a:extLst>
              <a:ext uri="{FF2B5EF4-FFF2-40B4-BE49-F238E27FC236}">
                <a16:creationId xmlns:a16="http://schemas.microsoft.com/office/drawing/2014/main" id="{A3B8FC78-4B09-4226-8F9D-D14DC8AD4DB1}"/>
              </a:ext>
            </a:extLst>
          </p:cNvPr>
          <p:cNvSpPr>
            <a:spLocks/>
          </p:cNvSpPr>
          <p:nvPr/>
        </p:nvSpPr>
        <p:spPr bwMode="auto">
          <a:xfrm>
            <a:off x="101319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76">
            <a:extLst>
              <a:ext uri="{FF2B5EF4-FFF2-40B4-BE49-F238E27FC236}">
                <a16:creationId xmlns:a16="http://schemas.microsoft.com/office/drawing/2014/main" id="{C22F7B81-DEE1-427C-9E53-2A1CBC5EF7AA}"/>
              </a:ext>
            </a:extLst>
          </p:cNvPr>
          <p:cNvSpPr>
            <a:spLocks/>
          </p:cNvSpPr>
          <p:nvPr/>
        </p:nvSpPr>
        <p:spPr bwMode="auto">
          <a:xfrm>
            <a:off x="101319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77">
            <a:extLst>
              <a:ext uri="{FF2B5EF4-FFF2-40B4-BE49-F238E27FC236}">
                <a16:creationId xmlns:a16="http://schemas.microsoft.com/office/drawing/2014/main" id="{64E5EC38-3F63-4439-9B02-642DB1329758}"/>
              </a:ext>
            </a:extLst>
          </p:cNvPr>
          <p:cNvSpPr>
            <a:spLocks/>
          </p:cNvSpPr>
          <p:nvPr/>
        </p:nvSpPr>
        <p:spPr bwMode="auto">
          <a:xfrm>
            <a:off x="101319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78">
            <a:extLst>
              <a:ext uri="{FF2B5EF4-FFF2-40B4-BE49-F238E27FC236}">
                <a16:creationId xmlns:a16="http://schemas.microsoft.com/office/drawing/2014/main" id="{5A45B69E-9E04-4DC5-9A08-D953F665421F}"/>
              </a:ext>
            </a:extLst>
          </p:cNvPr>
          <p:cNvSpPr>
            <a:spLocks/>
          </p:cNvSpPr>
          <p:nvPr/>
        </p:nvSpPr>
        <p:spPr bwMode="auto">
          <a:xfrm>
            <a:off x="101319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79">
            <a:extLst>
              <a:ext uri="{FF2B5EF4-FFF2-40B4-BE49-F238E27FC236}">
                <a16:creationId xmlns:a16="http://schemas.microsoft.com/office/drawing/2014/main" id="{A5C1D901-C43A-4CDE-A4E2-421091A83135}"/>
              </a:ext>
            </a:extLst>
          </p:cNvPr>
          <p:cNvSpPr>
            <a:spLocks/>
          </p:cNvSpPr>
          <p:nvPr/>
        </p:nvSpPr>
        <p:spPr bwMode="auto">
          <a:xfrm>
            <a:off x="101319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80">
            <a:extLst>
              <a:ext uri="{FF2B5EF4-FFF2-40B4-BE49-F238E27FC236}">
                <a16:creationId xmlns:a16="http://schemas.microsoft.com/office/drawing/2014/main" id="{F38DAA20-0ECE-465B-8C34-B9C1ECDEFB77}"/>
              </a:ext>
            </a:extLst>
          </p:cNvPr>
          <p:cNvSpPr>
            <a:spLocks/>
          </p:cNvSpPr>
          <p:nvPr/>
        </p:nvSpPr>
        <p:spPr bwMode="auto">
          <a:xfrm>
            <a:off x="101319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81">
            <a:extLst>
              <a:ext uri="{FF2B5EF4-FFF2-40B4-BE49-F238E27FC236}">
                <a16:creationId xmlns:a16="http://schemas.microsoft.com/office/drawing/2014/main" id="{7DD18037-CA56-49E9-B2E4-AD98C6C7E825}"/>
              </a:ext>
            </a:extLst>
          </p:cNvPr>
          <p:cNvSpPr>
            <a:spLocks/>
          </p:cNvSpPr>
          <p:nvPr/>
        </p:nvSpPr>
        <p:spPr bwMode="auto">
          <a:xfrm>
            <a:off x="101319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82">
            <a:extLst>
              <a:ext uri="{FF2B5EF4-FFF2-40B4-BE49-F238E27FC236}">
                <a16:creationId xmlns:a16="http://schemas.microsoft.com/office/drawing/2014/main" id="{321941B1-0EE9-4B52-AE96-1DFBEE78729D}"/>
              </a:ext>
            </a:extLst>
          </p:cNvPr>
          <p:cNvSpPr>
            <a:spLocks/>
          </p:cNvSpPr>
          <p:nvPr/>
        </p:nvSpPr>
        <p:spPr bwMode="auto">
          <a:xfrm>
            <a:off x="101319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83">
            <a:extLst>
              <a:ext uri="{FF2B5EF4-FFF2-40B4-BE49-F238E27FC236}">
                <a16:creationId xmlns:a16="http://schemas.microsoft.com/office/drawing/2014/main" id="{03C40B68-16DB-4156-98E2-AB54530CF94F}"/>
              </a:ext>
            </a:extLst>
          </p:cNvPr>
          <p:cNvSpPr>
            <a:spLocks/>
          </p:cNvSpPr>
          <p:nvPr/>
        </p:nvSpPr>
        <p:spPr bwMode="auto">
          <a:xfrm>
            <a:off x="101319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84">
            <a:extLst>
              <a:ext uri="{FF2B5EF4-FFF2-40B4-BE49-F238E27FC236}">
                <a16:creationId xmlns:a16="http://schemas.microsoft.com/office/drawing/2014/main" id="{34A57DCA-58F9-432F-AF77-2246185FFA55}"/>
              </a:ext>
            </a:extLst>
          </p:cNvPr>
          <p:cNvSpPr>
            <a:spLocks/>
          </p:cNvSpPr>
          <p:nvPr/>
        </p:nvSpPr>
        <p:spPr bwMode="auto">
          <a:xfrm>
            <a:off x="101319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85">
            <a:extLst>
              <a:ext uri="{FF2B5EF4-FFF2-40B4-BE49-F238E27FC236}">
                <a16:creationId xmlns:a16="http://schemas.microsoft.com/office/drawing/2014/main" id="{C6524A8C-F9A4-4C24-ACD2-AC8667B3D434}"/>
              </a:ext>
            </a:extLst>
          </p:cNvPr>
          <p:cNvSpPr>
            <a:spLocks/>
          </p:cNvSpPr>
          <p:nvPr/>
        </p:nvSpPr>
        <p:spPr bwMode="auto">
          <a:xfrm>
            <a:off x="101319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86">
            <a:extLst>
              <a:ext uri="{FF2B5EF4-FFF2-40B4-BE49-F238E27FC236}">
                <a16:creationId xmlns:a16="http://schemas.microsoft.com/office/drawing/2014/main" id="{1ECCD8C7-2EC8-40B0-BA24-ED0BA162C006}"/>
              </a:ext>
            </a:extLst>
          </p:cNvPr>
          <p:cNvSpPr>
            <a:spLocks/>
          </p:cNvSpPr>
          <p:nvPr/>
        </p:nvSpPr>
        <p:spPr bwMode="auto">
          <a:xfrm>
            <a:off x="101319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87">
            <a:extLst>
              <a:ext uri="{FF2B5EF4-FFF2-40B4-BE49-F238E27FC236}">
                <a16:creationId xmlns:a16="http://schemas.microsoft.com/office/drawing/2014/main" id="{B220EED8-C422-403C-B243-5C583492B304}"/>
              </a:ext>
            </a:extLst>
          </p:cNvPr>
          <p:cNvSpPr>
            <a:spLocks/>
          </p:cNvSpPr>
          <p:nvPr/>
        </p:nvSpPr>
        <p:spPr bwMode="auto">
          <a:xfrm>
            <a:off x="101319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88">
            <a:extLst>
              <a:ext uri="{FF2B5EF4-FFF2-40B4-BE49-F238E27FC236}">
                <a16:creationId xmlns:a16="http://schemas.microsoft.com/office/drawing/2014/main" id="{2BC3E79E-8A8A-4A33-A95F-D8B5AE35EE44}"/>
              </a:ext>
            </a:extLst>
          </p:cNvPr>
          <p:cNvSpPr>
            <a:spLocks/>
          </p:cNvSpPr>
          <p:nvPr/>
        </p:nvSpPr>
        <p:spPr bwMode="auto">
          <a:xfrm>
            <a:off x="101319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89">
            <a:extLst>
              <a:ext uri="{FF2B5EF4-FFF2-40B4-BE49-F238E27FC236}">
                <a16:creationId xmlns:a16="http://schemas.microsoft.com/office/drawing/2014/main" id="{94323D70-0C2A-4D68-A255-B226877BDFC7}"/>
              </a:ext>
            </a:extLst>
          </p:cNvPr>
          <p:cNvSpPr>
            <a:spLocks/>
          </p:cNvSpPr>
          <p:nvPr/>
        </p:nvSpPr>
        <p:spPr bwMode="auto">
          <a:xfrm>
            <a:off x="101319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90">
            <a:extLst>
              <a:ext uri="{FF2B5EF4-FFF2-40B4-BE49-F238E27FC236}">
                <a16:creationId xmlns:a16="http://schemas.microsoft.com/office/drawing/2014/main" id="{BDD21956-A9DB-4FC4-8FBB-A51EC97A3D97}"/>
              </a:ext>
            </a:extLst>
          </p:cNvPr>
          <p:cNvSpPr>
            <a:spLocks/>
          </p:cNvSpPr>
          <p:nvPr/>
        </p:nvSpPr>
        <p:spPr bwMode="auto">
          <a:xfrm>
            <a:off x="101319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91">
            <a:extLst>
              <a:ext uri="{FF2B5EF4-FFF2-40B4-BE49-F238E27FC236}">
                <a16:creationId xmlns:a16="http://schemas.microsoft.com/office/drawing/2014/main" id="{4306532F-672D-4147-9140-E8C635F5BAA4}"/>
              </a:ext>
            </a:extLst>
          </p:cNvPr>
          <p:cNvSpPr>
            <a:spLocks/>
          </p:cNvSpPr>
          <p:nvPr/>
        </p:nvSpPr>
        <p:spPr bwMode="auto">
          <a:xfrm>
            <a:off x="101319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92">
            <a:extLst>
              <a:ext uri="{FF2B5EF4-FFF2-40B4-BE49-F238E27FC236}">
                <a16:creationId xmlns:a16="http://schemas.microsoft.com/office/drawing/2014/main" id="{0868698F-0B92-4A06-8E6B-7BB321546DFD}"/>
              </a:ext>
            </a:extLst>
          </p:cNvPr>
          <p:cNvSpPr>
            <a:spLocks/>
          </p:cNvSpPr>
          <p:nvPr/>
        </p:nvSpPr>
        <p:spPr bwMode="auto">
          <a:xfrm>
            <a:off x="101319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93">
            <a:extLst>
              <a:ext uri="{FF2B5EF4-FFF2-40B4-BE49-F238E27FC236}">
                <a16:creationId xmlns:a16="http://schemas.microsoft.com/office/drawing/2014/main" id="{FA0E9C24-15DB-4AAA-8BF8-13B28EE49FC3}"/>
              </a:ext>
            </a:extLst>
          </p:cNvPr>
          <p:cNvSpPr>
            <a:spLocks/>
          </p:cNvSpPr>
          <p:nvPr/>
        </p:nvSpPr>
        <p:spPr bwMode="auto">
          <a:xfrm>
            <a:off x="101319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94">
            <a:extLst>
              <a:ext uri="{FF2B5EF4-FFF2-40B4-BE49-F238E27FC236}">
                <a16:creationId xmlns:a16="http://schemas.microsoft.com/office/drawing/2014/main" id="{D9DC25AE-66F7-41FA-BF31-FEC5DB6C3D7D}"/>
              </a:ext>
            </a:extLst>
          </p:cNvPr>
          <p:cNvSpPr>
            <a:spLocks/>
          </p:cNvSpPr>
          <p:nvPr/>
        </p:nvSpPr>
        <p:spPr bwMode="auto">
          <a:xfrm>
            <a:off x="101319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95">
            <a:extLst>
              <a:ext uri="{FF2B5EF4-FFF2-40B4-BE49-F238E27FC236}">
                <a16:creationId xmlns:a16="http://schemas.microsoft.com/office/drawing/2014/main" id="{8591D7C3-3EB6-475C-83A5-FEE5EB284E17}"/>
              </a:ext>
            </a:extLst>
          </p:cNvPr>
          <p:cNvSpPr>
            <a:spLocks/>
          </p:cNvSpPr>
          <p:nvPr/>
        </p:nvSpPr>
        <p:spPr bwMode="auto">
          <a:xfrm>
            <a:off x="101319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96">
            <a:extLst>
              <a:ext uri="{FF2B5EF4-FFF2-40B4-BE49-F238E27FC236}">
                <a16:creationId xmlns:a16="http://schemas.microsoft.com/office/drawing/2014/main" id="{A385855F-1720-403A-A207-F720E4AEA6AF}"/>
              </a:ext>
            </a:extLst>
          </p:cNvPr>
          <p:cNvSpPr>
            <a:spLocks/>
          </p:cNvSpPr>
          <p:nvPr/>
        </p:nvSpPr>
        <p:spPr bwMode="auto">
          <a:xfrm>
            <a:off x="101319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97">
            <a:extLst>
              <a:ext uri="{FF2B5EF4-FFF2-40B4-BE49-F238E27FC236}">
                <a16:creationId xmlns:a16="http://schemas.microsoft.com/office/drawing/2014/main" id="{B67F6BA6-853F-444D-BE03-DB76F3C54646}"/>
              </a:ext>
            </a:extLst>
          </p:cNvPr>
          <p:cNvSpPr>
            <a:spLocks/>
          </p:cNvSpPr>
          <p:nvPr/>
        </p:nvSpPr>
        <p:spPr bwMode="auto">
          <a:xfrm>
            <a:off x="101319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98">
            <a:extLst>
              <a:ext uri="{FF2B5EF4-FFF2-40B4-BE49-F238E27FC236}">
                <a16:creationId xmlns:a16="http://schemas.microsoft.com/office/drawing/2014/main" id="{1DCD5229-E23F-427C-9C68-14ACEA184B04}"/>
              </a:ext>
            </a:extLst>
          </p:cNvPr>
          <p:cNvSpPr>
            <a:spLocks/>
          </p:cNvSpPr>
          <p:nvPr/>
        </p:nvSpPr>
        <p:spPr bwMode="auto">
          <a:xfrm>
            <a:off x="101319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99">
            <a:extLst>
              <a:ext uri="{FF2B5EF4-FFF2-40B4-BE49-F238E27FC236}">
                <a16:creationId xmlns:a16="http://schemas.microsoft.com/office/drawing/2014/main" id="{6AA70B95-0091-41A9-9128-D406726A82D6}"/>
              </a:ext>
            </a:extLst>
          </p:cNvPr>
          <p:cNvSpPr>
            <a:spLocks/>
          </p:cNvSpPr>
          <p:nvPr/>
        </p:nvSpPr>
        <p:spPr bwMode="auto">
          <a:xfrm>
            <a:off x="101319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00">
            <a:extLst>
              <a:ext uri="{FF2B5EF4-FFF2-40B4-BE49-F238E27FC236}">
                <a16:creationId xmlns:a16="http://schemas.microsoft.com/office/drawing/2014/main" id="{41B5CD4D-7430-4F11-B871-9BBA98ED6F59}"/>
              </a:ext>
            </a:extLst>
          </p:cNvPr>
          <p:cNvSpPr>
            <a:spLocks/>
          </p:cNvSpPr>
          <p:nvPr/>
        </p:nvSpPr>
        <p:spPr bwMode="auto">
          <a:xfrm>
            <a:off x="101319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201">
            <a:extLst>
              <a:ext uri="{FF2B5EF4-FFF2-40B4-BE49-F238E27FC236}">
                <a16:creationId xmlns:a16="http://schemas.microsoft.com/office/drawing/2014/main" id="{95FCEA3C-8885-4E76-A49A-056A6BF3FE1E}"/>
              </a:ext>
            </a:extLst>
          </p:cNvPr>
          <p:cNvSpPr>
            <a:spLocks/>
          </p:cNvSpPr>
          <p:nvPr/>
        </p:nvSpPr>
        <p:spPr bwMode="auto">
          <a:xfrm>
            <a:off x="101319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02">
            <a:extLst>
              <a:ext uri="{FF2B5EF4-FFF2-40B4-BE49-F238E27FC236}">
                <a16:creationId xmlns:a16="http://schemas.microsoft.com/office/drawing/2014/main" id="{06793E35-22ED-4330-BC35-95078FEF6842}"/>
              </a:ext>
            </a:extLst>
          </p:cNvPr>
          <p:cNvSpPr>
            <a:spLocks/>
          </p:cNvSpPr>
          <p:nvPr/>
        </p:nvSpPr>
        <p:spPr bwMode="auto">
          <a:xfrm>
            <a:off x="94213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03">
            <a:extLst>
              <a:ext uri="{FF2B5EF4-FFF2-40B4-BE49-F238E27FC236}">
                <a16:creationId xmlns:a16="http://schemas.microsoft.com/office/drawing/2014/main" id="{2A59743D-BD03-4EE9-AA60-A5968F0E4910}"/>
              </a:ext>
            </a:extLst>
          </p:cNvPr>
          <p:cNvSpPr>
            <a:spLocks/>
          </p:cNvSpPr>
          <p:nvPr/>
        </p:nvSpPr>
        <p:spPr bwMode="auto">
          <a:xfrm>
            <a:off x="94072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204">
            <a:extLst>
              <a:ext uri="{FF2B5EF4-FFF2-40B4-BE49-F238E27FC236}">
                <a16:creationId xmlns:a16="http://schemas.microsoft.com/office/drawing/2014/main" id="{F4258471-FBB0-4FF8-91E9-0A661950EF27}"/>
              </a:ext>
            </a:extLst>
          </p:cNvPr>
          <p:cNvSpPr>
            <a:spLocks noChangeArrowheads="1"/>
          </p:cNvSpPr>
          <p:nvPr/>
        </p:nvSpPr>
        <p:spPr bwMode="auto">
          <a:xfrm>
            <a:off x="80184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06">
            <a:extLst>
              <a:ext uri="{FF2B5EF4-FFF2-40B4-BE49-F238E27FC236}">
                <a16:creationId xmlns:a16="http://schemas.microsoft.com/office/drawing/2014/main" id="{2DED153D-0F74-4D09-8ECE-FC273F475DBE}"/>
              </a:ext>
            </a:extLst>
          </p:cNvPr>
          <p:cNvSpPr>
            <a:spLocks/>
          </p:cNvSpPr>
          <p:nvPr/>
        </p:nvSpPr>
        <p:spPr bwMode="auto">
          <a:xfrm>
            <a:off x="80042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207">
            <a:extLst>
              <a:ext uri="{FF2B5EF4-FFF2-40B4-BE49-F238E27FC236}">
                <a16:creationId xmlns:a16="http://schemas.microsoft.com/office/drawing/2014/main" id="{B425B385-65A0-4485-973A-E25A707B9350}"/>
              </a:ext>
            </a:extLst>
          </p:cNvPr>
          <p:cNvSpPr>
            <a:spLocks/>
          </p:cNvSpPr>
          <p:nvPr/>
        </p:nvSpPr>
        <p:spPr bwMode="auto">
          <a:xfrm>
            <a:off x="81459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208">
            <a:extLst>
              <a:ext uri="{FF2B5EF4-FFF2-40B4-BE49-F238E27FC236}">
                <a16:creationId xmlns:a16="http://schemas.microsoft.com/office/drawing/2014/main" id="{78B21273-C41C-49C0-BE59-20FE77E6F6A1}"/>
              </a:ext>
            </a:extLst>
          </p:cNvPr>
          <p:cNvSpPr>
            <a:spLocks/>
          </p:cNvSpPr>
          <p:nvPr/>
        </p:nvSpPr>
        <p:spPr bwMode="auto">
          <a:xfrm>
            <a:off x="81317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Rectangle 209">
            <a:extLst>
              <a:ext uri="{FF2B5EF4-FFF2-40B4-BE49-F238E27FC236}">
                <a16:creationId xmlns:a16="http://schemas.microsoft.com/office/drawing/2014/main" id="{1388C442-1F9A-46A4-8534-27729AFA00D5}"/>
              </a:ext>
            </a:extLst>
          </p:cNvPr>
          <p:cNvSpPr>
            <a:spLocks noChangeArrowheads="1"/>
          </p:cNvSpPr>
          <p:nvPr/>
        </p:nvSpPr>
        <p:spPr bwMode="auto">
          <a:xfrm>
            <a:off x="81510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210">
            <a:extLst>
              <a:ext uri="{FF2B5EF4-FFF2-40B4-BE49-F238E27FC236}">
                <a16:creationId xmlns:a16="http://schemas.microsoft.com/office/drawing/2014/main" id="{E8EF9FB4-5231-43AB-A68A-6164022AA9D0}"/>
              </a:ext>
            </a:extLst>
          </p:cNvPr>
          <p:cNvSpPr>
            <a:spLocks/>
          </p:cNvSpPr>
          <p:nvPr/>
        </p:nvSpPr>
        <p:spPr bwMode="auto">
          <a:xfrm>
            <a:off x="81358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Rectangle 211">
            <a:extLst>
              <a:ext uri="{FF2B5EF4-FFF2-40B4-BE49-F238E27FC236}">
                <a16:creationId xmlns:a16="http://schemas.microsoft.com/office/drawing/2014/main" id="{6095D2ED-2142-40C2-B316-4D0515F3F25D}"/>
              </a:ext>
            </a:extLst>
          </p:cNvPr>
          <p:cNvSpPr>
            <a:spLocks noChangeArrowheads="1"/>
          </p:cNvSpPr>
          <p:nvPr/>
        </p:nvSpPr>
        <p:spPr bwMode="auto">
          <a:xfrm>
            <a:off x="81054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212">
            <a:extLst>
              <a:ext uri="{FF2B5EF4-FFF2-40B4-BE49-F238E27FC236}">
                <a16:creationId xmlns:a16="http://schemas.microsoft.com/office/drawing/2014/main" id="{4F0ECDE6-6198-4B61-9E79-92D9D1ECA6B1}"/>
              </a:ext>
            </a:extLst>
          </p:cNvPr>
          <p:cNvSpPr>
            <a:spLocks/>
          </p:cNvSpPr>
          <p:nvPr/>
        </p:nvSpPr>
        <p:spPr bwMode="auto">
          <a:xfrm>
            <a:off x="80902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213">
            <a:extLst>
              <a:ext uri="{FF2B5EF4-FFF2-40B4-BE49-F238E27FC236}">
                <a16:creationId xmlns:a16="http://schemas.microsoft.com/office/drawing/2014/main" id="{C2D9C2F6-9465-4252-84FA-DCD9BCA9B808}"/>
              </a:ext>
            </a:extLst>
          </p:cNvPr>
          <p:cNvSpPr>
            <a:spLocks/>
          </p:cNvSpPr>
          <p:nvPr/>
        </p:nvSpPr>
        <p:spPr bwMode="auto">
          <a:xfrm>
            <a:off x="87057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214">
            <a:extLst>
              <a:ext uri="{FF2B5EF4-FFF2-40B4-BE49-F238E27FC236}">
                <a16:creationId xmlns:a16="http://schemas.microsoft.com/office/drawing/2014/main" id="{F057370E-DDD5-4173-A444-D381D29E2585}"/>
              </a:ext>
            </a:extLst>
          </p:cNvPr>
          <p:cNvSpPr>
            <a:spLocks/>
          </p:cNvSpPr>
          <p:nvPr/>
        </p:nvSpPr>
        <p:spPr bwMode="auto">
          <a:xfrm>
            <a:off x="86905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Rectangle 215">
            <a:extLst>
              <a:ext uri="{FF2B5EF4-FFF2-40B4-BE49-F238E27FC236}">
                <a16:creationId xmlns:a16="http://schemas.microsoft.com/office/drawing/2014/main" id="{5D832CC0-B6AA-4EE7-82B1-69626662330A}"/>
              </a:ext>
            </a:extLst>
          </p:cNvPr>
          <p:cNvSpPr>
            <a:spLocks noChangeArrowheads="1"/>
          </p:cNvSpPr>
          <p:nvPr/>
        </p:nvSpPr>
        <p:spPr bwMode="auto">
          <a:xfrm>
            <a:off x="87097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216">
            <a:extLst>
              <a:ext uri="{FF2B5EF4-FFF2-40B4-BE49-F238E27FC236}">
                <a16:creationId xmlns:a16="http://schemas.microsoft.com/office/drawing/2014/main" id="{E1DDE99E-3434-44C6-9144-573F99F7C5CD}"/>
              </a:ext>
            </a:extLst>
          </p:cNvPr>
          <p:cNvSpPr>
            <a:spLocks/>
          </p:cNvSpPr>
          <p:nvPr/>
        </p:nvSpPr>
        <p:spPr bwMode="auto">
          <a:xfrm>
            <a:off x="86955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Rectangle 217">
            <a:extLst>
              <a:ext uri="{FF2B5EF4-FFF2-40B4-BE49-F238E27FC236}">
                <a16:creationId xmlns:a16="http://schemas.microsoft.com/office/drawing/2014/main" id="{E4891E14-F65E-4FBA-AFE7-86B93B87AAFF}"/>
              </a:ext>
            </a:extLst>
          </p:cNvPr>
          <p:cNvSpPr>
            <a:spLocks noChangeArrowheads="1"/>
          </p:cNvSpPr>
          <p:nvPr/>
        </p:nvSpPr>
        <p:spPr bwMode="auto">
          <a:xfrm>
            <a:off x="86672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218">
            <a:extLst>
              <a:ext uri="{FF2B5EF4-FFF2-40B4-BE49-F238E27FC236}">
                <a16:creationId xmlns:a16="http://schemas.microsoft.com/office/drawing/2014/main" id="{1D85241E-F6FC-4FC2-A314-B690B933FDE4}"/>
              </a:ext>
            </a:extLst>
          </p:cNvPr>
          <p:cNvSpPr>
            <a:spLocks/>
          </p:cNvSpPr>
          <p:nvPr/>
        </p:nvSpPr>
        <p:spPr bwMode="auto">
          <a:xfrm>
            <a:off x="86530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219">
            <a:extLst>
              <a:ext uri="{FF2B5EF4-FFF2-40B4-BE49-F238E27FC236}">
                <a16:creationId xmlns:a16="http://schemas.microsoft.com/office/drawing/2014/main" id="{97C82561-895F-42AB-9DE6-8A71ABB1CC12}"/>
              </a:ext>
            </a:extLst>
          </p:cNvPr>
          <p:cNvSpPr>
            <a:spLocks/>
          </p:cNvSpPr>
          <p:nvPr/>
        </p:nvSpPr>
        <p:spPr bwMode="auto">
          <a:xfrm>
            <a:off x="92654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220">
            <a:extLst>
              <a:ext uri="{FF2B5EF4-FFF2-40B4-BE49-F238E27FC236}">
                <a16:creationId xmlns:a16="http://schemas.microsoft.com/office/drawing/2014/main" id="{85E62450-4C12-4408-B4F3-47239ED83A9A}"/>
              </a:ext>
            </a:extLst>
          </p:cNvPr>
          <p:cNvSpPr>
            <a:spLocks/>
          </p:cNvSpPr>
          <p:nvPr/>
        </p:nvSpPr>
        <p:spPr bwMode="auto">
          <a:xfrm>
            <a:off x="92503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Rectangle 221">
            <a:extLst>
              <a:ext uri="{FF2B5EF4-FFF2-40B4-BE49-F238E27FC236}">
                <a16:creationId xmlns:a16="http://schemas.microsoft.com/office/drawing/2014/main" id="{8B2145D3-F837-4387-AB37-D9BED491B285}"/>
              </a:ext>
            </a:extLst>
          </p:cNvPr>
          <p:cNvSpPr>
            <a:spLocks noChangeArrowheads="1"/>
          </p:cNvSpPr>
          <p:nvPr/>
        </p:nvSpPr>
        <p:spPr bwMode="auto">
          <a:xfrm>
            <a:off x="92695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222">
            <a:extLst>
              <a:ext uri="{FF2B5EF4-FFF2-40B4-BE49-F238E27FC236}">
                <a16:creationId xmlns:a16="http://schemas.microsoft.com/office/drawing/2014/main" id="{DC0808CB-1E27-49E6-885A-B33ADF2491CC}"/>
              </a:ext>
            </a:extLst>
          </p:cNvPr>
          <p:cNvSpPr>
            <a:spLocks/>
          </p:cNvSpPr>
          <p:nvPr/>
        </p:nvSpPr>
        <p:spPr bwMode="auto">
          <a:xfrm>
            <a:off x="92553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223">
            <a:extLst>
              <a:ext uri="{FF2B5EF4-FFF2-40B4-BE49-F238E27FC236}">
                <a16:creationId xmlns:a16="http://schemas.microsoft.com/office/drawing/2014/main" id="{EE989D81-BF2D-40C8-ACDA-2147AD2431D1}"/>
              </a:ext>
            </a:extLst>
          </p:cNvPr>
          <p:cNvSpPr>
            <a:spLocks noChangeArrowheads="1"/>
          </p:cNvSpPr>
          <p:nvPr/>
        </p:nvSpPr>
        <p:spPr bwMode="auto">
          <a:xfrm>
            <a:off x="92270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224">
            <a:extLst>
              <a:ext uri="{FF2B5EF4-FFF2-40B4-BE49-F238E27FC236}">
                <a16:creationId xmlns:a16="http://schemas.microsoft.com/office/drawing/2014/main" id="{1D449AE5-3C09-421B-863F-6362BC6C905D}"/>
              </a:ext>
            </a:extLst>
          </p:cNvPr>
          <p:cNvSpPr>
            <a:spLocks/>
          </p:cNvSpPr>
          <p:nvPr/>
        </p:nvSpPr>
        <p:spPr bwMode="auto">
          <a:xfrm>
            <a:off x="92118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225">
            <a:extLst>
              <a:ext uri="{FF2B5EF4-FFF2-40B4-BE49-F238E27FC236}">
                <a16:creationId xmlns:a16="http://schemas.microsoft.com/office/drawing/2014/main" id="{E3A9E50A-0149-4F68-AF4E-1226F179420D}"/>
              </a:ext>
            </a:extLst>
          </p:cNvPr>
          <p:cNvSpPr>
            <a:spLocks/>
          </p:cNvSpPr>
          <p:nvPr/>
        </p:nvSpPr>
        <p:spPr bwMode="auto">
          <a:xfrm>
            <a:off x="98272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226">
            <a:extLst>
              <a:ext uri="{FF2B5EF4-FFF2-40B4-BE49-F238E27FC236}">
                <a16:creationId xmlns:a16="http://schemas.microsoft.com/office/drawing/2014/main" id="{672C9AB5-7704-4651-9EFC-E6FAB0FE375D}"/>
              </a:ext>
            </a:extLst>
          </p:cNvPr>
          <p:cNvSpPr>
            <a:spLocks/>
          </p:cNvSpPr>
          <p:nvPr/>
        </p:nvSpPr>
        <p:spPr bwMode="auto">
          <a:xfrm>
            <a:off x="98100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227">
            <a:extLst>
              <a:ext uri="{FF2B5EF4-FFF2-40B4-BE49-F238E27FC236}">
                <a16:creationId xmlns:a16="http://schemas.microsoft.com/office/drawing/2014/main" id="{9C32DAD8-3310-4D64-A868-FFF9A238FAD1}"/>
              </a:ext>
            </a:extLst>
          </p:cNvPr>
          <p:cNvSpPr>
            <a:spLocks noChangeArrowheads="1"/>
          </p:cNvSpPr>
          <p:nvPr/>
        </p:nvSpPr>
        <p:spPr bwMode="auto">
          <a:xfrm>
            <a:off x="98293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228">
            <a:extLst>
              <a:ext uri="{FF2B5EF4-FFF2-40B4-BE49-F238E27FC236}">
                <a16:creationId xmlns:a16="http://schemas.microsoft.com/office/drawing/2014/main" id="{F6DEDBC9-8621-4CB8-8561-E88DC4EDA411}"/>
              </a:ext>
            </a:extLst>
          </p:cNvPr>
          <p:cNvSpPr>
            <a:spLocks/>
          </p:cNvSpPr>
          <p:nvPr/>
        </p:nvSpPr>
        <p:spPr bwMode="auto">
          <a:xfrm>
            <a:off x="98151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229">
            <a:extLst>
              <a:ext uri="{FF2B5EF4-FFF2-40B4-BE49-F238E27FC236}">
                <a16:creationId xmlns:a16="http://schemas.microsoft.com/office/drawing/2014/main" id="{44C7FAA2-FB18-4DD0-B714-6FE22EE70111}"/>
              </a:ext>
            </a:extLst>
          </p:cNvPr>
          <p:cNvSpPr>
            <a:spLocks noChangeArrowheads="1"/>
          </p:cNvSpPr>
          <p:nvPr/>
        </p:nvSpPr>
        <p:spPr bwMode="auto">
          <a:xfrm>
            <a:off x="97857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230">
            <a:extLst>
              <a:ext uri="{FF2B5EF4-FFF2-40B4-BE49-F238E27FC236}">
                <a16:creationId xmlns:a16="http://schemas.microsoft.com/office/drawing/2014/main" id="{A2448F67-4EBF-4954-B20E-DDBFF6D69D77}"/>
              </a:ext>
            </a:extLst>
          </p:cNvPr>
          <p:cNvSpPr>
            <a:spLocks/>
          </p:cNvSpPr>
          <p:nvPr/>
        </p:nvSpPr>
        <p:spPr bwMode="auto">
          <a:xfrm>
            <a:off x="97716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231">
            <a:extLst>
              <a:ext uri="{FF2B5EF4-FFF2-40B4-BE49-F238E27FC236}">
                <a16:creationId xmlns:a16="http://schemas.microsoft.com/office/drawing/2014/main" id="{DEFC591B-C7F3-4708-8E2F-AB164A290BF9}"/>
              </a:ext>
            </a:extLst>
          </p:cNvPr>
          <p:cNvSpPr>
            <a:spLocks noChangeArrowheads="1"/>
          </p:cNvSpPr>
          <p:nvPr/>
        </p:nvSpPr>
        <p:spPr bwMode="auto">
          <a:xfrm>
            <a:off x="8018407" y="6073124"/>
            <a:ext cx="2239088" cy="290515"/>
          </a:xfrm>
          <a:prstGeom prst="rect">
            <a:avLst/>
          </a:prstGeom>
          <a:solidFill>
            <a:schemeClr val="bg1">
              <a:lumMod val="50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232">
            <a:extLst>
              <a:ext uri="{FF2B5EF4-FFF2-40B4-BE49-F238E27FC236}">
                <a16:creationId xmlns:a16="http://schemas.microsoft.com/office/drawing/2014/main" id="{15AF2D49-2D6F-471D-AADD-28C6B0619F83}"/>
              </a:ext>
            </a:extLst>
          </p:cNvPr>
          <p:cNvSpPr>
            <a:spLocks/>
          </p:cNvSpPr>
          <p:nvPr/>
        </p:nvSpPr>
        <p:spPr bwMode="auto">
          <a:xfrm>
            <a:off x="80042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233">
            <a:extLst>
              <a:ext uri="{FF2B5EF4-FFF2-40B4-BE49-F238E27FC236}">
                <a16:creationId xmlns:a16="http://schemas.microsoft.com/office/drawing/2014/main" id="{73D78A62-0A69-46E7-AAA0-E7501A674B2A}"/>
              </a:ext>
            </a:extLst>
          </p:cNvPr>
          <p:cNvSpPr>
            <a:spLocks/>
          </p:cNvSpPr>
          <p:nvPr/>
        </p:nvSpPr>
        <p:spPr bwMode="auto">
          <a:xfrm>
            <a:off x="85589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Line 234">
            <a:extLst>
              <a:ext uri="{FF2B5EF4-FFF2-40B4-BE49-F238E27FC236}">
                <a16:creationId xmlns:a16="http://schemas.microsoft.com/office/drawing/2014/main" id="{297698B3-95C6-466F-B334-878E36EA004B}"/>
              </a:ext>
            </a:extLst>
          </p:cNvPr>
          <p:cNvSpPr>
            <a:spLocks noChangeShapeType="1"/>
          </p:cNvSpPr>
          <p:nvPr/>
        </p:nvSpPr>
        <p:spPr bwMode="auto">
          <a:xfrm flipH="1">
            <a:off x="85589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0" name="Freeform 235">
            <a:extLst>
              <a:ext uri="{FF2B5EF4-FFF2-40B4-BE49-F238E27FC236}">
                <a16:creationId xmlns:a16="http://schemas.microsoft.com/office/drawing/2014/main" id="{DD9DF405-2D4E-4813-A0E1-BFA7EA96153B}"/>
              </a:ext>
            </a:extLst>
          </p:cNvPr>
          <p:cNvSpPr>
            <a:spLocks/>
          </p:cNvSpPr>
          <p:nvPr/>
        </p:nvSpPr>
        <p:spPr bwMode="auto">
          <a:xfrm>
            <a:off x="85447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236">
            <a:extLst>
              <a:ext uri="{FF2B5EF4-FFF2-40B4-BE49-F238E27FC236}">
                <a16:creationId xmlns:a16="http://schemas.microsoft.com/office/drawing/2014/main" id="{4153BC47-59E8-4A35-A392-09AAF332E66D}"/>
              </a:ext>
            </a:extLst>
          </p:cNvPr>
          <p:cNvSpPr>
            <a:spLocks/>
          </p:cNvSpPr>
          <p:nvPr/>
        </p:nvSpPr>
        <p:spPr bwMode="auto">
          <a:xfrm>
            <a:off x="79637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bg1">
              <a:lumMod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237">
            <a:extLst>
              <a:ext uri="{FF2B5EF4-FFF2-40B4-BE49-F238E27FC236}">
                <a16:creationId xmlns:a16="http://schemas.microsoft.com/office/drawing/2014/main" id="{C6C1CCD8-1B81-4CB5-8CC5-FC5792F9B21E}"/>
              </a:ext>
            </a:extLst>
          </p:cNvPr>
          <p:cNvSpPr>
            <a:spLocks/>
          </p:cNvSpPr>
          <p:nvPr/>
        </p:nvSpPr>
        <p:spPr bwMode="auto">
          <a:xfrm>
            <a:off x="79465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238">
            <a:extLst>
              <a:ext uri="{FF2B5EF4-FFF2-40B4-BE49-F238E27FC236}">
                <a16:creationId xmlns:a16="http://schemas.microsoft.com/office/drawing/2014/main" id="{342E0637-BB7F-4DC2-96D2-FCA072628794}"/>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239">
            <a:extLst>
              <a:ext uri="{FF2B5EF4-FFF2-40B4-BE49-F238E27FC236}">
                <a16:creationId xmlns:a16="http://schemas.microsoft.com/office/drawing/2014/main" id="{6C814CB9-DDD2-446B-8F77-1323551CDD93}"/>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5" name="Freeform 240">
            <a:extLst>
              <a:ext uri="{FF2B5EF4-FFF2-40B4-BE49-F238E27FC236}">
                <a16:creationId xmlns:a16="http://schemas.microsoft.com/office/drawing/2014/main" id="{BDDF1006-B3CA-4771-807B-9E214B7D026A}"/>
              </a:ext>
            </a:extLst>
          </p:cNvPr>
          <p:cNvSpPr>
            <a:spLocks noEditPoints="1"/>
          </p:cNvSpPr>
          <p:nvPr/>
        </p:nvSpPr>
        <p:spPr bwMode="auto">
          <a:xfrm>
            <a:off x="82613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241">
            <a:extLst>
              <a:ext uri="{FF2B5EF4-FFF2-40B4-BE49-F238E27FC236}">
                <a16:creationId xmlns:a16="http://schemas.microsoft.com/office/drawing/2014/main" id="{CC670C00-F427-43C2-9758-44D9427A3A0B}"/>
              </a:ext>
            </a:extLst>
          </p:cNvPr>
          <p:cNvSpPr>
            <a:spLocks/>
          </p:cNvSpPr>
          <p:nvPr/>
        </p:nvSpPr>
        <p:spPr bwMode="auto">
          <a:xfrm>
            <a:off x="72521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7" name="Freeform 242">
            <a:extLst>
              <a:ext uri="{FF2B5EF4-FFF2-40B4-BE49-F238E27FC236}">
                <a16:creationId xmlns:a16="http://schemas.microsoft.com/office/drawing/2014/main" id="{1780641F-26A2-4332-85E6-8CF907F5EE38}"/>
              </a:ext>
            </a:extLst>
          </p:cNvPr>
          <p:cNvSpPr>
            <a:spLocks/>
          </p:cNvSpPr>
          <p:nvPr/>
        </p:nvSpPr>
        <p:spPr bwMode="auto">
          <a:xfrm>
            <a:off x="72399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43">
            <a:extLst>
              <a:ext uri="{FF2B5EF4-FFF2-40B4-BE49-F238E27FC236}">
                <a16:creationId xmlns:a16="http://schemas.microsoft.com/office/drawing/2014/main" id="{865FA48E-3356-41A4-BA6D-E8151BA113B7}"/>
              </a:ext>
            </a:extLst>
          </p:cNvPr>
          <p:cNvSpPr>
            <a:spLocks/>
          </p:cNvSpPr>
          <p:nvPr/>
        </p:nvSpPr>
        <p:spPr bwMode="auto">
          <a:xfrm>
            <a:off x="75406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9" name="Freeform 244">
            <a:extLst>
              <a:ext uri="{FF2B5EF4-FFF2-40B4-BE49-F238E27FC236}">
                <a16:creationId xmlns:a16="http://schemas.microsoft.com/office/drawing/2014/main" id="{8ADC1700-5801-45E0-A1E8-0D0EA4979834}"/>
              </a:ext>
            </a:extLst>
          </p:cNvPr>
          <p:cNvSpPr>
            <a:spLocks/>
          </p:cNvSpPr>
          <p:nvPr/>
        </p:nvSpPr>
        <p:spPr bwMode="auto">
          <a:xfrm>
            <a:off x="75264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45">
            <a:extLst>
              <a:ext uri="{FF2B5EF4-FFF2-40B4-BE49-F238E27FC236}">
                <a16:creationId xmlns:a16="http://schemas.microsoft.com/office/drawing/2014/main" id="{7AD25499-9564-4CAE-A5DC-393A20B598FE}"/>
              </a:ext>
            </a:extLst>
          </p:cNvPr>
          <p:cNvSpPr>
            <a:spLocks/>
          </p:cNvSpPr>
          <p:nvPr/>
        </p:nvSpPr>
        <p:spPr bwMode="auto">
          <a:xfrm>
            <a:off x="77228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46">
            <a:extLst>
              <a:ext uri="{FF2B5EF4-FFF2-40B4-BE49-F238E27FC236}">
                <a16:creationId xmlns:a16="http://schemas.microsoft.com/office/drawing/2014/main" id="{B869EE5C-D2B4-418E-9525-518338CF2866}"/>
              </a:ext>
            </a:extLst>
          </p:cNvPr>
          <p:cNvSpPr>
            <a:spLocks/>
          </p:cNvSpPr>
          <p:nvPr/>
        </p:nvSpPr>
        <p:spPr bwMode="auto">
          <a:xfrm>
            <a:off x="77086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2" name="Oval 247">
            <a:extLst>
              <a:ext uri="{FF2B5EF4-FFF2-40B4-BE49-F238E27FC236}">
                <a16:creationId xmlns:a16="http://schemas.microsoft.com/office/drawing/2014/main" id="{136B4224-349B-4320-BD24-96A1FF9D0AFD}"/>
              </a:ext>
            </a:extLst>
          </p:cNvPr>
          <p:cNvSpPr>
            <a:spLocks noChangeArrowheads="1"/>
          </p:cNvSpPr>
          <p:nvPr/>
        </p:nvSpPr>
        <p:spPr bwMode="auto">
          <a:xfrm>
            <a:off x="77855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48">
            <a:extLst>
              <a:ext uri="{FF2B5EF4-FFF2-40B4-BE49-F238E27FC236}">
                <a16:creationId xmlns:a16="http://schemas.microsoft.com/office/drawing/2014/main" id="{EC651304-B4C4-4B7D-8BAB-C054FFE32BC7}"/>
              </a:ext>
            </a:extLst>
          </p:cNvPr>
          <p:cNvSpPr>
            <a:spLocks/>
          </p:cNvSpPr>
          <p:nvPr/>
        </p:nvSpPr>
        <p:spPr bwMode="auto">
          <a:xfrm>
            <a:off x="77714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49">
            <a:extLst>
              <a:ext uri="{FF2B5EF4-FFF2-40B4-BE49-F238E27FC236}">
                <a16:creationId xmlns:a16="http://schemas.microsoft.com/office/drawing/2014/main" id="{20AF748B-33E0-43FB-B42D-A156DF5D58E8}"/>
              </a:ext>
            </a:extLst>
          </p:cNvPr>
          <p:cNvSpPr>
            <a:spLocks/>
          </p:cNvSpPr>
          <p:nvPr/>
        </p:nvSpPr>
        <p:spPr bwMode="auto">
          <a:xfrm>
            <a:off x="79009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Line 250">
            <a:extLst>
              <a:ext uri="{FF2B5EF4-FFF2-40B4-BE49-F238E27FC236}">
                <a16:creationId xmlns:a16="http://schemas.microsoft.com/office/drawing/2014/main" id="{81674994-11AC-4B15-B487-DFE4D0ED31F8}"/>
              </a:ext>
            </a:extLst>
          </p:cNvPr>
          <p:cNvSpPr>
            <a:spLocks noChangeShapeType="1"/>
          </p:cNvSpPr>
          <p:nvPr/>
        </p:nvSpPr>
        <p:spPr bwMode="auto">
          <a:xfrm>
            <a:off x="79009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6" name="Freeform 251">
            <a:extLst>
              <a:ext uri="{FF2B5EF4-FFF2-40B4-BE49-F238E27FC236}">
                <a16:creationId xmlns:a16="http://schemas.microsoft.com/office/drawing/2014/main" id="{A638AE69-BE11-4A28-83E8-BFBAD51B03C7}"/>
              </a:ext>
            </a:extLst>
          </p:cNvPr>
          <p:cNvSpPr>
            <a:spLocks/>
          </p:cNvSpPr>
          <p:nvPr/>
        </p:nvSpPr>
        <p:spPr bwMode="auto">
          <a:xfrm>
            <a:off x="78868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252">
            <a:extLst>
              <a:ext uri="{FF2B5EF4-FFF2-40B4-BE49-F238E27FC236}">
                <a16:creationId xmlns:a16="http://schemas.microsoft.com/office/drawing/2014/main" id="{F9DB8C54-75B5-4114-B839-25756B929B12}"/>
              </a:ext>
            </a:extLst>
          </p:cNvPr>
          <p:cNvSpPr>
            <a:spLocks/>
          </p:cNvSpPr>
          <p:nvPr/>
        </p:nvSpPr>
        <p:spPr bwMode="auto">
          <a:xfrm>
            <a:off x="54341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253">
            <a:extLst>
              <a:ext uri="{FF2B5EF4-FFF2-40B4-BE49-F238E27FC236}">
                <a16:creationId xmlns:a16="http://schemas.microsoft.com/office/drawing/2014/main" id="{06FDE449-E140-493C-A1A2-CCBB62037090}"/>
              </a:ext>
            </a:extLst>
          </p:cNvPr>
          <p:cNvSpPr>
            <a:spLocks noEditPoints="1"/>
          </p:cNvSpPr>
          <p:nvPr/>
        </p:nvSpPr>
        <p:spPr bwMode="auto">
          <a:xfrm>
            <a:off x="46800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254">
            <a:extLst>
              <a:ext uri="{FF2B5EF4-FFF2-40B4-BE49-F238E27FC236}">
                <a16:creationId xmlns:a16="http://schemas.microsoft.com/office/drawing/2014/main" id="{CCFAB4F4-F1DB-4CF2-9210-7901754EE2D7}"/>
              </a:ext>
            </a:extLst>
          </p:cNvPr>
          <p:cNvSpPr>
            <a:spLocks/>
          </p:cNvSpPr>
          <p:nvPr/>
        </p:nvSpPr>
        <p:spPr bwMode="auto">
          <a:xfrm>
            <a:off x="106603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0" name="Freeform 255">
            <a:extLst>
              <a:ext uri="{FF2B5EF4-FFF2-40B4-BE49-F238E27FC236}">
                <a16:creationId xmlns:a16="http://schemas.microsoft.com/office/drawing/2014/main" id="{47DCECF8-2EA4-4B53-8CBE-62F17D30CF2D}"/>
              </a:ext>
            </a:extLst>
          </p:cNvPr>
          <p:cNvSpPr>
            <a:spLocks noEditPoints="1"/>
          </p:cNvSpPr>
          <p:nvPr/>
        </p:nvSpPr>
        <p:spPr bwMode="auto">
          <a:xfrm>
            <a:off x="106391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1" name="Freeform 256">
            <a:extLst>
              <a:ext uri="{FF2B5EF4-FFF2-40B4-BE49-F238E27FC236}">
                <a16:creationId xmlns:a16="http://schemas.microsoft.com/office/drawing/2014/main" id="{57F105F0-8B3B-484D-8C7F-3ED51A59FD10}"/>
              </a:ext>
            </a:extLst>
          </p:cNvPr>
          <p:cNvSpPr>
            <a:spLocks/>
          </p:cNvSpPr>
          <p:nvPr/>
        </p:nvSpPr>
        <p:spPr bwMode="auto">
          <a:xfrm>
            <a:off x="106461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2" name="Freeform 257">
            <a:extLst>
              <a:ext uri="{FF2B5EF4-FFF2-40B4-BE49-F238E27FC236}">
                <a16:creationId xmlns:a16="http://schemas.microsoft.com/office/drawing/2014/main" id="{75DE400A-10A6-49A4-BD4B-8CA5A9B47F32}"/>
              </a:ext>
            </a:extLst>
          </p:cNvPr>
          <p:cNvSpPr>
            <a:spLocks noEditPoints="1"/>
          </p:cNvSpPr>
          <p:nvPr/>
        </p:nvSpPr>
        <p:spPr bwMode="auto">
          <a:xfrm>
            <a:off x="106360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3" name="Freeform 258">
            <a:extLst>
              <a:ext uri="{FF2B5EF4-FFF2-40B4-BE49-F238E27FC236}">
                <a16:creationId xmlns:a16="http://schemas.microsoft.com/office/drawing/2014/main" id="{72EC22D0-BFA5-45A1-9249-50BD3D0221E7}"/>
              </a:ext>
            </a:extLst>
          </p:cNvPr>
          <p:cNvSpPr>
            <a:spLocks/>
          </p:cNvSpPr>
          <p:nvPr/>
        </p:nvSpPr>
        <p:spPr bwMode="auto">
          <a:xfrm>
            <a:off x="92604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Freeform 259">
            <a:extLst>
              <a:ext uri="{FF2B5EF4-FFF2-40B4-BE49-F238E27FC236}">
                <a16:creationId xmlns:a16="http://schemas.microsoft.com/office/drawing/2014/main" id="{1B104D8D-C911-4E3C-BA29-828AE8D8398E}"/>
              </a:ext>
            </a:extLst>
          </p:cNvPr>
          <p:cNvSpPr>
            <a:spLocks/>
          </p:cNvSpPr>
          <p:nvPr/>
        </p:nvSpPr>
        <p:spPr bwMode="auto">
          <a:xfrm>
            <a:off x="93657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60">
            <a:extLst>
              <a:ext uri="{FF2B5EF4-FFF2-40B4-BE49-F238E27FC236}">
                <a16:creationId xmlns:a16="http://schemas.microsoft.com/office/drawing/2014/main" id="{81748F99-B7B1-4213-9595-87AA8FA89AA0}"/>
              </a:ext>
            </a:extLst>
          </p:cNvPr>
          <p:cNvSpPr>
            <a:spLocks/>
          </p:cNvSpPr>
          <p:nvPr/>
        </p:nvSpPr>
        <p:spPr bwMode="auto">
          <a:xfrm>
            <a:off x="95914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76" name="Freeform 261">
            <a:extLst>
              <a:ext uri="{FF2B5EF4-FFF2-40B4-BE49-F238E27FC236}">
                <a16:creationId xmlns:a16="http://schemas.microsoft.com/office/drawing/2014/main" id="{BD60239A-4A6F-403E-9142-CB07D3A02437}"/>
              </a:ext>
            </a:extLst>
          </p:cNvPr>
          <p:cNvSpPr>
            <a:spLocks/>
          </p:cNvSpPr>
          <p:nvPr/>
        </p:nvSpPr>
        <p:spPr bwMode="auto">
          <a:xfrm>
            <a:off x="98434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62">
            <a:extLst>
              <a:ext uri="{FF2B5EF4-FFF2-40B4-BE49-F238E27FC236}">
                <a16:creationId xmlns:a16="http://schemas.microsoft.com/office/drawing/2014/main" id="{2F182249-DDCA-4DFF-9C03-278DF557A9D2}"/>
              </a:ext>
            </a:extLst>
          </p:cNvPr>
          <p:cNvSpPr>
            <a:spLocks/>
          </p:cNvSpPr>
          <p:nvPr/>
        </p:nvSpPr>
        <p:spPr bwMode="auto">
          <a:xfrm>
            <a:off x="111695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63">
            <a:extLst>
              <a:ext uri="{FF2B5EF4-FFF2-40B4-BE49-F238E27FC236}">
                <a16:creationId xmlns:a16="http://schemas.microsoft.com/office/drawing/2014/main" id="{ADFABB3E-E44A-4193-B315-7C248000EF61}"/>
              </a:ext>
            </a:extLst>
          </p:cNvPr>
          <p:cNvSpPr>
            <a:spLocks/>
          </p:cNvSpPr>
          <p:nvPr/>
        </p:nvSpPr>
        <p:spPr bwMode="auto">
          <a:xfrm>
            <a:off x="97625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64">
            <a:extLst>
              <a:ext uri="{FF2B5EF4-FFF2-40B4-BE49-F238E27FC236}">
                <a16:creationId xmlns:a16="http://schemas.microsoft.com/office/drawing/2014/main" id="{F4BDB1C7-1D73-4C34-A06E-600A1D0537FD}"/>
              </a:ext>
            </a:extLst>
          </p:cNvPr>
          <p:cNvSpPr>
            <a:spLocks/>
          </p:cNvSpPr>
          <p:nvPr/>
        </p:nvSpPr>
        <p:spPr bwMode="auto">
          <a:xfrm>
            <a:off x="103364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65">
            <a:extLst>
              <a:ext uri="{FF2B5EF4-FFF2-40B4-BE49-F238E27FC236}">
                <a16:creationId xmlns:a16="http://schemas.microsoft.com/office/drawing/2014/main" id="{7E32FB4A-11ED-4922-B4A7-983356903E44}"/>
              </a:ext>
            </a:extLst>
          </p:cNvPr>
          <p:cNvSpPr>
            <a:spLocks/>
          </p:cNvSpPr>
          <p:nvPr/>
        </p:nvSpPr>
        <p:spPr bwMode="auto">
          <a:xfrm>
            <a:off x="110136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66">
            <a:extLst>
              <a:ext uri="{FF2B5EF4-FFF2-40B4-BE49-F238E27FC236}">
                <a16:creationId xmlns:a16="http://schemas.microsoft.com/office/drawing/2014/main" id="{FFB9E088-6785-499B-90C0-388D09EF662C}"/>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267">
            <a:extLst>
              <a:ext uri="{FF2B5EF4-FFF2-40B4-BE49-F238E27FC236}">
                <a16:creationId xmlns:a16="http://schemas.microsoft.com/office/drawing/2014/main" id="{418E21CB-E518-456F-87AD-C7449B673758}"/>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268">
            <a:extLst>
              <a:ext uri="{FF2B5EF4-FFF2-40B4-BE49-F238E27FC236}">
                <a16:creationId xmlns:a16="http://schemas.microsoft.com/office/drawing/2014/main" id="{6E18843E-3873-45EA-A857-16007227646C}"/>
              </a:ext>
            </a:extLst>
          </p:cNvPr>
          <p:cNvSpPr>
            <a:spLocks/>
          </p:cNvSpPr>
          <p:nvPr/>
        </p:nvSpPr>
        <p:spPr bwMode="auto">
          <a:xfrm>
            <a:off x="100003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69">
            <a:extLst>
              <a:ext uri="{FF2B5EF4-FFF2-40B4-BE49-F238E27FC236}">
                <a16:creationId xmlns:a16="http://schemas.microsoft.com/office/drawing/2014/main" id="{0C1C1F3E-EBD0-43B2-8204-4F096AB2C327}"/>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5" name="Freeform 270">
            <a:extLst>
              <a:ext uri="{FF2B5EF4-FFF2-40B4-BE49-F238E27FC236}">
                <a16:creationId xmlns:a16="http://schemas.microsoft.com/office/drawing/2014/main" id="{A656956D-795D-4B62-A31A-6AEFEEAA42BF}"/>
              </a:ext>
            </a:extLst>
          </p:cNvPr>
          <p:cNvSpPr>
            <a:spLocks/>
          </p:cNvSpPr>
          <p:nvPr/>
        </p:nvSpPr>
        <p:spPr bwMode="auto">
          <a:xfrm>
            <a:off x="103820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271">
            <a:extLst>
              <a:ext uri="{FF2B5EF4-FFF2-40B4-BE49-F238E27FC236}">
                <a16:creationId xmlns:a16="http://schemas.microsoft.com/office/drawing/2014/main" id="{E442D7CA-FD38-4DC1-8AC2-FAC0A5D2F8E4}"/>
              </a:ext>
            </a:extLst>
          </p:cNvPr>
          <p:cNvSpPr>
            <a:spLocks/>
          </p:cNvSpPr>
          <p:nvPr/>
        </p:nvSpPr>
        <p:spPr bwMode="auto">
          <a:xfrm>
            <a:off x="104832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272">
            <a:extLst>
              <a:ext uri="{FF2B5EF4-FFF2-40B4-BE49-F238E27FC236}">
                <a16:creationId xmlns:a16="http://schemas.microsoft.com/office/drawing/2014/main" id="{3A2E527B-0961-4384-B654-85477CD58BAB}"/>
              </a:ext>
            </a:extLst>
          </p:cNvPr>
          <p:cNvSpPr>
            <a:spLocks/>
          </p:cNvSpPr>
          <p:nvPr/>
        </p:nvSpPr>
        <p:spPr bwMode="auto">
          <a:xfrm>
            <a:off x="103698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273">
            <a:extLst>
              <a:ext uri="{FF2B5EF4-FFF2-40B4-BE49-F238E27FC236}">
                <a16:creationId xmlns:a16="http://schemas.microsoft.com/office/drawing/2014/main" id="{0C7E33EC-5BC4-41BF-B323-83BD6DC6C9C1}"/>
              </a:ext>
            </a:extLst>
          </p:cNvPr>
          <p:cNvSpPr>
            <a:spLocks/>
          </p:cNvSpPr>
          <p:nvPr/>
        </p:nvSpPr>
        <p:spPr bwMode="auto">
          <a:xfrm>
            <a:off x="107514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274">
            <a:extLst>
              <a:ext uri="{FF2B5EF4-FFF2-40B4-BE49-F238E27FC236}">
                <a16:creationId xmlns:a16="http://schemas.microsoft.com/office/drawing/2014/main" id="{53592B6E-E0BB-4A34-9298-E6BACD96D949}"/>
              </a:ext>
            </a:extLst>
          </p:cNvPr>
          <p:cNvSpPr>
            <a:spLocks/>
          </p:cNvSpPr>
          <p:nvPr/>
        </p:nvSpPr>
        <p:spPr bwMode="auto">
          <a:xfrm>
            <a:off x="106006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275">
            <a:extLst>
              <a:ext uri="{FF2B5EF4-FFF2-40B4-BE49-F238E27FC236}">
                <a16:creationId xmlns:a16="http://schemas.microsoft.com/office/drawing/2014/main" id="{EB5ACD66-2B91-4645-9072-F5505E93252E}"/>
              </a:ext>
            </a:extLst>
          </p:cNvPr>
          <p:cNvSpPr>
            <a:spLocks/>
          </p:cNvSpPr>
          <p:nvPr/>
        </p:nvSpPr>
        <p:spPr bwMode="auto">
          <a:xfrm>
            <a:off x="106461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276">
            <a:extLst>
              <a:ext uri="{FF2B5EF4-FFF2-40B4-BE49-F238E27FC236}">
                <a16:creationId xmlns:a16="http://schemas.microsoft.com/office/drawing/2014/main" id="{7DEEBF90-7A90-480F-B608-A3B575B1EA33}"/>
              </a:ext>
            </a:extLst>
          </p:cNvPr>
          <p:cNvSpPr>
            <a:spLocks/>
          </p:cNvSpPr>
          <p:nvPr/>
        </p:nvSpPr>
        <p:spPr bwMode="auto">
          <a:xfrm>
            <a:off x="103890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277">
            <a:extLst>
              <a:ext uri="{FF2B5EF4-FFF2-40B4-BE49-F238E27FC236}">
                <a16:creationId xmlns:a16="http://schemas.microsoft.com/office/drawing/2014/main" id="{B8044F09-9735-44BB-8253-64945B4DA3E1}"/>
              </a:ext>
            </a:extLst>
          </p:cNvPr>
          <p:cNvSpPr>
            <a:spLocks/>
          </p:cNvSpPr>
          <p:nvPr/>
        </p:nvSpPr>
        <p:spPr bwMode="auto">
          <a:xfrm>
            <a:off x="104680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278">
            <a:extLst>
              <a:ext uri="{FF2B5EF4-FFF2-40B4-BE49-F238E27FC236}">
                <a16:creationId xmlns:a16="http://schemas.microsoft.com/office/drawing/2014/main" id="{FC58B97E-1CE9-4528-A49C-65AF1CCCB090}"/>
              </a:ext>
            </a:extLst>
          </p:cNvPr>
          <p:cNvSpPr>
            <a:spLocks/>
          </p:cNvSpPr>
          <p:nvPr/>
        </p:nvSpPr>
        <p:spPr bwMode="auto">
          <a:xfrm>
            <a:off x="104133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279">
            <a:extLst>
              <a:ext uri="{FF2B5EF4-FFF2-40B4-BE49-F238E27FC236}">
                <a16:creationId xmlns:a16="http://schemas.microsoft.com/office/drawing/2014/main" id="{2642E179-D60B-43B0-A46E-6E636C5BBE7D}"/>
              </a:ext>
            </a:extLst>
          </p:cNvPr>
          <p:cNvSpPr>
            <a:spLocks/>
          </p:cNvSpPr>
          <p:nvPr/>
        </p:nvSpPr>
        <p:spPr bwMode="auto">
          <a:xfrm>
            <a:off x="104133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280">
            <a:extLst>
              <a:ext uri="{FF2B5EF4-FFF2-40B4-BE49-F238E27FC236}">
                <a16:creationId xmlns:a16="http://schemas.microsoft.com/office/drawing/2014/main" id="{9CF72EBE-74B1-4E11-941E-565D520B56A7}"/>
              </a:ext>
            </a:extLst>
          </p:cNvPr>
          <p:cNvSpPr>
            <a:spLocks/>
          </p:cNvSpPr>
          <p:nvPr/>
        </p:nvSpPr>
        <p:spPr bwMode="auto">
          <a:xfrm>
            <a:off x="95388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6" name="Freeform 281">
            <a:extLst>
              <a:ext uri="{FF2B5EF4-FFF2-40B4-BE49-F238E27FC236}">
                <a16:creationId xmlns:a16="http://schemas.microsoft.com/office/drawing/2014/main" id="{5BE26235-2A69-43B2-942E-3B857A8FEC0E}"/>
              </a:ext>
            </a:extLst>
          </p:cNvPr>
          <p:cNvSpPr>
            <a:spLocks/>
          </p:cNvSpPr>
          <p:nvPr/>
        </p:nvSpPr>
        <p:spPr bwMode="auto">
          <a:xfrm>
            <a:off x="95944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7" name="Freeform 282">
            <a:extLst>
              <a:ext uri="{FF2B5EF4-FFF2-40B4-BE49-F238E27FC236}">
                <a16:creationId xmlns:a16="http://schemas.microsoft.com/office/drawing/2014/main" id="{B0FCCBB6-7CAF-4206-A190-67C0F737CD93}"/>
              </a:ext>
            </a:extLst>
          </p:cNvPr>
          <p:cNvSpPr>
            <a:spLocks/>
          </p:cNvSpPr>
          <p:nvPr/>
        </p:nvSpPr>
        <p:spPr bwMode="auto">
          <a:xfrm>
            <a:off x="97139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8" name="Freeform 283">
            <a:extLst>
              <a:ext uri="{FF2B5EF4-FFF2-40B4-BE49-F238E27FC236}">
                <a16:creationId xmlns:a16="http://schemas.microsoft.com/office/drawing/2014/main" id="{377A3227-7D3E-4527-828B-65A36A35D1B7}"/>
              </a:ext>
            </a:extLst>
          </p:cNvPr>
          <p:cNvSpPr>
            <a:spLocks/>
          </p:cNvSpPr>
          <p:nvPr/>
        </p:nvSpPr>
        <p:spPr bwMode="auto">
          <a:xfrm>
            <a:off x="97139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284">
            <a:extLst>
              <a:ext uri="{FF2B5EF4-FFF2-40B4-BE49-F238E27FC236}">
                <a16:creationId xmlns:a16="http://schemas.microsoft.com/office/drawing/2014/main" id="{CD50D538-2BFC-454C-B010-98F44E45A887}"/>
              </a:ext>
            </a:extLst>
          </p:cNvPr>
          <p:cNvSpPr>
            <a:spLocks/>
          </p:cNvSpPr>
          <p:nvPr/>
        </p:nvSpPr>
        <p:spPr bwMode="auto">
          <a:xfrm>
            <a:off x="97695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00" name="Freeform 285">
            <a:extLst>
              <a:ext uri="{FF2B5EF4-FFF2-40B4-BE49-F238E27FC236}">
                <a16:creationId xmlns:a16="http://schemas.microsoft.com/office/drawing/2014/main" id="{67D1FC50-4C95-43BC-A53D-61B443D0ED25}"/>
              </a:ext>
            </a:extLst>
          </p:cNvPr>
          <p:cNvSpPr>
            <a:spLocks noEditPoints="1"/>
          </p:cNvSpPr>
          <p:nvPr/>
        </p:nvSpPr>
        <p:spPr bwMode="auto">
          <a:xfrm>
            <a:off x="55323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1" name="Freeform 286">
            <a:extLst>
              <a:ext uri="{FF2B5EF4-FFF2-40B4-BE49-F238E27FC236}">
                <a16:creationId xmlns:a16="http://schemas.microsoft.com/office/drawing/2014/main" id="{EA1C98E6-325D-4D64-8107-0F460EACE9E0}"/>
              </a:ext>
            </a:extLst>
          </p:cNvPr>
          <p:cNvSpPr>
            <a:spLocks/>
          </p:cNvSpPr>
          <p:nvPr/>
        </p:nvSpPr>
        <p:spPr bwMode="auto">
          <a:xfrm>
            <a:off x="62196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2" name="Freeform 287">
            <a:extLst>
              <a:ext uri="{FF2B5EF4-FFF2-40B4-BE49-F238E27FC236}">
                <a16:creationId xmlns:a16="http://schemas.microsoft.com/office/drawing/2014/main" id="{CB7A3404-5511-472D-A221-7FA4306126E6}"/>
              </a:ext>
            </a:extLst>
          </p:cNvPr>
          <p:cNvSpPr>
            <a:spLocks/>
          </p:cNvSpPr>
          <p:nvPr/>
        </p:nvSpPr>
        <p:spPr bwMode="auto">
          <a:xfrm>
            <a:off x="62166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3" name="Freeform 288">
            <a:extLst>
              <a:ext uri="{FF2B5EF4-FFF2-40B4-BE49-F238E27FC236}">
                <a16:creationId xmlns:a16="http://schemas.microsoft.com/office/drawing/2014/main" id="{47055D6D-FDB5-47E1-B681-39E637093600}"/>
              </a:ext>
            </a:extLst>
          </p:cNvPr>
          <p:cNvSpPr>
            <a:spLocks/>
          </p:cNvSpPr>
          <p:nvPr/>
        </p:nvSpPr>
        <p:spPr bwMode="auto">
          <a:xfrm>
            <a:off x="54219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4" name="Freeform 289">
            <a:extLst>
              <a:ext uri="{FF2B5EF4-FFF2-40B4-BE49-F238E27FC236}">
                <a16:creationId xmlns:a16="http://schemas.microsoft.com/office/drawing/2014/main" id="{E495165D-DB32-420C-BD9B-10B109EC7612}"/>
              </a:ext>
            </a:extLst>
          </p:cNvPr>
          <p:cNvSpPr>
            <a:spLocks/>
          </p:cNvSpPr>
          <p:nvPr/>
        </p:nvSpPr>
        <p:spPr bwMode="auto">
          <a:xfrm>
            <a:off x="54199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5" name="Freeform 290">
            <a:extLst>
              <a:ext uri="{FF2B5EF4-FFF2-40B4-BE49-F238E27FC236}">
                <a16:creationId xmlns:a16="http://schemas.microsoft.com/office/drawing/2014/main" id="{FEE89B12-99C1-48FB-A904-B30CAC07A8D5}"/>
              </a:ext>
            </a:extLst>
          </p:cNvPr>
          <p:cNvSpPr>
            <a:spLocks/>
          </p:cNvSpPr>
          <p:nvPr/>
        </p:nvSpPr>
        <p:spPr bwMode="auto">
          <a:xfrm>
            <a:off x="58106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6" name="Freeform 291">
            <a:extLst>
              <a:ext uri="{FF2B5EF4-FFF2-40B4-BE49-F238E27FC236}">
                <a16:creationId xmlns:a16="http://schemas.microsoft.com/office/drawing/2014/main" id="{97CD0373-9526-470B-B818-32C5177C7269}"/>
              </a:ext>
            </a:extLst>
          </p:cNvPr>
          <p:cNvSpPr>
            <a:spLocks/>
          </p:cNvSpPr>
          <p:nvPr/>
        </p:nvSpPr>
        <p:spPr bwMode="auto">
          <a:xfrm>
            <a:off x="58066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7" name="Freeform 292">
            <a:extLst>
              <a:ext uri="{FF2B5EF4-FFF2-40B4-BE49-F238E27FC236}">
                <a16:creationId xmlns:a16="http://schemas.microsoft.com/office/drawing/2014/main" id="{E6F85A5C-289C-4620-AE5A-8961802E9FF2}"/>
              </a:ext>
            </a:extLst>
          </p:cNvPr>
          <p:cNvSpPr>
            <a:spLocks/>
          </p:cNvSpPr>
          <p:nvPr/>
        </p:nvSpPr>
        <p:spPr bwMode="auto">
          <a:xfrm>
            <a:off x="53167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363">
            <a:extLst>
              <a:ext uri="{FF2B5EF4-FFF2-40B4-BE49-F238E27FC236}">
                <a16:creationId xmlns:a16="http://schemas.microsoft.com/office/drawing/2014/main" id="{8AF65345-4905-44FC-8C10-6C0EE65DDE4A}"/>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5" name="Rectangle 364">
            <a:extLst>
              <a:ext uri="{FF2B5EF4-FFF2-40B4-BE49-F238E27FC236}">
                <a16:creationId xmlns:a16="http://schemas.microsoft.com/office/drawing/2014/main" id="{E6DAFBE5-7DDC-47BB-A9AB-D32128597E31}"/>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06862630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9127455"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A dónde se dirige esta nueva certificación?</a:t>
            </a:r>
          </a:p>
        </p:txBody>
      </p:sp>
      <p:grpSp>
        <p:nvGrpSpPr>
          <p:cNvPr id="2" name="Group 1">
            <a:extLst>
              <a:ext uri="{FF2B5EF4-FFF2-40B4-BE49-F238E27FC236}">
                <a16:creationId xmlns:a16="http://schemas.microsoft.com/office/drawing/2014/main" id="{0DE8C112-6CE8-4065-83BC-97E7B1D6616C}"/>
              </a:ext>
            </a:extLst>
          </p:cNvPr>
          <p:cNvGrpSpPr/>
          <p:nvPr/>
        </p:nvGrpSpPr>
        <p:grpSpPr>
          <a:xfrm>
            <a:off x="265811" y="1123163"/>
            <a:ext cx="11666469" cy="4827417"/>
            <a:chOff x="287474" y="1803228"/>
            <a:chExt cx="11382240" cy="3989596"/>
          </a:xfrm>
        </p:grpSpPr>
        <p:pic>
          <p:nvPicPr>
            <p:cNvPr id="61" name="Picture 60">
              <a:extLst>
                <a:ext uri="{FF2B5EF4-FFF2-40B4-BE49-F238E27FC236}">
                  <a16:creationId xmlns:a16="http://schemas.microsoft.com/office/drawing/2014/main" id="{C48115C2-9233-4247-A7B4-E80849E9ADE7}"/>
                </a:ext>
              </a:extLst>
            </p:cNvPr>
            <p:cNvPicPr>
              <a:picLocks noChangeAspect="1"/>
            </p:cNvPicPr>
            <p:nvPr/>
          </p:nvPicPr>
          <p:blipFill>
            <a:blip r:embed="rId3"/>
            <a:stretch>
              <a:fillRect/>
            </a:stretch>
          </p:blipFill>
          <p:spPr>
            <a:xfrm>
              <a:off x="5223644" y="3624000"/>
              <a:ext cx="2767831" cy="413377"/>
            </a:xfrm>
            <a:prstGeom prst="rect">
              <a:avLst/>
            </a:prstGeom>
          </p:spPr>
        </p:pic>
        <p:grpSp>
          <p:nvGrpSpPr>
            <p:cNvPr id="62" name="Group 61">
              <a:extLst>
                <a:ext uri="{FF2B5EF4-FFF2-40B4-BE49-F238E27FC236}">
                  <a16:creationId xmlns:a16="http://schemas.microsoft.com/office/drawing/2014/main" id="{C62E0D44-5FA5-4B81-AACB-9A8FEA0FEEB2}"/>
                </a:ext>
              </a:extLst>
            </p:cNvPr>
            <p:cNvGrpSpPr/>
            <p:nvPr/>
          </p:nvGrpSpPr>
          <p:grpSpPr>
            <a:xfrm>
              <a:off x="10567513" y="2572471"/>
              <a:ext cx="1102201" cy="2539980"/>
              <a:chOff x="9189563" y="2475471"/>
              <a:chExt cx="1102201" cy="2539980"/>
            </a:xfrm>
          </p:grpSpPr>
          <p:sp>
            <p:nvSpPr>
              <p:cNvPr id="63" name="Freeform 5">
                <a:extLst>
                  <a:ext uri="{FF2B5EF4-FFF2-40B4-BE49-F238E27FC236}">
                    <a16:creationId xmlns:a16="http://schemas.microsoft.com/office/drawing/2014/main" id="{BA0777D3-FCBD-4F63-A02D-5475D07B9FDA}"/>
                  </a:ext>
                </a:extLst>
              </p:cNvPr>
              <p:cNvSpPr>
                <a:spLocks/>
              </p:cNvSpPr>
              <p:nvPr/>
            </p:nvSpPr>
            <p:spPr bwMode="auto">
              <a:xfrm>
                <a:off x="9399863" y="2475471"/>
                <a:ext cx="891901" cy="2539980"/>
              </a:xfrm>
              <a:custGeom>
                <a:avLst/>
                <a:gdLst>
                  <a:gd name="T0" fmla="*/ 96 w 192"/>
                  <a:gd name="T1" fmla="*/ 0 h 546"/>
                  <a:gd name="T2" fmla="*/ 51 w 192"/>
                  <a:gd name="T3" fmla="*/ 0 h 546"/>
                  <a:gd name="T4" fmla="*/ 51 w 192"/>
                  <a:gd name="T5" fmla="*/ 33 h 546"/>
                  <a:gd name="T6" fmla="*/ 0 w 192"/>
                  <a:gd name="T7" fmla="*/ 273 h 546"/>
                  <a:gd name="T8" fmla="*/ 51 w 192"/>
                  <a:gd name="T9" fmla="*/ 513 h 546"/>
                  <a:gd name="T10" fmla="*/ 51 w 192"/>
                  <a:gd name="T11" fmla="*/ 546 h 546"/>
                  <a:gd name="T12" fmla="*/ 96 w 192"/>
                  <a:gd name="T13" fmla="*/ 546 h 546"/>
                  <a:gd name="T14" fmla="*/ 192 w 192"/>
                  <a:gd name="T15" fmla="*/ 273 h 546"/>
                  <a:gd name="T16" fmla="*/ 96 w 192"/>
                  <a:gd name="T17"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46">
                    <a:moveTo>
                      <a:pt x="96" y="0"/>
                    </a:moveTo>
                    <a:cubicBezTo>
                      <a:pt x="51" y="0"/>
                      <a:pt x="51" y="0"/>
                      <a:pt x="51" y="0"/>
                    </a:cubicBezTo>
                    <a:cubicBezTo>
                      <a:pt x="51" y="33"/>
                      <a:pt x="51" y="33"/>
                      <a:pt x="51" y="33"/>
                    </a:cubicBezTo>
                    <a:cubicBezTo>
                      <a:pt x="21" y="79"/>
                      <a:pt x="0" y="169"/>
                      <a:pt x="0" y="273"/>
                    </a:cubicBezTo>
                    <a:cubicBezTo>
                      <a:pt x="0" y="377"/>
                      <a:pt x="21" y="467"/>
                      <a:pt x="51" y="513"/>
                    </a:cubicBezTo>
                    <a:cubicBezTo>
                      <a:pt x="51" y="546"/>
                      <a:pt x="51" y="546"/>
                      <a:pt x="51" y="546"/>
                    </a:cubicBezTo>
                    <a:cubicBezTo>
                      <a:pt x="96" y="546"/>
                      <a:pt x="96" y="546"/>
                      <a:pt x="96" y="546"/>
                    </a:cubicBezTo>
                    <a:cubicBezTo>
                      <a:pt x="149" y="546"/>
                      <a:pt x="192" y="424"/>
                      <a:pt x="192" y="273"/>
                    </a:cubicBezTo>
                    <a:cubicBezTo>
                      <a:pt x="192" y="122"/>
                      <a:pt x="149" y="0"/>
                      <a:pt x="96" y="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Oval 6">
                <a:extLst>
                  <a:ext uri="{FF2B5EF4-FFF2-40B4-BE49-F238E27FC236}">
                    <a16:creationId xmlns:a16="http://schemas.microsoft.com/office/drawing/2014/main" id="{3E3DE1D7-8DCE-439B-9430-FE6F40816F7D}"/>
                  </a:ext>
                </a:extLst>
              </p:cNvPr>
              <p:cNvSpPr>
                <a:spLocks noChangeArrowheads="1"/>
              </p:cNvSpPr>
              <p:nvPr/>
            </p:nvSpPr>
            <p:spPr bwMode="auto">
              <a:xfrm>
                <a:off x="9189563" y="2475471"/>
                <a:ext cx="888918" cy="2539980"/>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Oval 7">
                <a:extLst>
                  <a:ext uri="{FF2B5EF4-FFF2-40B4-BE49-F238E27FC236}">
                    <a16:creationId xmlns:a16="http://schemas.microsoft.com/office/drawing/2014/main" id="{63728019-9DD3-4F5C-9597-00EC0351DFBF}"/>
                  </a:ext>
                </a:extLst>
              </p:cNvPr>
              <p:cNvSpPr>
                <a:spLocks noChangeArrowheads="1"/>
              </p:cNvSpPr>
              <p:nvPr/>
            </p:nvSpPr>
            <p:spPr bwMode="auto">
              <a:xfrm>
                <a:off x="9241765" y="2732005"/>
                <a:ext cx="709942" cy="2026913"/>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Oval 8">
                <a:extLst>
                  <a:ext uri="{FF2B5EF4-FFF2-40B4-BE49-F238E27FC236}">
                    <a16:creationId xmlns:a16="http://schemas.microsoft.com/office/drawing/2014/main" id="{8A4774CA-98A1-4ED5-9080-845C54B44BA6}"/>
                  </a:ext>
                </a:extLst>
              </p:cNvPr>
              <p:cNvSpPr>
                <a:spLocks noChangeArrowheads="1"/>
              </p:cNvSpPr>
              <p:nvPr/>
            </p:nvSpPr>
            <p:spPr bwMode="auto">
              <a:xfrm>
                <a:off x="9305899" y="3024333"/>
                <a:ext cx="507101" cy="1442256"/>
              </a:xfrm>
              <a:prstGeom prst="ellipse">
                <a:avLst/>
              </a:prstGeom>
              <a:solidFill>
                <a:srgbClr val="D0D0C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Oval 9">
                <a:extLst>
                  <a:ext uri="{FF2B5EF4-FFF2-40B4-BE49-F238E27FC236}">
                    <a16:creationId xmlns:a16="http://schemas.microsoft.com/office/drawing/2014/main" id="{30AF9060-AF85-4B27-ABAC-EF5635BAB15E}"/>
                  </a:ext>
                </a:extLst>
              </p:cNvPr>
              <p:cNvSpPr>
                <a:spLocks noChangeArrowheads="1"/>
              </p:cNvSpPr>
              <p:nvPr/>
            </p:nvSpPr>
            <p:spPr bwMode="auto">
              <a:xfrm>
                <a:off x="9367049" y="3270427"/>
                <a:ext cx="334090" cy="950069"/>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Oval 10">
                <a:extLst>
                  <a:ext uri="{FF2B5EF4-FFF2-40B4-BE49-F238E27FC236}">
                    <a16:creationId xmlns:a16="http://schemas.microsoft.com/office/drawing/2014/main" id="{D612BEDD-0406-4178-9F53-8752098C5208}"/>
                  </a:ext>
                </a:extLst>
              </p:cNvPr>
              <p:cNvSpPr>
                <a:spLocks noChangeArrowheads="1"/>
              </p:cNvSpPr>
              <p:nvPr/>
            </p:nvSpPr>
            <p:spPr bwMode="auto">
              <a:xfrm>
                <a:off x="9437148" y="3531435"/>
                <a:ext cx="152130" cy="428053"/>
              </a:xfrm>
              <a:prstGeom prst="ellipse">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0" name="Group 69">
              <a:extLst>
                <a:ext uri="{FF2B5EF4-FFF2-40B4-BE49-F238E27FC236}">
                  <a16:creationId xmlns:a16="http://schemas.microsoft.com/office/drawing/2014/main" id="{AC3565C9-2A08-4ABC-8785-5D0FCD2050C7}"/>
                </a:ext>
              </a:extLst>
            </p:cNvPr>
            <p:cNvGrpSpPr/>
            <p:nvPr/>
          </p:nvGrpSpPr>
          <p:grpSpPr>
            <a:xfrm>
              <a:off x="9588443" y="3810394"/>
              <a:ext cx="674146" cy="64134"/>
              <a:chOff x="9588443" y="3713394"/>
              <a:chExt cx="674146" cy="64134"/>
            </a:xfrm>
            <a:solidFill>
              <a:srgbClr val="97999B"/>
            </a:solidFill>
          </p:grpSpPr>
          <p:sp>
            <p:nvSpPr>
              <p:cNvPr id="71" name="Freeform 11">
                <a:extLst>
                  <a:ext uri="{FF2B5EF4-FFF2-40B4-BE49-F238E27FC236}">
                    <a16:creationId xmlns:a16="http://schemas.microsoft.com/office/drawing/2014/main" id="{81868F8F-27E5-47FE-A2FF-532BB3E4978C}"/>
                  </a:ext>
                </a:extLst>
              </p:cNvPr>
              <p:cNvSpPr>
                <a:spLocks/>
              </p:cNvSpPr>
              <p:nvPr/>
            </p:nvSpPr>
            <p:spPr bwMode="auto">
              <a:xfrm>
                <a:off x="9588443" y="3746207"/>
                <a:ext cx="674146" cy="31321"/>
              </a:xfrm>
              <a:custGeom>
                <a:avLst/>
                <a:gdLst>
                  <a:gd name="T0" fmla="*/ 418 w 452"/>
                  <a:gd name="T1" fmla="*/ 0 h 21"/>
                  <a:gd name="T2" fmla="*/ 418 w 452"/>
                  <a:gd name="T3" fmla="*/ 0 h 21"/>
                  <a:gd name="T4" fmla="*/ 0 w 452"/>
                  <a:gd name="T5" fmla="*/ 0 h 21"/>
                  <a:gd name="T6" fmla="*/ 0 w 452"/>
                  <a:gd name="T7" fmla="*/ 21 h 21"/>
                  <a:gd name="T8" fmla="*/ 418 w 452"/>
                  <a:gd name="T9" fmla="*/ 21 h 21"/>
                  <a:gd name="T10" fmla="*/ 452 w 452"/>
                  <a:gd name="T11" fmla="*/ 0 h 21"/>
                  <a:gd name="T12" fmla="*/ 418 w 45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52" h="21">
                    <a:moveTo>
                      <a:pt x="418" y="0"/>
                    </a:moveTo>
                    <a:lnTo>
                      <a:pt x="418" y="0"/>
                    </a:lnTo>
                    <a:lnTo>
                      <a:pt x="0" y="0"/>
                    </a:lnTo>
                    <a:lnTo>
                      <a:pt x="0" y="21"/>
                    </a:lnTo>
                    <a:lnTo>
                      <a:pt x="418" y="21"/>
                    </a:lnTo>
                    <a:lnTo>
                      <a:pt x="452" y="0"/>
                    </a:lnTo>
                    <a:lnTo>
                      <a:pt x="4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Freeform 12">
                <a:extLst>
                  <a:ext uri="{FF2B5EF4-FFF2-40B4-BE49-F238E27FC236}">
                    <a16:creationId xmlns:a16="http://schemas.microsoft.com/office/drawing/2014/main" id="{58B6BB68-BB9D-4B48-8529-74B9C2FE1AB3}"/>
                  </a:ext>
                </a:extLst>
              </p:cNvPr>
              <p:cNvSpPr>
                <a:spLocks/>
              </p:cNvSpPr>
              <p:nvPr/>
            </p:nvSpPr>
            <p:spPr bwMode="auto">
              <a:xfrm>
                <a:off x="9588443" y="3713394"/>
                <a:ext cx="674146" cy="32812"/>
              </a:xfrm>
              <a:custGeom>
                <a:avLst/>
                <a:gdLst>
                  <a:gd name="T0" fmla="*/ 452 w 452"/>
                  <a:gd name="T1" fmla="*/ 22 h 22"/>
                  <a:gd name="T2" fmla="*/ 418 w 452"/>
                  <a:gd name="T3" fmla="*/ 0 h 22"/>
                  <a:gd name="T4" fmla="*/ 418 w 452"/>
                  <a:gd name="T5" fmla="*/ 0 h 22"/>
                  <a:gd name="T6" fmla="*/ 0 w 452"/>
                  <a:gd name="T7" fmla="*/ 0 h 22"/>
                  <a:gd name="T8" fmla="*/ 0 w 452"/>
                  <a:gd name="T9" fmla="*/ 22 h 22"/>
                  <a:gd name="T10" fmla="*/ 437 w 452"/>
                  <a:gd name="T11" fmla="*/ 22 h 22"/>
                  <a:gd name="T12" fmla="*/ 437 w 452"/>
                  <a:gd name="T13" fmla="*/ 22 h 22"/>
                  <a:gd name="T14" fmla="*/ 452 w 45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22">
                    <a:moveTo>
                      <a:pt x="452" y="22"/>
                    </a:moveTo>
                    <a:lnTo>
                      <a:pt x="418" y="0"/>
                    </a:lnTo>
                    <a:lnTo>
                      <a:pt x="418" y="0"/>
                    </a:lnTo>
                    <a:lnTo>
                      <a:pt x="0" y="0"/>
                    </a:lnTo>
                    <a:lnTo>
                      <a:pt x="0" y="22"/>
                    </a:lnTo>
                    <a:lnTo>
                      <a:pt x="437" y="22"/>
                    </a:lnTo>
                    <a:lnTo>
                      <a:pt x="437" y="22"/>
                    </a:lnTo>
                    <a:lnTo>
                      <a:pt x="45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3" name="Freeform 16">
              <a:extLst>
                <a:ext uri="{FF2B5EF4-FFF2-40B4-BE49-F238E27FC236}">
                  <a16:creationId xmlns:a16="http://schemas.microsoft.com/office/drawing/2014/main" id="{75ACEADB-9432-4FE7-8E49-A47D6FCFFA60}"/>
                </a:ext>
              </a:extLst>
            </p:cNvPr>
            <p:cNvSpPr>
              <a:spLocks/>
            </p:cNvSpPr>
            <p:nvPr/>
          </p:nvSpPr>
          <p:spPr bwMode="auto">
            <a:xfrm>
              <a:off x="6186391" y="3726872"/>
              <a:ext cx="2450492" cy="1897155"/>
            </a:xfrm>
            <a:custGeom>
              <a:avLst/>
              <a:gdLst>
                <a:gd name="T0" fmla="*/ 356 w 527"/>
                <a:gd name="T1" fmla="*/ 146 h 408"/>
                <a:gd name="T2" fmla="*/ 66 w 527"/>
                <a:gd name="T3" fmla="*/ 408 h 408"/>
                <a:gd name="T4" fmla="*/ 72 w 527"/>
                <a:gd name="T5" fmla="*/ 330 h 408"/>
                <a:gd name="T6" fmla="*/ 0 w 527"/>
                <a:gd name="T7" fmla="*/ 331 h 408"/>
                <a:gd name="T8" fmla="*/ 312 w 527"/>
                <a:gd name="T9" fmla="*/ 69 h 408"/>
                <a:gd name="T10" fmla="*/ 527 w 527"/>
                <a:gd name="T11" fmla="*/ 0 h 408"/>
                <a:gd name="T12" fmla="*/ 527 w 527"/>
                <a:gd name="T13" fmla="*/ 50 h 408"/>
                <a:gd name="T14" fmla="*/ 356 w 527"/>
                <a:gd name="T15" fmla="*/ 146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146"/>
                  </a:moveTo>
                  <a:cubicBezTo>
                    <a:pt x="66" y="408"/>
                    <a:pt x="66" y="408"/>
                    <a:pt x="66" y="408"/>
                  </a:cubicBezTo>
                  <a:cubicBezTo>
                    <a:pt x="72" y="330"/>
                    <a:pt x="72" y="330"/>
                    <a:pt x="72" y="330"/>
                  </a:cubicBezTo>
                  <a:cubicBezTo>
                    <a:pt x="0" y="331"/>
                    <a:pt x="0" y="331"/>
                    <a:pt x="0" y="331"/>
                  </a:cubicBezTo>
                  <a:cubicBezTo>
                    <a:pt x="312" y="69"/>
                    <a:pt x="312" y="69"/>
                    <a:pt x="312" y="69"/>
                  </a:cubicBezTo>
                  <a:cubicBezTo>
                    <a:pt x="364" y="27"/>
                    <a:pt x="413" y="0"/>
                    <a:pt x="527" y="0"/>
                  </a:cubicBezTo>
                  <a:cubicBezTo>
                    <a:pt x="527" y="50"/>
                    <a:pt x="527" y="50"/>
                    <a:pt x="527" y="50"/>
                  </a:cubicBezTo>
                  <a:cubicBezTo>
                    <a:pt x="469" y="55"/>
                    <a:pt x="396" y="105"/>
                    <a:pt x="356" y="146"/>
                  </a:cubicBezTo>
                  <a:close/>
                </a:path>
              </a:pathLst>
            </a:custGeom>
            <a:solidFill>
              <a:srgbClr val="009A44"/>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4" name="Freeform 17">
              <a:extLst>
                <a:ext uri="{FF2B5EF4-FFF2-40B4-BE49-F238E27FC236}">
                  <a16:creationId xmlns:a16="http://schemas.microsoft.com/office/drawing/2014/main" id="{662EF7DD-1040-44D4-A56A-494B5B678A4F}"/>
                </a:ext>
              </a:extLst>
            </p:cNvPr>
            <p:cNvSpPr>
              <a:spLocks/>
            </p:cNvSpPr>
            <p:nvPr/>
          </p:nvSpPr>
          <p:spPr bwMode="auto">
            <a:xfrm>
              <a:off x="6186391" y="2060896"/>
              <a:ext cx="2450492" cy="1898647"/>
            </a:xfrm>
            <a:custGeom>
              <a:avLst/>
              <a:gdLst>
                <a:gd name="T0" fmla="*/ 356 w 527"/>
                <a:gd name="T1" fmla="*/ 262 h 408"/>
                <a:gd name="T2" fmla="*/ 66 w 527"/>
                <a:gd name="T3" fmla="*/ 0 h 408"/>
                <a:gd name="T4" fmla="*/ 72 w 527"/>
                <a:gd name="T5" fmla="*/ 78 h 408"/>
                <a:gd name="T6" fmla="*/ 0 w 527"/>
                <a:gd name="T7" fmla="*/ 77 h 408"/>
                <a:gd name="T8" fmla="*/ 312 w 527"/>
                <a:gd name="T9" fmla="*/ 339 h 408"/>
                <a:gd name="T10" fmla="*/ 527 w 527"/>
                <a:gd name="T11" fmla="*/ 408 h 408"/>
                <a:gd name="T12" fmla="*/ 527 w 527"/>
                <a:gd name="T13" fmla="*/ 358 h 408"/>
                <a:gd name="T14" fmla="*/ 356 w 527"/>
                <a:gd name="T15" fmla="*/ 262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408">
                  <a:moveTo>
                    <a:pt x="356" y="262"/>
                  </a:moveTo>
                  <a:cubicBezTo>
                    <a:pt x="66" y="0"/>
                    <a:pt x="66" y="0"/>
                    <a:pt x="66" y="0"/>
                  </a:cubicBezTo>
                  <a:cubicBezTo>
                    <a:pt x="72" y="78"/>
                    <a:pt x="72" y="78"/>
                    <a:pt x="72" y="78"/>
                  </a:cubicBezTo>
                  <a:cubicBezTo>
                    <a:pt x="0" y="77"/>
                    <a:pt x="0" y="77"/>
                    <a:pt x="0" y="77"/>
                  </a:cubicBezTo>
                  <a:cubicBezTo>
                    <a:pt x="312" y="339"/>
                    <a:pt x="312" y="339"/>
                    <a:pt x="312" y="339"/>
                  </a:cubicBezTo>
                  <a:cubicBezTo>
                    <a:pt x="364" y="381"/>
                    <a:pt x="413" y="408"/>
                    <a:pt x="527" y="408"/>
                  </a:cubicBezTo>
                  <a:cubicBezTo>
                    <a:pt x="527" y="358"/>
                    <a:pt x="527" y="358"/>
                    <a:pt x="527" y="358"/>
                  </a:cubicBezTo>
                  <a:cubicBezTo>
                    <a:pt x="469" y="353"/>
                    <a:pt x="396" y="303"/>
                    <a:pt x="356" y="262"/>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75" name="Rectangle 18">
              <a:extLst>
                <a:ext uri="{FF2B5EF4-FFF2-40B4-BE49-F238E27FC236}">
                  <a16:creationId xmlns:a16="http://schemas.microsoft.com/office/drawing/2014/main" id="{1F8FC2F0-AC0A-4CE6-8BDE-57D84A173DEB}"/>
                </a:ext>
              </a:extLst>
            </p:cNvPr>
            <p:cNvSpPr>
              <a:spLocks noChangeArrowheads="1"/>
            </p:cNvSpPr>
            <p:nvPr/>
          </p:nvSpPr>
          <p:spPr bwMode="auto">
            <a:xfrm>
              <a:off x="8636883" y="3726872"/>
              <a:ext cx="292329" cy="232669"/>
            </a:xfrm>
            <a:prstGeom prst="rect">
              <a:avLst/>
            </a:prstGeom>
            <a:solidFill>
              <a:srgbClr val="53565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Rectangle 20">
              <a:extLst>
                <a:ext uri="{FF2B5EF4-FFF2-40B4-BE49-F238E27FC236}">
                  <a16:creationId xmlns:a16="http://schemas.microsoft.com/office/drawing/2014/main" id="{124A4EBA-D82C-4C62-9E3F-A1690322F908}"/>
                </a:ext>
              </a:extLst>
            </p:cNvPr>
            <p:cNvSpPr>
              <a:spLocks noChangeArrowheads="1"/>
            </p:cNvSpPr>
            <p:nvPr/>
          </p:nvSpPr>
          <p:spPr bwMode="auto">
            <a:xfrm>
              <a:off x="9017209" y="3637384"/>
              <a:ext cx="483237" cy="414628"/>
            </a:xfrm>
            <a:prstGeom prst="rect">
              <a:avLst/>
            </a:prstGeom>
            <a:solidFill>
              <a:srgbClr val="75787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Freeform 22">
              <a:extLst>
                <a:ext uri="{FF2B5EF4-FFF2-40B4-BE49-F238E27FC236}">
                  <a16:creationId xmlns:a16="http://schemas.microsoft.com/office/drawing/2014/main" id="{A62D2278-AEC4-479C-BF1C-9DB48D3F2EBD}"/>
                </a:ext>
              </a:extLst>
            </p:cNvPr>
            <p:cNvSpPr>
              <a:spLocks/>
            </p:cNvSpPr>
            <p:nvPr/>
          </p:nvSpPr>
          <p:spPr bwMode="auto">
            <a:xfrm>
              <a:off x="9500446" y="3637383"/>
              <a:ext cx="87997" cy="414630"/>
            </a:xfrm>
            <a:custGeom>
              <a:avLst/>
              <a:gdLst>
                <a:gd name="T0" fmla="*/ 0 w 59"/>
                <a:gd name="T1" fmla="*/ 278 h 278"/>
                <a:gd name="T2" fmla="*/ 59 w 59"/>
                <a:gd name="T3" fmla="*/ 219 h 278"/>
                <a:gd name="T4" fmla="*/ 59 w 59"/>
                <a:gd name="T5" fmla="*/ 60 h 278"/>
                <a:gd name="T6" fmla="*/ 0 w 59"/>
                <a:gd name="T7" fmla="*/ 0 h 278"/>
                <a:gd name="T8" fmla="*/ 0 w 59"/>
                <a:gd name="T9" fmla="*/ 278 h 278"/>
              </a:gdLst>
              <a:ahLst/>
              <a:cxnLst>
                <a:cxn ang="0">
                  <a:pos x="T0" y="T1"/>
                </a:cxn>
                <a:cxn ang="0">
                  <a:pos x="T2" y="T3"/>
                </a:cxn>
                <a:cxn ang="0">
                  <a:pos x="T4" y="T5"/>
                </a:cxn>
                <a:cxn ang="0">
                  <a:pos x="T6" y="T7"/>
                </a:cxn>
                <a:cxn ang="0">
                  <a:pos x="T8" y="T9"/>
                </a:cxn>
              </a:cxnLst>
              <a:rect l="0" t="0" r="r" b="b"/>
              <a:pathLst>
                <a:path w="59" h="278">
                  <a:moveTo>
                    <a:pt x="0" y="278"/>
                  </a:moveTo>
                  <a:lnTo>
                    <a:pt x="59" y="219"/>
                  </a:lnTo>
                  <a:lnTo>
                    <a:pt x="59" y="60"/>
                  </a:lnTo>
                  <a:lnTo>
                    <a:pt x="0" y="0"/>
                  </a:lnTo>
                  <a:lnTo>
                    <a:pt x="0" y="278"/>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Freeform 23">
              <a:extLst>
                <a:ext uri="{FF2B5EF4-FFF2-40B4-BE49-F238E27FC236}">
                  <a16:creationId xmlns:a16="http://schemas.microsoft.com/office/drawing/2014/main" id="{D6E9A3BA-6CC8-4685-83A9-65B26A271A39}"/>
                </a:ext>
              </a:extLst>
            </p:cNvPr>
            <p:cNvSpPr>
              <a:spLocks/>
            </p:cNvSpPr>
            <p:nvPr/>
          </p:nvSpPr>
          <p:spPr bwMode="auto">
            <a:xfrm>
              <a:off x="8929212" y="3637383"/>
              <a:ext cx="87997" cy="414630"/>
            </a:xfrm>
            <a:custGeom>
              <a:avLst/>
              <a:gdLst>
                <a:gd name="T0" fmla="*/ 59 w 59"/>
                <a:gd name="T1" fmla="*/ 0 h 278"/>
                <a:gd name="T2" fmla="*/ 0 w 59"/>
                <a:gd name="T3" fmla="*/ 60 h 278"/>
                <a:gd name="T4" fmla="*/ 0 w 59"/>
                <a:gd name="T5" fmla="*/ 219 h 278"/>
                <a:gd name="T6" fmla="*/ 59 w 59"/>
                <a:gd name="T7" fmla="*/ 278 h 278"/>
                <a:gd name="T8" fmla="*/ 59 w 59"/>
                <a:gd name="T9" fmla="*/ 0 h 278"/>
              </a:gdLst>
              <a:ahLst/>
              <a:cxnLst>
                <a:cxn ang="0">
                  <a:pos x="T0" y="T1"/>
                </a:cxn>
                <a:cxn ang="0">
                  <a:pos x="T2" y="T3"/>
                </a:cxn>
                <a:cxn ang="0">
                  <a:pos x="T4" y="T5"/>
                </a:cxn>
                <a:cxn ang="0">
                  <a:pos x="T6" y="T7"/>
                </a:cxn>
                <a:cxn ang="0">
                  <a:pos x="T8" y="T9"/>
                </a:cxn>
              </a:cxnLst>
              <a:rect l="0" t="0" r="r" b="b"/>
              <a:pathLst>
                <a:path w="59" h="278">
                  <a:moveTo>
                    <a:pt x="59" y="0"/>
                  </a:moveTo>
                  <a:lnTo>
                    <a:pt x="0" y="60"/>
                  </a:lnTo>
                  <a:lnTo>
                    <a:pt x="0" y="219"/>
                  </a:lnTo>
                  <a:lnTo>
                    <a:pt x="59" y="278"/>
                  </a:lnTo>
                  <a:lnTo>
                    <a:pt x="59" y="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Rectangle 24">
              <a:extLst>
                <a:ext uri="{FF2B5EF4-FFF2-40B4-BE49-F238E27FC236}">
                  <a16:creationId xmlns:a16="http://schemas.microsoft.com/office/drawing/2014/main" id="{C8D95E33-0118-43BE-9675-D275B5F2AF50}"/>
                </a:ext>
              </a:extLst>
            </p:cNvPr>
            <p:cNvSpPr>
              <a:spLocks noChangeArrowheads="1"/>
            </p:cNvSpPr>
            <p:nvPr/>
          </p:nvSpPr>
          <p:spPr bwMode="auto">
            <a:xfrm>
              <a:off x="8636883" y="3726871"/>
              <a:ext cx="37287" cy="23267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0" name="Group 235">
              <a:extLst>
                <a:ext uri="{FF2B5EF4-FFF2-40B4-BE49-F238E27FC236}">
                  <a16:creationId xmlns:a16="http://schemas.microsoft.com/office/drawing/2014/main" id="{E5C9988C-0A02-4745-ACBB-BF9996B1DCDB}"/>
                </a:ext>
              </a:extLst>
            </p:cNvPr>
            <p:cNvGrpSpPr>
              <a:grpSpLocks noChangeAspect="1"/>
            </p:cNvGrpSpPr>
            <p:nvPr/>
          </p:nvGrpSpPr>
          <p:grpSpPr bwMode="auto">
            <a:xfrm>
              <a:off x="5939267" y="1885721"/>
              <a:ext cx="481296" cy="481296"/>
              <a:chOff x="4234" y="784"/>
              <a:chExt cx="340" cy="340"/>
            </a:xfrm>
            <a:solidFill>
              <a:schemeClr val="accent1"/>
            </a:solidFill>
          </p:grpSpPr>
          <p:sp>
            <p:nvSpPr>
              <p:cNvPr id="81" name="Freeform 236">
                <a:extLst>
                  <a:ext uri="{FF2B5EF4-FFF2-40B4-BE49-F238E27FC236}">
                    <a16:creationId xmlns:a16="http://schemas.microsoft.com/office/drawing/2014/main" id="{A6EA72CA-6C28-4077-8773-2DE4545512D8}"/>
                  </a:ext>
                </a:extLst>
              </p:cNvPr>
              <p:cNvSpPr>
                <a:spLocks noEditPoints="1"/>
              </p:cNvSpPr>
              <p:nvPr/>
            </p:nvSpPr>
            <p:spPr bwMode="auto">
              <a:xfrm>
                <a:off x="4234" y="78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237">
                <a:extLst>
                  <a:ext uri="{FF2B5EF4-FFF2-40B4-BE49-F238E27FC236}">
                    <a16:creationId xmlns:a16="http://schemas.microsoft.com/office/drawing/2014/main" id="{789E9746-6259-4ABA-AD12-96E0766E0315}"/>
                  </a:ext>
                </a:extLst>
              </p:cNvPr>
              <p:cNvSpPr>
                <a:spLocks noEditPoints="1"/>
              </p:cNvSpPr>
              <p:nvPr/>
            </p:nvSpPr>
            <p:spPr bwMode="auto">
              <a:xfrm>
                <a:off x="4298" y="876"/>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238">
                <a:extLst>
                  <a:ext uri="{FF2B5EF4-FFF2-40B4-BE49-F238E27FC236}">
                    <a16:creationId xmlns:a16="http://schemas.microsoft.com/office/drawing/2014/main" id="{500A72CB-DBA3-4CF0-B46D-6FEF807DE8A6}"/>
                  </a:ext>
                </a:extLst>
              </p:cNvPr>
              <p:cNvSpPr>
                <a:spLocks/>
              </p:cNvSpPr>
              <p:nvPr/>
            </p:nvSpPr>
            <p:spPr bwMode="auto">
              <a:xfrm>
                <a:off x="4383" y="933"/>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4" name="Rectangle 83">
              <a:extLst>
                <a:ext uri="{FF2B5EF4-FFF2-40B4-BE49-F238E27FC236}">
                  <a16:creationId xmlns:a16="http://schemas.microsoft.com/office/drawing/2014/main" id="{A1793030-DF8E-4E60-8EDE-22532D9A9DF6}"/>
                </a:ext>
              </a:extLst>
            </p:cNvPr>
            <p:cNvSpPr/>
            <p:nvPr/>
          </p:nvSpPr>
          <p:spPr>
            <a:xfrm rot="2480149">
              <a:off x="6692717" y="2747391"/>
              <a:ext cx="733662" cy="228925"/>
            </a:xfrm>
            <a:prstGeom prst="rect">
              <a:avLst/>
            </a:prstGeom>
          </p:spPr>
          <p:txBody>
            <a:bodyPr wrap="none">
              <a:spAutoFit/>
            </a:bodyPr>
            <a:lstStyle/>
            <a:p>
              <a:pPr algn="ctr"/>
              <a:r>
                <a:rPr lang="es-MX" sz="1200" b="1" dirty="0">
                  <a:solidFill>
                    <a:schemeClr val="bg1"/>
                  </a:solidFill>
                </a:rPr>
                <a:t>Objetivo</a:t>
              </a:r>
            </a:p>
          </p:txBody>
        </p:sp>
        <p:grpSp>
          <p:nvGrpSpPr>
            <p:cNvPr id="85" name="Group 816">
              <a:extLst>
                <a:ext uri="{FF2B5EF4-FFF2-40B4-BE49-F238E27FC236}">
                  <a16:creationId xmlns:a16="http://schemas.microsoft.com/office/drawing/2014/main" id="{6D80E3C7-6F8E-4181-B161-4B3B89B71212}"/>
                </a:ext>
              </a:extLst>
            </p:cNvPr>
            <p:cNvGrpSpPr>
              <a:grpSpLocks noChangeAspect="1"/>
            </p:cNvGrpSpPr>
            <p:nvPr/>
          </p:nvGrpSpPr>
          <p:grpSpPr bwMode="auto">
            <a:xfrm>
              <a:off x="4745275" y="3603276"/>
              <a:ext cx="481090" cy="481090"/>
              <a:chOff x="4473" y="3391"/>
              <a:chExt cx="340" cy="340"/>
            </a:xfrm>
            <a:solidFill>
              <a:schemeClr val="accent3"/>
            </a:solidFill>
          </p:grpSpPr>
          <p:sp>
            <p:nvSpPr>
              <p:cNvPr id="86" name="Freeform 817">
                <a:extLst>
                  <a:ext uri="{FF2B5EF4-FFF2-40B4-BE49-F238E27FC236}">
                    <a16:creationId xmlns:a16="http://schemas.microsoft.com/office/drawing/2014/main" id="{5013F455-7DF7-4BFB-B35E-F95AD79A46D2}"/>
                  </a:ext>
                </a:extLst>
              </p:cNvPr>
              <p:cNvSpPr>
                <a:spLocks noEditPoints="1"/>
              </p:cNvSpPr>
              <p:nvPr/>
            </p:nvSpPr>
            <p:spPr bwMode="auto">
              <a:xfrm>
                <a:off x="4473"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818">
                <a:extLst>
                  <a:ext uri="{FF2B5EF4-FFF2-40B4-BE49-F238E27FC236}">
                    <a16:creationId xmlns:a16="http://schemas.microsoft.com/office/drawing/2014/main" id="{D1AF07C8-DD58-4DAB-BE0F-635FA8A87E3C}"/>
                  </a:ext>
                </a:extLst>
              </p:cNvPr>
              <p:cNvSpPr>
                <a:spLocks noEditPoints="1"/>
              </p:cNvSpPr>
              <p:nvPr/>
            </p:nvSpPr>
            <p:spPr bwMode="auto">
              <a:xfrm>
                <a:off x="4543"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8" name="Group 541">
              <a:extLst>
                <a:ext uri="{FF2B5EF4-FFF2-40B4-BE49-F238E27FC236}">
                  <a16:creationId xmlns:a16="http://schemas.microsoft.com/office/drawing/2014/main" id="{C38C0998-80C4-4006-B15B-9BF5582813A5}"/>
                </a:ext>
              </a:extLst>
            </p:cNvPr>
            <p:cNvGrpSpPr>
              <a:grpSpLocks noChangeAspect="1"/>
            </p:cNvGrpSpPr>
            <p:nvPr/>
          </p:nvGrpSpPr>
          <p:grpSpPr bwMode="auto">
            <a:xfrm>
              <a:off x="5953435" y="5311734"/>
              <a:ext cx="481090" cy="481090"/>
              <a:chOff x="5306" y="2482"/>
              <a:chExt cx="340" cy="340"/>
            </a:xfrm>
            <a:solidFill>
              <a:srgbClr val="009A44"/>
            </a:solidFill>
          </p:grpSpPr>
          <p:sp>
            <p:nvSpPr>
              <p:cNvPr id="89" name="Freeform 542">
                <a:extLst>
                  <a:ext uri="{FF2B5EF4-FFF2-40B4-BE49-F238E27FC236}">
                    <a16:creationId xmlns:a16="http://schemas.microsoft.com/office/drawing/2014/main" id="{262BBCB4-60F9-43FA-9607-58E938836F0B}"/>
                  </a:ext>
                </a:extLst>
              </p:cNvPr>
              <p:cNvSpPr>
                <a:spLocks noEditPoints="1"/>
              </p:cNvSpPr>
              <p:nvPr/>
            </p:nvSpPr>
            <p:spPr bwMode="auto">
              <a:xfrm>
                <a:off x="5410" y="2546"/>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43">
                <a:extLst>
                  <a:ext uri="{FF2B5EF4-FFF2-40B4-BE49-F238E27FC236}">
                    <a16:creationId xmlns:a16="http://schemas.microsoft.com/office/drawing/2014/main" id="{38F5CC2A-19ED-4EDB-A6EB-C911F09839F3}"/>
                  </a:ext>
                </a:extLst>
              </p:cNvPr>
              <p:cNvSpPr>
                <a:spLocks noEditPoints="1"/>
              </p:cNvSpPr>
              <p:nvPr/>
            </p:nvSpPr>
            <p:spPr bwMode="auto">
              <a:xfrm>
                <a:off x="5306" y="248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Rectangle 90">
              <a:extLst>
                <a:ext uri="{FF2B5EF4-FFF2-40B4-BE49-F238E27FC236}">
                  <a16:creationId xmlns:a16="http://schemas.microsoft.com/office/drawing/2014/main" id="{ECF3656B-457D-4765-8021-E07B7C2F25F3}"/>
                </a:ext>
              </a:extLst>
            </p:cNvPr>
            <p:cNvSpPr/>
            <p:nvPr/>
          </p:nvSpPr>
          <p:spPr>
            <a:xfrm>
              <a:off x="5663527" y="3693478"/>
              <a:ext cx="1776641" cy="228925"/>
            </a:xfrm>
            <a:prstGeom prst="rect">
              <a:avLst/>
            </a:prstGeom>
          </p:spPr>
          <p:txBody>
            <a:bodyPr wrap="none">
              <a:spAutoFit/>
            </a:bodyPr>
            <a:lstStyle/>
            <a:p>
              <a:pPr algn="ctr"/>
              <a:r>
                <a:rPr lang="es-MX" sz="1200" b="1" dirty="0">
                  <a:solidFill>
                    <a:schemeClr val="bg1"/>
                  </a:solidFill>
                </a:rPr>
                <a:t>Enfoque de la Autoridad</a:t>
              </a:r>
            </a:p>
          </p:txBody>
        </p:sp>
        <p:sp>
          <p:nvSpPr>
            <p:cNvPr id="92" name="Rectangle 91">
              <a:extLst>
                <a:ext uri="{FF2B5EF4-FFF2-40B4-BE49-F238E27FC236}">
                  <a16:creationId xmlns:a16="http://schemas.microsoft.com/office/drawing/2014/main" id="{D9120535-E034-42F0-B829-F5CA95F34776}"/>
                </a:ext>
              </a:extLst>
            </p:cNvPr>
            <p:cNvSpPr/>
            <p:nvPr/>
          </p:nvSpPr>
          <p:spPr>
            <a:xfrm rot="18792405">
              <a:off x="6427031" y="4529238"/>
              <a:ext cx="1608939" cy="276999"/>
            </a:xfrm>
            <a:prstGeom prst="rect">
              <a:avLst/>
            </a:prstGeom>
          </p:spPr>
          <p:txBody>
            <a:bodyPr wrap="none">
              <a:spAutoFit/>
            </a:bodyPr>
            <a:lstStyle/>
            <a:p>
              <a:pPr algn="ctr"/>
              <a:r>
                <a:rPr lang="es-MX" sz="1200" b="1" dirty="0">
                  <a:solidFill>
                    <a:schemeClr val="bg1"/>
                  </a:solidFill>
                </a:rPr>
                <a:t>Coordinación con Empresas</a:t>
              </a:r>
            </a:p>
          </p:txBody>
        </p:sp>
        <p:sp>
          <p:nvSpPr>
            <p:cNvPr id="93" name="Rectangle 92">
              <a:extLst>
                <a:ext uri="{FF2B5EF4-FFF2-40B4-BE49-F238E27FC236}">
                  <a16:creationId xmlns:a16="http://schemas.microsoft.com/office/drawing/2014/main" id="{7CEE97FB-29EA-42ED-9C22-09B0BCF1F8BD}"/>
                </a:ext>
              </a:extLst>
            </p:cNvPr>
            <p:cNvSpPr/>
            <p:nvPr/>
          </p:nvSpPr>
          <p:spPr>
            <a:xfrm>
              <a:off x="749301" y="1803228"/>
              <a:ext cx="4940106" cy="794877"/>
            </a:xfrm>
            <a:prstGeom prst="rect">
              <a:avLst/>
            </a:prstGeom>
          </p:spPr>
          <p:txBody>
            <a:bodyPr wrap="square" lIns="0" tIns="0" rIns="0" bIns="0" anchor="ctr">
              <a:spAutoFit/>
            </a:bodyPr>
            <a:lstStyle/>
            <a:p>
              <a:pPr algn="r"/>
              <a:r>
                <a:rPr lang="es-MX" sz="1250" dirty="0">
                  <a:latin typeface="Verdana" panose="020B0604030504040204" pitchFamily="34" charset="0"/>
                  <a:ea typeface="Verdana" panose="020B0604030504040204" pitchFamily="34" charset="0"/>
                </a:rPr>
                <a:t>ECCE busca desarrollar un programa o certificación de cumplimiento en conjunto con los Contribuyentes, con la finalidad fomentar el empleo, productividad y crecimiento económico, así como mejores prácticas en materia de cumplimiento de comercio exterior.. </a:t>
              </a:r>
            </a:p>
          </p:txBody>
        </p:sp>
        <p:sp>
          <p:nvSpPr>
            <p:cNvPr id="94" name="Rectangle 93">
              <a:extLst>
                <a:ext uri="{FF2B5EF4-FFF2-40B4-BE49-F238E27FC236}">
                  <a16:creationId xmlns:a16="http://schemas.microsoft.com/office/drawing/2014/main" id="{3CB44067-22BD-469A-97E3-F8459FA93595}"/>
                </a:ext>
              </a:extLst>
            </p:cNvPr>
            <p:cNvSpPr/>
            <p:nvPr/>
          </p:nvSpPr>
          <p:spPr>
            <a:xfrm>
              <a:off x="287474" y="3366280"/>
              <a:ext cx="4229146" cy="953852"/>
            </a:xfrm>
            <a:prstGeom prst="rect">
              <a:avLst/>
            </a:prstGeom>
          </p:spPr>
          <p:txBody>
            <a:bodyPr wrap="square" lIns="0" tIns="0" rIns="0" bIns="0" anchor="ctr">
              <a:spAutoFit/>
            </a:bodyPr>
            <a:lstStyle/>
            <a:p>
              <a:pPr algn="r"/>
              <a:r>
                <a:rPr lang="es-MX" sz="1250" dirty="0">
                  <a:latin typeface="Verdana" panose="020B0604030504040204" pitchFamily="34" charset="0"/>
                  <a:ea typeface="Verdana" panose="020B0604030504040204" pitchFamily="34" charset="0"/>
                </a:rPr>
                <a:t>Este programa busca aplicar los más altos valores y estándares en la materia con la finalidad de llevar a cabo la gestión adecuada del cumplimiento, para salvaguardar la integridad y evitar o reducir al mínimo el incumplimiento de las obligaciones de las Compañías.</a:t>
              </a:r>
              <a:endParaRPr lang="en-US" sz="1250" dirty="0">
                <a:latin typeface="Verdana" panose="020B0604030504040204" pitchFamily="34" charset="0"/>
                <a:ea typeface="Verdana" panose="020B0604030504040204" pitchFamily="34" charset="0"/>
              </a:endParaRPr>
            </a:p>
          </p:txBody>
        </p:sp>
        <p:sp>
          <p:nvSpPr>
            <p:cNvPr id="95" name="Rectangle 94">
              <a:extLst>
                <a:ext uri="{FF2B5EF4-FFF2-40B4-BE49-F238E27FC236}">
                  <a16:creationId xmlns:a16="http://schemas.microsoft.com/office/drawing/2014/main" id="{326E0568-C303-41BA-B872-E2D924BEC055}"/>
                </a:ext>
              </a:extLst>
            </p:cNvPr>
            <p:cNvSpPr/>
            <p:nvPr/>
          </p:nvSpPr>
          <p:spPr>
            <a:xfrm>
              <a:off x="938914" y="5233249"/>
              <a:ext cx="4806323" cy="476926"/>
            </a:xfrm>
            <a:prstGeom prst="rect">
              <a:avLst/>
            </a:prstGeom>
          </p:spPr>
          <p:txBody>
            <a:bodyPr wrap="square" lIns="0" tIns="0" rIns="0" bIns="0" anchor="ctr">
              <a:spAutoFit/>
            </a:bodyPr>
            <a:lstStyle/>
            <a:p>
              <a:pPr algn="r"/>
              <a:r>
                <a:rPr lang="es-MX" sz="1250" dirty="0">
                  <a:latin typeface="Verdana" panose="020B0604030504040204" pitchFamily="34" charset="0"/>
                  <a:ea typeface="Verdana" panose="020B0604030504040204" pitchFamily="34" charset="0"/>
                </a:rPr>
                <a:t>Esta iniciativa surge desde el sector privado y Secretaría de Economía, con la intención de diseñar mecanismos que ayuden a facilitar el comercio y trámites de la materia.</a:t>
              </a:r>
            </a:p>
          </p:txBody>
        </p:sp>
      </p:grpSp>
      <p:sp>
        <p:nvSpPr>
          <p:cNvPr id="38" name="Rectangle 37">
            <a:extLst>
              <a:ext uri="{FF2B5EF4-FFF2-40B4-BE49-F238E27FC236}">
                <a16:creationId xmlns:a16="http://schemas.microsoft.com/office/drawing/2014/main" id="{54533852-EC7F-47D3-8A5C-AC56757BE286}"/>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9" name="Rectangle 38">
            <a:extLst>
              <a:ext uri="{FF2B5EF4-FFF2-40B4-BE49-F238E27FC236}">
                <a16:creationId xmlns:a16="http://schemas.microsoft.com/office/drawing/2014/main" id="{E8BAE45A-26AA-4115-9851-3677CC4B4996}"/>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50685964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dirty="0"/>
              <a:t>Cambios que impactan </a:t>
            </a:r>
          </a:p>
        </p:txBody>
      </p:sp>
      <p:sp>
        <p:nvSpPr>
          <p:cNvPr id="37" name="Title 14"/>
          <p:cNvSpPr>
            <a:spLocks noGrp="1"/>
          </p:cNvSpPr>
          <p:nvPr>
            <p:ph type="title"/>
          </p:nvPr>
        </p:nvSpPr>
        <p:spPr/>
        <p:txBody>
          <a:bodyPr/>
          <a:lstStyle/>
          <a:p>
            <a:r>
              <a:rPr lang="es-MX" dirty="0"/>
              <a:t>Novedades en materia de Comercio Exterior</a:t>
            </a: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849109"/>
            <a:ext cx="6927274" cy="257250"/>
          </a:xfrm>
          <a:prstGeom prst="rect">
            <a:avLst/>
          </a:prstGeom>
        </p:spPr>
        <p:txBody>
          <a:bodyPr wrap="square" lIns="0" tIns="0" rIns="0" bIns="0">
            <a:spAutoFit/>
          </a:bodyPr>
          <a:lstStyle/>
          <a:p>
            <a:pPr lvl="0">
              <a:lnSpc>
                <a:spcPct val="110000"/>
              </a:lnSpc>
            </a:pPr>
            <a:r>
              <a:rPr lang="es-MX" sz="1600" b="1" dirty="0">
                <a:solidFill>
                  <a:srgbClr val="40972B"/>
                </a:solidFill>
                <a:latin typeface="+mj-lt"/>
                <a:ea typeface="Open Sans Semibold" panose="020B0706030804020204" pitchFamily="34" charset="0"/>
                <a:cs typeface="Calibri Light" panose="020F0302020204030204" pitchFamily="34" charset="0"/>
              </a:rPr>
              <a:t>Salida de Tatiana Clouthier</a:t>
            </a: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p>
          </p:txBody>
        </p:sp>
        <p:sp>
          <p:nvSpPr>
            <p:cNvPr id="18" name="TextBox 17"/>
            <p:cNvSpPr txBox="1"/>
            <p:nvPr/>
          </p:nvSpPr>
          <p:spPr>
            <a:xfrm>
              <a:off x="636838" y="3892034"/>
              <a:ext cx="155492" cy="369332"/>
            </a:xfrm>
            <a:prstGeom prst="rect">
              <a:avLst/>
            </a:prstGeom>
            <a:noFill/>
          </p:spPr>
          <p:txBody>
            <a:bodyPr wrap="square" lIns="0" tIns="0" rIns="0" bIns="0" rtlCol="0">
              <a:spAutoFit/>
            </a:bodyPr>
            <a:lstStyle/>
            <a:p>
              <a:pPr>
                <a:spcBef>
                  <a:spcPts val="600"/>
                </a:spcBef>
                <a:buSzPct val="100000"/>
              </a:pPr>
              <a:r>
                <a:rPr lang="es-MX" sz="2400" b="1" i="1" dirty="0">
                  <a:solidFill>
                    <a:schemeClr val="bg1"/>
                  </a:solidFill>
                  <a:latin typeface="+mj-lt"/>
                </a:rPr>
                <a:t>1</a:t>
              </a:r>
            </a:p>
          </p:txBody>
        </p:sp>
      </p:grpSp>
      <p:sp>
        <p:nvSpPr>
          <p:cNvPr id="10" name="Text Placeholder 6"/>
          <p:cNvSpPr txBox="1">
            <a:spLocks/>
          </p:cNvSpPr>
          <p:nvPr/>
        </p:nvSpPr>
        <p:spPr>
          <a:xfrm>
            <a:off x="479231" y="2475937"/>
            <a:ext cx="7308580" cy="3172294"/>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dirty="0"/>
              <a:t>En medio de un complicado proceso de controversia energética con Estados Unidos en el marco del Tratado de Libre Comercio de México, Estados Unidos y Canadá (TMEC), la </a:t>
            </a:r>
            <a:r>
              <a:rPr lang="es-MX" sz="1600" b="1" dirty="0"/>
              <a:t>Maestra Tatiana Clouthier renuncia como Secretaria de Economía.</a:t>
            </a:r>
          </a:p>
          <a:p>
            <a:pPr marL="0" lvl="2" indent="0" algn="just">
              <a:buNone/>
            </a:pPr>
            <a:r>
              <a:rPr lang="es-MX" sz="1600" dirty="0"/>
              <a:t>Como parte de su gestión por su paso por la Secretaría de Economía realizó diferentes </a:t>
            </a:r>
            <a:r>
              <a:rPr lang="es-MX" sz="1600" b="1" dirty="0"/>
              <a:t>adecuaciones a los procesos  y disposiciones encaminadas a la facilitación del Comercio, tales como simplificación en tramites, </a:t>
            </a:r>
            <a:r>
              <a:rPr lang="es-MX" sz="1600" dirty="0"/>
              <a:t>en lo particular a empresas IMMEX, gestiones en el comité de facilitación del comercio, la convocatoria para participar en la Empresa Cumplida de Comercio Exterior, entre otros.</a:t>
            </a:r>
          </a:p>
          <a:p>
            <a:pPr marL="0" lvl="2" indent="0" algn="just">
              <a:buNone/>
            </a:pPr>
            <a:r>
              <a:rPr lang="es-MX" sz="1600" dirty="0"/>
              <a:t>Tras su salida, han salido otros funcionarios clave, </a:t>
            </a:r>
            <a:r>
              <a:rPr lang="es-MX" sz="1600" b="1" dirty="0"/>
              <a:t>como Luz Maria de la Mora, </a:t>
            </a:r>
            <a:r>
              <a:rPr lang="es-MX" sz="1600" dirty="0"/>
              <a:t>subsecretaria de la SE, y pieza clave en los procesos de negociación e Implementación en el TMEC.</a:t>
            </a:r>
          </a:p>
        </p:txBody>
      </p:sp>
      <p:sp>
        <p:nvSpPr>
          <p:cNvPr id="12" name="Rectangle 11">
            <a:extLst>
              <a:ext uri="{FF2B5EF4-FFF2-40B4-BE49-F238E27FC236}">
                <a16:creationId xmlns:a16="http://schemas.microsoft.com/office/drawing/2014/main" id="{BB8EDAAA-91B2-4723-B723-EB26651DF5B6}"/>
              </a:ext>
            </a:extLst>
          </p:cNvPr>
          <p:cNvSpPr/>
          <p:nvPr/>
        </p:nvSpPr>
        <p:spPr bwMode="gray">
          <a:xfrm>
            <a:off x="228600" y="6339212"/>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1" name="Rectangle 20">
            <a:extLst>
              <a:ext uri="{FF2B5EF4-FFF2-40B4-BE49-F238E27FC236}">
                <a16:creationId xmlns:a16="http://schemas.microsoft.com/office/drawing/2014/main" id="{AEA8774A-7C70-4B80-B594-F3D97E5ABDCF}"/>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pic>
        <p:nvPicPr>
          <p:cNvPr id="18434" name="Picture 2" descr="Tatiana Clouthier renuncia a la Secretaría de Economía de México | EL PAÍS  México">
            <a:extLst>
              <a:ext uri="{FF2B5EF4-FFF2-40B4-BE49-F238E27FC236}">
                <a16:creationId xmlns:a16="http://schemas.microsoft.com/office/drawing/2014/main" id="{DD1E2A94-224C-4F47-9488-1CE08799E8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4125" y="1988396"/>
            <a:ext cx="2847975" cy="160020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Tatiana Clouthier se va de Economía sin abrazo de AMLO | Video">
            <a:extLst>
              <a:ext uri="{FF2B5EF4-FFF2-40B4-BE49-F238E27FC236}">
                <a16:creationId xmlns:a16="http://schemas.microsoft.com/office/drawing/2014/main" id="{4D3D085A-8DCD-41D2-9202-BED70726B2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12319" y="4048031"/>
            <a:ext cx="2857500" cy="1600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024969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TextBox 623"/>
          <p:cNvSpPr txBox="1"/>
          <p:nvPr/>
        </p:nvSpPr>
        <p:spPr>
          <a:xfrm>
            <a:off x="344414" y="1281640"/>
            <a:ext cx="5737566" cy="707886"/>
          </a:xfrm>
          <a:prstGeom prst="rect">
            <a:avLst/>
          </a:prstGeom>
          <a:noFill/>
        </p:spPr>
        <p:txBody>
          <a:bodyPr wrap="square" rtlCol="0">
            <a:spAutoFit/>
          </a:bodyPr>
          <a:lstStyle/>
          <a:p>
            <a:r>
              <a:rPr lang="es-MX" sz="4000" b="1" dirty="0">
                <a:latin typeface="Verdana" panose="020B0604030504040204" pitchFamily="34" charset="0"/>
                <a:ea typeface="Verdana" panose="020B0604030504040204" pitchFamily="34" charset="0"/>
              </a:rPr>
              <a:t>Beneficios</a:t>
            </a:r>
          </a:p>
        </p:txBody>
      </p:sp>
      <p:sp>
        <p:nvSpPr>
          <p:cNvPr id="263" name="Freeform 5">
            <a:extLst>
              <a:ext uri="{FF2B5EF4-FFF2-40B4-BE49-F238E27FC236}">
                <a16:creationId xmlns:a16="http://schemas.microsoft.com/office/drawing/2014/main" id="{0AC02598-6755-4346-A5F0-954953C07EBB}"/>
              </a:ext>
            </a:extLst>
          </p:cNvPr>
          <p:cNvSpPr>
            <a:spLocks noEditPoints="1"/>
          </p:cNvSpPr>
          <p:nvPr/>
        </p:nvSpPr>
        <p:spPr bwMode="auto">
          <a:xfrm>
            <a:off x="52731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6">
            <a:extLst>
              <a:ext uri="{FF2B5EF4-FFF2-40B4-BE49-F238E27FC236}">
                <a16:creationId xmlns:a16="http://schemas.microsoft.com/office/drawing/2014/main" id="{3DD70A3D-F2A4-4D32-99AA-D181B1EBAB21}"/>
              </a:ext>
            </a:extLst>
          </p:cNvPr>
          <p:cNvSpPr>
            <a:spLocks noEditPoints="1"/>
          </p:cNvSpPr>
          <p:nvPr/>
        </p:nvSpPr>
        <p:spPr bwMode="auto">
          <a:xfrm>
            <a:off x="52711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69BB3C46-033F-4DF7-B3F7-FAC88B275935}"/>
              </a:ext>
            </a:extLst>
          </p:cNvPr>
          <p:cNvSpPr>
            <a:spLocks noEditPoints="1"/>
          </p:cNvSpPr>
          <p:nvPr/>
        </p:nvSpPr>
        <p:spPr bwMode="auto">
          <a:xfrm>
            <a:off x="52013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D116F28F-19BB-4EE7-A9DD-03811F77CF0C}"/>
              </a:ext>
            </a:extLst>
          </p:cNvPr>
          <p:cNvSpPr>
            <a:spLocks noEditPoints="1"/>
          </p:cNvSpPr>
          <p:nvPr/>
        </p:nvSpPr>
        <p:spPr bwMode="auto">
          <a:xfrm>
            <a:off x="51982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9">
            <a:extLst>
              <a:ext uri="{FF2B5EF4-FFF2-40B4-BE49-F238E27FC236}">
                <a16:creationId xmlns:a16="http://schemas.microsoft.com/office/drawing/2014/main" id="{30435FEC-1117-46AE-8CD9-43215089A2D4}"/>
              </a:ext>
            </a:extLst>
          </p:cNvPr>
          <p:cNvSpPr>
            <a:spLocks noEditPoints="1"/>
          </p:cNvSpPr>
          <p:nvPr/>
        </p:nvSpPr>
        <p:spPr bwMode="auto">
          <a:xfrm>
            <a:off x="114893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
            <a:extLst>
              <a:ext uri="{FF2B5EF4-FFF2-40B4-BE49-F238E27FC236}">
                <a16:creationId xmlns:a16="http://schemas.microsoft.com/office/drawing/2014/main" id="{36F06EB5-EE73-4399-AF7F-646358717C4D}"/>
              </a:ext>
            </a:extLst>
          </p:cNvPr>
          <p:cNvSpPr>
            <a:spLocks noEditPoints="1"/>
          </p:cNvSpPr>
          <p:nvPr/>
        </p:nvSpPr>
        <p:spPr bwMode="auto">
          <a:xfrm>
            <a:off x="114863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
            <a:extLst>
              <a:ext uri="{FF2B5EF4-FFF2-40B4-BE49-F238E27FC236}">
                <a16:creationId xmlns:a16="http://schemas.microsoft.com/office/drawing/2014/main" id="{2C5D0E98-4D93-4198-856C-81DF565F80BC}"/>
              </a:ext>
            </a:extLst>
          </p:cNvPr>
          <p:cNvSpPr>
            <a:spLocks noEditPoints="1"/>
          </p:cNvSpPr>
          <p:nvPr/>
        </p:nvSpPr>
        <p:spPr bwMode="auto">
          <a:xfrm>
            <a:off x="114175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2">
            <a:extLst>
              <a:ext uri="{FF2B5EF4-FFF2-40B4-BE49-F238E27FC236}">
                <a16:creationId xmlns:a16="http://schemas.microsoft.com/office/drawing/2014/main" id="{3D50FB71-85C5-46B6-97BA-ACE562D9F287}"/>
              </a:ext>
            </a:extLst>
          </p:cNvPr>
          <p:cNvSpPr>
            <a:spLocks noEditPoints="1"/>
          </p:cNvSpPr>
          <p:nvPr/>
        </p:nvSpPr>
        <p:spPr bwMode="auto">
          <a:xfrm>
            <a:off x="114144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3">
            <a:extLst>
              <a:ext uri="{FF2B5EF4-FFF2-40B4-BE49-F238E27FC236}">
                <a16:creationId xmlns:a16="http://schemas.microsoft.com/office/drawing/2014/main" id="{138A1430-A86E-49F8-BAEB-7655580A2A08}"/>
              </a:ext>
            </a:extLst>
          </p:cNvPr>
          <p:cNvSpPr>
            <a:spLocks noEditPoints="1"/>
          </p:cNvSpPr>
          <p:nvPr/>
        </p:nvSpPr>
        <p:spPr bwMode="auto">
          <a:xfrm>
            <a:off x="53885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4">
            <a:extLst>
              <a:ext uri="{FF2B5EF4-FFF2-40B4-BE49-F238E27FC236}">
                <a16:creationId xmlns:a16="http://schemas.microsoft.com/office/drawing/2014/main" id="{E6B976CE-3917-487C-8EAC-CEB1ED0D6AC1}"/>
              </a:ext>
            </a:extLst>
          </p:cNvPr>
          <p:cNvSpPr>
            <a:spLocks noEditPoints="1"/>
          </p:cNvSpPr>
          <p:nvPr/>
        </p:nvSpPr>
        <p:spPr bwMode="auto">
          <a:xfrm>
            <a:off x="53855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5">
            <a:extLst>
              <a:ext uri="{FF2B5EF4-FFF2-40B4-BE49-F238E27FC236}">
                <a16:creationId xmlns:a16="http://schemas.microsoft.com/office/drawing/2014/main" id="{09F873B0-CC64-4329-B926-224A9C1E8A7F}"/>
              </a:ext>
            </a:extLst>
          </p:cNvPr>
          <p:cNvSpPr>
            <a:spLocks noEditPoints="1"/>
          </p:cNvSpPr>
          <p:nvPr/>
        </p:nvSpPr>
        <p:spPr bwMode="auto">
          <a:xfrm>
            <a:off x="54199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
            <a:extLst>
              <a:ext uri="{FF2B5EF4-FFF2-40B4-BE49-F238E27FC236}">
                <a16:creationId xmlns:a16="http://schemas.microsoft.com/office/drawing/2014/main" id="{C8461AE9-26F6-40A6-B62D-9354D4B32C99}"/>
              </a:ext>
            </a:extLst>
          </p:cNvPr>
          <p:cNvSpPr>
            <a:spLocks noEditPoints="1"/>
          </p:cNvSpPr>
          <p:nvPr/>
        </p:nvSpPr>
        <p:spPr bwMode="auto">
          <a:xfrm>
            <a:off x="54149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7">
            <a:extLst>
              <a:ext uri="{FF2B5EF4-FFF2-40B4-BE49-F238E27FC236}">
                <a16:creationId xmlns:a16="http://schemas.microsoft.com/office/drawing/2014/main" id="{5BACA4CA-F723-4A0D-A4B4-2B0F2B8E4B86}"/>
              </a:ext>
            </a:extLst>
          </p:cNvPr>
          <p:cNvSpPr>
            <a:spLocks noEditPoints="1"/>
          </p:cNvSpPr>
          <p:nvPr/>
        </p:nvSpPr>
        <p:spPr bwMode="auto">
          <a:xfrm>
            <a:off x="60030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8">
            <a:extLst>
              <a:ext uri="{FF2B5EF4-FFF2-40B4-BE49-F238E27FC236}">
                <a16:creationId xmlns:a16="http://schemas.microsoft.com/office/drawing/2014/main" id="{71AD192F-C3B7-442B-BB03-F53C9EB9CD44}"/>
              </a:ext>
            </a:extLst>
          </p:cNvPr>
          <p:cNvSpPr>
            <a:spLocks noEditPoints="1"/>
          </p:cNvSpPr>
          <p:nvPr/>
        </p:nvSpPr>
        <p:spPr bwMode="auto">
          <a:xfrm>
            <a:off x="60010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9">
            <a:extLst>
              <a:ext uri="{FF2B5EF4-FFF2-40B4-BE49-F238E27FC236}">
                <a16:creationId xmlns:a16="http://schemas.microsoft.com/office/drawing/2014/main" id="{43040A79-5470-4754-9754-3B274215BFF7}"/>
              </a:ext>
            </a:extLst>
          </p:cNvPr>
          <p:cNvSpPr>
            <a:spLocks noEditPoints="1"/>
          </p:cNvSpPr>
          <p:nvPr/>
        </p:nvSpPr>
        <p:spPr bwMode="auto">
          <a:xfrm>
            <a:off x="50859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20">
            <a:extLst>
              <a:ext uri="{FF2B5EF4-FFF2-40B4-BE49-F238E27FC236}">
                <a16:creationId xmlns:a16="http://schemas.microsoft.com/office/drawing/2014/main" id="{1A232D3B-A942-454E-B098-F1C4679CC89A}"/>
              </a:ext>
            </a:extLst>
          </p:cNvPr>
          <p:cNvSpPr>
            <a:spLocks noEditPoints="1"/>
          </p:cNvSpPr>
          <p:nvPr/>
        </p:nvSpPr>
        <p:spPr bwMode="auto">
          <a:xfrm>
            <a:off x="50808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1">
            <a:extLst>
              <a:ext uri="{FF2B5EF4-FFF2-40B4-BE49-F238E27FC236}">
                <a16:creationId xmlns:a16="http://schemas.microsoft.com/office/drawing/2014/main" id="{4A7A755C-8A86-48B4-A2D7-C87F1F4A4E73}"/>
              </a:ext>
            </a:extLst>
          </p:cNvPr>
          <p:cNvSpPr>
            <a:spLocks noEditPoints="1"/>
          </p:cNvSpPr>
          <p:nvPr/>
        </p:nvSpPr>
        <p:spPr bwMode="auto">
          <a:xfrm>
            <a:off x="46101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22">
            <a:extLst>
              <a:ext uri="{FF2B5EF4-FFF2-40B4-BE49-F238E27FC236}">
                <a16:creationId xmlns:a16="http://schemas.microsoft.com/office/drawing/2014/main" id="{E4DD2D6D-2DB2-4B80-8065-92ED12430984}"/>
              </a:ext>
            </a:extLst>
          </p:cNvPr>
          <p:cNvSpPr>
            <a:spLocks noEditPoints="1"/>
          </p:cNvSpPr>
          <p:nvPr/>
        </p:nvSpPr>
        <p:spPr bwMode="auto">
          <a:xfrm>
            <a:off x="46030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23">
            <a:extLst>
              <a:ext uri="{FF2B5EF4-FFF2-40B4-BE49-F238E27FC236}">
                <a16:creationId xmlns:a16="http://schemas.microsoft.com/office/drawing/2014/main" id="{A20AE99A-768C-45FB-984F-E157D04E7A90}"/>
              </a:ext>
            </a:extLst>
          </p:cNvPr>
          <p:cNvSpPr>
            <a:spLocks noEditPoints="1"/>
          </p:cNvSpPr>
          <p:nvPr/>
        </p:nvSpPr>
        <p:spPr bwMode="auto">
          <a:xfrm>
            <a:off x="45049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4">
            <a:extLst>
              <a:ext uri="{FF2B5EF4-FFF2-40B4-BE49-F238E27FC236}">
                <a16:creationId xmlns:a16="http://schemas.microsoft.com/office/drawing/2014/main" id="{C28A0ADF-B052-4BE2-8F66-A19D73F2FE53}"/>
              </a:ext>
            </a:extLst>
          </p:cNvPr>
          <p:cNvSpPr>
            <a:spLocks noEditPoints="1"/>
          </p:cNvSpPr>
          <p:nvPr/>
        </p:nvSpPr>
        <p:spPr bwMode="auto">
          <a:xfrm>
            <a:off x="44978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25">
            <a:extLst>
              <a:ext uri="{FF2B5EF4-FFF2-40B4-BE49-F238E27FC236}">
                <a16:creationId xmlns:a16="http://schemas.microsoft.com/office/drawing/2014/main" id="{60E90381-9EEE-4344-B92C-1B3A25CC51E3}"/>
              </a:ext>
            </a:extLst>
          </p:cNvPr>
          <p:cNvSpPr>
            <a:spLocks noEditPoints="1"/>
          </p:cNvSpPr>
          <p:nvPr/>
        </p:nvSpPr>
        <p:spPr bwMode="auto">
          <a:xfrm>
            <a:off x="115784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26">
            <a:extLst>
              <a:ext uri="{FF2B5EF4-FFF2-40B4-BE49-F238E27FC236}">
                <a16:creationId xmlns:a16="http://schemas.microsoft.com/office/drawing/2014/main" id="{747C703A-AB3A-4A2B-88AD-B70982C3B7EA}"/>
              </a:ext>
            </a:extLst>
          </p:cNvPr>
          <p:cNvSpPr>
            <a:spLocks noEditPoints="1"/>
          </p:cNvSpPr>
          <p:nvPr/>
        </p:nvSpPr>
        <p:spPr bwMode="auto">
          <a:xfrm>
            <a:off x="115734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27">
            <a:extLst>
              <a:ext uri="{FF2B5EF4-FFF2-40B4-BE49-F238E27FC236}">
                <a16:creationId xmlns:a16="http://schemas.microsoft.com/office/drawing/2014/main" id="{29F01649-B303-4B2E-8CE6-38F2AC360F35}"/>
              </a:ext>
            </a:extLst>
          </p:cNvPr>
          <p:cNvSpPr>
            <a:spLocks noEditPoints="1"/>
          </p:cNvSpPr>
          <p:nvPr/>
        </p:nvSpPr>
        <p:spPr bwMode="auto">
          <a:xfrm>
            <a:off x="116068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28">
            <a:extLst>
              <a:ext uri="{FF2B5EF4-FFF2-40B4-BE49-F238E27FC236}">
                <a16:creationId xmlns:a16="http://schemas.microsoft.com/office/drawing/2014/main" id="{41CE3925-42BB-4F50-A968-9B7ACCFC8830}"/>
              </a:ext>
            </a:extLst>
          </p:cNvPr>
          <p:cNvSpPr>
            <a:spLocks noEditPoints="1"/>
          </p:cNvSpPr>
          <p:nvPr/>
        </p:nvSpPr>
        <p:spPr bwMode="auto">
          <a:xfrm>
            <a:off x="116047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29">
            <a:extLst>
              <a:ext uri="{FF2B5EF4-FFF2-40B4-BE49-F238E27FC236}">
                <a16:creationId xmlns:a16="http://schemas.microsoft.com/office/drawing/2014/main" id="{6E63F76B-4084-4E85-9892-3F605EB9CBE7}"/>
              </a:ext>
            </a:extLst>
          </p:cNvPr>
          <p:cNvSpPr>
            <a:spLocks noEditPoints="1"/>
          </p:cNvSpPr>
          <p:nvPr/>
        </p:nvSpPr>
        <p:spPr bwMode="auto">
          <a:xfrm>
            <a:off x="118345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30">
            <a:extLst>
              <a:ext uri="{FF2B5EF4-FFF2-40B4-BE49-F238E27FC236}">
                <a16:creationId xmlns:a16="http://schemas.microsoft.com/office/drawing/2014/main" id="{BF6A2D58-A949-4662-853A-42D10FC865C2}"/>
              </a:ext>
            </a:extLst>
          </p:cNvPr>
          <p:cNvSpPr>
            <a:spLocks noEditPoints="1"/>
          </p:cNvSpPr>
          <p:nvPr/>
        </p:nvSpPr>
        <p:spPr bwMode="auto">
          <a:xfrm>
            <a:off x="118305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31">
            <a:extLst>
              <a:ext uri="{FF2B5EF4-FFF2-40B4-BE49-F238E27FC236}">
                <a16:creationId xmlns:a16="http://schemas.microsoft.com/office/drawing/2014/main" id="{EDFAA406-C385-4516-9AC7-93F531A7B0DF}"/>
              </a:ext>
            </a:extLst>
          </p:cNvPr>
          <p:cNvSpPr>
            <a:spLocks noEditPoints="1"/>
          </p:cNvSpPr>
          <p:nvPr/>
        </p:nvSpPr>
        <p:spPr bwMode="auto">
          <a:xfrm>
            <a:off x="119388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32">
            <a:extLst>
              <a:ext uri="{FF2B5EF4-FFF2-40B4-BE49-F238E27FC236}">
                <a16:creationId xmlns:a16="http://schemas.microsoft.com/office/drawing/2014/main" id="{C0BE317D-EF9C-4C8A-829B-090B6A103667}"/>
              </a:ext>
            </a:extLst>
          </p:cNvPr>
          <p:cNvSpPr>
            <a:spLocks noEditPoints="1"/>
          </p:cNvSpPr>
          <p:nvPr/>
        </p:nvSpPr>
        <p:spPr bwMode="auto">
          <a:xfrm>
            <a:off x="119357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33">
            <a:extLst>
              <a:ext uri="{FF2B5EF4-FFF2-40B4-BE49-F238E27FC236}">
                <a16:creationId xmlns:a16="http://schemas.microsoft.com/office/drawing/2014/main" id="{9CF74DD3-1975-45C0-AA4A-607C684E6C8A}"/>
              </a:ext>
            </a:extLst>
          </p:cNvPr>
          <p:cNvSpPr>
            <a:spLocks noEditPoints="1"/>
          </p:cNvSpPr>
          <p:nvPr/>
        </p:nvSpPr>
        <p:spPr bwMode="auto">
          <a:xfrm>
            <a:off x="112829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34">
            <a:extLst>
              <a:ext uri="{FF2B5EF4-FFF2-40B4-BE49-F238E27FC236}">
                <a16:creationId xmlns:a16="http://schemas.microsoft.com/office/drawing/2014/main" id="{C28578B6-CF2F-4B64-B2BF-BE5C9E3771BE}"/>
              </a:ext>
            </a:extLst>
          </p:cNvPr>
          <p:cNvSpPr>
            <a:spLocks noEditPoints="1"/>
          </p:cNvSpPr>
          <p:nvPr/>
        </p:nvSpPr>
        <p:spPr bwMode="auto">
          <a:xfrm>
            <a:off x="112798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35">
            <a:extLst>
              <a:ext uri="{FF2B5EF4-FFF2-40B4-BE49-F238E27FC236}">
                <a16:creationId xmlns:a16="http://schemas.microsoft.com/office/drawing/2014/main" id="{9B23F82E-968A-4BDF-B657-332D629056ED}"/>
              </a:ext>
            </a:extLst>
          </p:cNvPr>
          <p:cNvSpPr>
            <a:spLocks noEditPoints="1"/>
          </p:cNvSpPr>
          <p:nvPr/>
        </p:nvSpPr>
        <p:spPr bwMode="auto">
          <a:xfrm>
            <a:off x="110713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36">
            <a:extLst>
              <a:ext uri="{FF2B5EF4-FFF2-40B4-BE49-F238E27FC236}">
                <a16:creationId xmlns:a16="http://schemas.microsoft.com/office/drawing/2014/main" id="{86CB239B-609C-4A8E-8F56-77051A1E43D2}"/>
              </a:ext>
            </a:extLst>
          </p:cNvPr>
          <p:cNvSpPr>
            <a:spLocks noEditPoints="1"/>
          </p:cNvSpPr>
          <p:nvPr/>
        </p:nvSpPr>
        <p:spPr bwMode="auto">
          <a:xfrm>
            <a:off x="110662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37">
            <a:extLst>
              <a:ext uri="{FF2B5EF4-FFF2-40B4-BE49-F238E27FC236}">
                <a16:creationId xmlns:a16="http://schemas.microsoft.com/office/drawing/2014/main" id="{7CA998CE-96C6-4F6E-98AF-087B0E4C2B7A}"/>
              </a:ext>
            </a:extLst>
          </p:cNvPr>
          <p:cNvSpPr>
            <a:spLocks noEditPoints="1"/>
          </p:cNvSpPr>
          <p:nvPr/>
        </p:nvSpPr>
        <p:spPr bwMode="auto">
          <a:xfrm>
            <a:off x="110713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38">
            <a:extLst>
              <a:ext uri="{FF2B5EF4-FFF2-40B4-BE49-F238E27FC236}">
                <a16:creationId xmlns:a16="http://schemas.microsoft.com/office/drawing/2014/main" id="{FD168DE7-BDE5-4D22-9923-6F2064F14C4B}"/>
              </a:ext>
            </a:extLst>
          </p:cNvPr>
          <p:cNvSpPr>
            <a:spLocks noEditPoints="1"/>
          </p:cNvSpPr>
          <p:nvPr/>
        </p:nvSpPr>
        <p:spPr bwMode="auto">
          <a:xfrm>
            <a:off x="110662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39">
            <a:extLst>
              <a:ext uri="{FF2B5EF4-FFF2-40B4-BE49-F238E27FC236}">
                <a16:creationId xmlns:a16="http://schemas.microsoft.com/office/drawing/2014/main" id="{C0A48846-3CA1-4033-A124-EE4557838E03}"/>
              </a:ext>
            </a:extLst>
          </p:cNvPr>
          <p:cNvSpPr>
            <a:spLocks/>
          </p:cNvSpPr>
          <p:nvPr/>
        </p:nvSpPr>
        <p:spPr bwMode="auto">
          <a:xfrm>
            <a:off x="85488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40">
            <a:extLst>
              <a:ext uri="{FF2B5EF4-FFF2-40B4-BE49-F238E27FC236}">
                <a16:creationId xmlns:a16="http://schemas.microsoft.com/office/drawing/2014/main" id="{24A8079F-89AC-436E-B953-435EE482DCA9}"/>
              </a:ext>
            </a:extLst>
          </p:cNvPr>
          <p:cNvSpPr>
            <a:spLocks/>
          </p:cNvSpPr>
          <p:nvPr/>
        </p:nvSpPr>
        <p:spPr bwMode="auto">
          <a:xfrm>
            <a:off x="86115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41">
            <a:extLst>
              <a:ext uri="{FF2B5EF4-FFF2-40B4-BE49-F238E27FC236}">
                <a16:creationId xmlns:a16="http://schemas.microsoft.com/office/drawing/2014/main" id="{81C621F1-7C8A-4615-8426-9C22F13EC511}"/>
              </a:ext>
            </a:extLst>
          </p:cNvPr>
          <p:cNvSpPr>
            <a:spLocks/>
          </p:cNvSpPr>
          <p:nvPr/>
        </p:nvSpPr>
        <p:spPr bwMode="auto">
          <a:xfrm>
            <a:off x="86986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42">
            <a:extLst>
              <a:ext uri="{FF2B5EF4-FFF2-40B4-BE49-F238E27FC236}">
                <a16:creationId xmlns:a16="http://schemas.microsoft.com/office/drawing/2014/main" id="{E13A57FB-5430-4F4D-9262-E6A55FC02746}"/>
              </a:ext>
            </a:extLst>
          </p:cNvPr>
          <p:cNvSpPr>
            <a:spLocks/>
          </p:cNvSpPr>
          <p:nvPr/>
        </p:nvSpPr>
        <p:spPr bwMode="auto">
          <a:xfrm>
            <a:off x="86814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43">
            <a:extLst>
              <a:ext uri="{FF2B5EF4-FFF2-40B4-BE49-F238E27FC236}">
                <a16:creationId xmlns:a16="http://schemas.microsoft.com/office/drawing/2014/main" id="{6FD50FCB-B2A2-4702-B7E9-27779A07C1F5}"/>
              </a:ext>
            </a:extLst>
          </p:cNvPr>
          <p:cNvSpPr>
            <a:spLocks/>
          </p:cNvSpPr>
          <p:nvPr/>
        </p:nvSpPr>
        <p:spPr bwMode="auto">
          <a:xfrm>
            <a:off x="87796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44">
            <a:extLst>
              <a:ext uri="{FF2B5EF4-FFF2-40B4-BE49-F238E27FC236}">
                <a16:creationId xmlns:a16="http://schemas.microsoft.com/office/drawing/2014/main" id="{87351DCE-DCEF-4F6E-8E3E-0AA07C951286}"/>
              </a:ext>
            </a:extLst>
          </p:cNvPr>
          <p:cNvSpPr>
            <a:spLocks noEditPoints="1"/>
          </p:cNvSpPr>
          <p:nvPr/>
        </p:nvSpPr>
        <p:spPr bwMode="auto">
          <a:xfrm>
            <a:off x="68320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45">
            <a:extLst>
              <a:ext uri="{FF2B5EF4-FFF2-40B4-BE49-F238E27FC236}">
                <a16:creationId xmlns:a16="http://schemas.microsoft.com/office/drawing/2014/main" id="{69AA655C-3DA3-4E54-B98A-33555F63ECED}"/>
              </a:ext>
            </a:extLst>
          </p:cNvPr>
          <p:cNvSpPr>
            <a:spLocks/>
          </p:cNvSpPr>
          <p:nvPr/>
        </p:nvSpPr>
        <p:spPr bwMode="auto">
          <a:xfrm>
            <a:off x="71296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46">
            <a:extLst>
              <a:ext uri="{FF2B5EF4-FFF2-40B4-BE49-F238E27FC236}">
                <a16:creationId xmlns:a16="http://schemas.microsoft.com/office/drawing/2014/main" id="{82F26EA6-B6B4-4EE9-9E75-2B35665D30B7}"/>
              </a:ext>
            </a:extLst>
          </p:cNvPr>
          <p:cNvSpPr>
            <a:spLocks/>
          </p:cNvSpPr>
          <p:nvPr/>
        </p:nvSpPr>
        <p:spPr bwMode="auto">
          <a:xfrm>
            <a:off x="71276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8BBFDA97-AE45-441A-8C61-EB23C907BFAE}"/>
              </a:ext>
            </a:extLst>
          </p:cNvPr>
          <p:cNvSpPr>
            <a:spLocks/>
          </p:cNvSpPr>
          <p:nvPr/>
        </p:nvSpPr>
        <p:spPr bwMode="auto">
          <a:xfrm>
            <a:off x="81317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79AD60B0-D39A-48E8-B502-F68C69FD52D7}"/>
              </a:ext>
            </a:extLst>
          </p:cNvPr>
          <p:cNvSpPr>
            <a:spLocks/>
          </p:cNvSpPr>
          <p:nvPr/>
        </p:nvSpPr>
        <p:spPr bwMode="auto">
          <a:xfrm>
            <a:off x="86358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83F2EC32-D75C-4F48-9BF1-F3EDC2F35AE7}"/>
              </a:ext>
            </a:extLst>
          </p:cNvPr>
          <p:cNvSpPr>
            <a:spLocks/>
          </p:cNvSpPr>
          <p:nvPr/>
        </p:nvSpPr>
        <p:spPr bwMode="auto">
          <a:xfrm>
            <a:off x="86308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0AC3DE7F-80CB-4BC8-9DB1-C68B21A2FF66}"/>
              </a:ext>
            </a:extLst>
          </p:cNvPr>
          <p:cNvSpPr>
            <a:spLocks/>
          </p:cNvSpPr>
          <p:nvPr/>
        </p:nvSpPr>
        <p:spPr bwMode="auto">
          <a:xfrm>
            <a:off x="105864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99740E23-B111-4E2C-ABB3-09491D102FA7}"/>
              </a:ext>
            </a:extLst>
          </p:cNvPr>
          <p:cNvSpPr>
            <a:spLocks/>
          </p:cNvSpPr>
          <p:nvPr/>
        </p:nvSpPr>
        <p:spPr bwMode="auto">
          <a:xfrm>
            <a:off x="105864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2">
            <a:extLst>
              <a:ext uri="{FF2B5EF4-FFF2-40B4-BE49-F238E27FC236}">
                <a16:creationId xmlns:a16="http://schemas.microsoft.com/office/drawing/2014/main" id="{B4C96584-395B-482E-826C-29D2B5CF0416}"/>
              </a:ext>
            </a:extLst>
          </p:cNvPr>
          <p:cNvSpPr>
            <a:spLocks/>
          </p:cNvSpPr>
          <p:nvPr/>
        </p:nvSpPr>
        <p:spPr bwMode="auto">
          <a:xfrm>
            <a:off x="89314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53">
            <a:extLst>
              <a:ext uri="{FF2B5EF4-FFF2-40B4-BE49-F238E27FC236}">
                <a16:creationId xmlns:a16="http://schemas.microsoft.com/office/drawing/2014/main" id="{C3D89076-7146-40B4-9F85-339860C7803E}"/>
              </a:ext>
            </a:extLst>
          </p:cNvPr>
          <p:cNvSpPr>
            <a:spLocks/>
          </p:cNvSpPr>
          <p:nvPr/>
        </p:nvSpPr>
        <p:spPr bwMode="auto">
          <a:xfrm>
            <a:off x="89314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54">
            <a:extLst>
              <a:ext uri="{FF2B5EF4-FFF2-40B4-BE49-F238E27FC236}">
                <a16:creationId xmlns:a16="http://schemas.microsoft.com/office/drawing/2014/main" id="{1E3E8514-F560-43C7-A3B2-2033E0BA2C52}"/>
              </a:ext>
            </a:extLst>
          </p:cNvPr>
          <p:cNvSpPr>
            <a:spLocks/>
          </p:cNvSpPr>
          <p:nvPr/>
        </p:nvSpPr>
        <p:spPr bwMode="auto">
          <a:xfrm>
            <a:off x="93920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55">
            <a:extLst>
              <a:ext uri="{FF2B5EF4-FFF2-40B4-BE49-F238E27FC236}">
                <a16:creationId xmlns:a16="http://schemas.microsoft.com/office/drawing/2014/main" id="{C29D82AD-C822-44D4-AFE2-56F139164BB2}"/>
              </a:ext>
            </a:extLst>
          </p:cNvPr>
          <p:cNvSpPr>
            <a:spLocks/>
          </p:cNvSpPr>
          <p:nvPr/>
        </p:nvSpPr>
        <p:spPr bwMode="auto">
          <a:xfrm>
            <a:off x="93900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56">
            <a:extLst>
              <a:ext uri="{FF2B5EF4-FFF2-40B4-BE49-F238E27FC236}">
                <a16:creationId xmlns:a16="http://schemas.microsoft.com/office/drawing/2014/main" id="{44A97774-BDD4-4CD6-A010-BDB65625E2F0}"/>
              </a:ext>
            </a:extLst>
          </p:cNvPr>
          <p:cNvSpPr>
            <a:spLocks noEditPoints="1"/>
          </p:cNvSpPr>
          <p:nvPr/>
        </p:nvSpPr>
        <p:spPr bwMode="auto">
          <a:xfrm>
            <a:off x="60182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Rectangle 57">
            <a:extLst>
              <a:ext uri="{FF2B5EF4-FFF2-40B4-BE49-F238E27FC236}">
                <a16:creationId xmlns:a16="http://schemas.microsoft.com/office/drawing/2014/main" id="{4A0D4A55-3093-49C2-8C71-1BE94D2F509B}"/>
              </a:ext>
            </a:extLst>
          </p:cNvPr>
          <p:cNvSpPr>
            <a:spLocks noChangeArrowheads="1"/>
          </p:cNvSpPr>
          <p:nvPr/>
        </p:nvSpPr>
        <p:spPr bwMode="auto">
          <a:xfrm>
            <a:off x="8109509" y="4756193"/>
            <a:ext cx="166008" cy="2935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Rectangle 58">
            <a:extLst>
              <a:ext uri="{FF2B5EF4-FFF2-40B4-BE49-F238E27FC236}">
                <a16:creationId xmlns:a16="http://schemas.microsoft.com/office/drawing/2014/main" id="{B03300C5-881F-46BF-9600-75817C1C3AFB}"/>
              </a:ext>
            </a:extLst>
          </p:cNvPr>
          <p:cNvSpPr>
            <a:spLocks noChangeArrowheads="1"/>
          </p:cNvSpPr>
          <p:nvPr/>
        </p:nvSpPr>
        <p:spPr bwMode="auto">
          <a:xfrm>
            <a:off x="8109509" y="4679262"/>
            <a:ext cx="166008" cy="3138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Rectangle 59">
            <a:extLst>
              <a:ext uri="{FF2B5EF4-FFF2-40B4-BE49-F238E27FC236}">
                <a16:creationId xmlns:a16="http://schemas.microsoft.com/office/drawing/2014/main" id="{995E551D-16C4-4105-B20A-12DEF78D8EDC}"/>
              </a:ext>
            </a:extLst>
          </p:cNvPr>
          <p:cNvSpPr>
            <a:spLocks noChangeArrowheads="1"/>
          </p:cNvSpPr>
          <p:nvPr/>
        </p:nvSpPr>
        <p:spPr bwMode="auto">
          <a:xfrm>
            <a:off x="8109509" y="4607393"/>
            <a:ext cx="166008" cy="2834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60">
            <a:extLst>
              <a:ext uri="{FF2B5EF4-FFF2-40B4-BE49-F238E27FC236}">
                <a16:creationId xmlns:a16="http://schemas.microsoft.com/office/drawing/2014/main" id="{5FA4B37C-8819-46AA-9AF0-6F632933EE16}"/>
              </a:ext>
            </a:extLst>
          </p:cNvPr>
          <p:cNvSpPr>
            <a:spLocks/>
          </p:cNvSpPr>
          <p:nvPr/>
        </p:nvSpPr>
        <p:spPr bwMode="auto">
          <a:xfrm>
            <a:off x="63664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61">
            <a:extLst>
              <a:ext uri="{FF2B5EF4-FFF2-40B4-BE49-F238E27FC236}">
                <a16:creationId xmlns:a16="http://schemas.microsoft.com/office/drawing/2014/main" id="{3A9CDD08-1A22-478B-BBFD-9FAEAD2F22C3}"/>
              </a:ext>
            </a:extLst>
          </p:cNvPr>
          <p:cNvSpPr>
            <a:spLocks/>
          </p:cNvSpPr>
          <p:nvPr/>
        </p:nvSpPr>
        <p:spPr bwMode="auto">
          <a:xfrm>
            <a:off x="63613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62">
            <a:extLst>
              <a:ext uri="{FF2B5EF4-FFF2-40B4-BE49-F238E27FC236}">
                <a16:creationId xmlns:a16="http://schemas.microsoft.com/office/drawing/2014/main" id="{DD4D916F-5E08-4EA5-ABF9-FF2A0AF9D21E}"/>
              </a:ext>
            </a:extLst>
          </p:cNvPr>
          <p:cNvSpPr>
            <a:spLocks/>
          </p:cNvSpPr>
          <p:nvPr/>
        </p:nvSpPr>
        <p:spPr bwMode="auto">
          <a:xfrm>
            <a:off x="71873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63">
            <a:extLst>
              <a:ext uri="{FF2B5EF4-FFF2-40B4-BE49-F238E27FC236}">
                <a16:creationId xmlns:a16="http://schemas.microsoft.com/office/drawing/2014/main" id="{9E8E672D-A4D7-4AE1-9E5E-B28F65472F20}"/>
              </a:ext>
            </a:extLst>
          </p:cNvPr>
          <p:cNvSpPr>
            <a:spLocks/>
          </p:cNvSpPr>
          <p:nvPr/>
        </p:nvSpPr>
        <p:spPr bwMode="auto">
          <a:xfrm>
            <a:off x="71853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4">
            <a:extLst>
              <a:ext uri="{FF2B5EF4-FFF2-40B4-BE49-F238E27FC236}">
                <a16:creationId xmlns:a16="http://schemas.microsoft.com/office/drawing/2014/main" id="{DF6A3945-F967-4022-838F-EACD2AC35FE3}"/>
              </a:ext>
            </a:extLst>
          </p:cNvPr>
          <p:cNvSpPr>
            <a:spLocks/>
          </p:cNvSpPr>
          <p:nvPr/>
        </p:nvSpPr>
        <p:spPr bwMode="auto">
          <a:xfrm>
            <a:off x="78119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65">
            <a:extLst>
              <a:ext uri="{FF2B5EF4-FFF2-40B4-BE49-F238E27FC236}">
                <a16:creationId xmlns:a16="http://schemas.microsoft.com/office/drawing/2014/main" id="{8F2CE2BF-6584-41DD-8C40-BBEA8F6F61E4}"/>
              </a:ext>
            </a:extLst>
          </p:cNvPr>
          <p:cNvSpPr>
            <a:spLocks/>
          </p:cNvSpPr>
          <p:nvPr/>
        </p:nvSpPr>
        <p:spPr bwMode="auto">
          <a:xfrm>
            <a:off x="78098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66">
            <a:extLst>
              <a:ext uri="{FF2B5EF4-FFF2-40B4-BE49-F238E27FC236}">
                <a16:creationId xmlns:a16="http://schemas.microsoft.com/office/drawing/2014/main" id="{F918E45A-FA47-44D9-81F3-6911CE9E24D5}"/>
              </a:ext>
            </a:extLst>
          </p:cNvPr>
          <p:cNvSpPr>
            <a:spLocks/>
          </p:cNvSpPr>
          <p:nvPr/>
        </p:nvSpPr>
        <p:spPr bwMode="auto">
          <a:xfrm>
            <a:off x="82228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67">
            <a:extLst>
              <a:ext uri="{FF2B5EF4-FFF2-40B4-BE49-F238E27FC236}">
                <a16:creationId xmlns:a16="http://schemas.microsoft.com/office/drawing/2014/main" id="{7210E89B-40F7-4D5D-9B77-0BD19A39BE76}"/>
              </a:ext>
            </a:extLst>
          </p:cNvPr>
          <p:cNvSpPr>
            <a:spLocks/>
          </p:cNvSpPr>
          <p:nvPr/>
        </p:nvSpPr>
        <p:spPr bwMode="auto">
          <a:xfrm>
            <a:off x="82198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68">
            <a:extLst>
              <a:ext uri="{FF2B5EF4-FFF2-40B4-BE49-F238E27FC236}">
                <a16:creationId xmlns:a16="http://schemas.microsoft.com/office/drawing/2014/main" id="{5BDE5632-D0AB-4FB5-8BD4-EFBCB2C767A6}"/>
              </a:ext>
            </a:extLst>
          </p:cNvPr>
          <p:cNvSpPr>
            <a:spLocks/>
          </p:cNvSpPr>
          <p:nvPr/>
        </p:nvSpPr>
        <p:spPr bwMode="auto">
          <a:xfrm>
            <a:off x="60708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69">
            <a:extLst>
              <a:ext uri="{FF2B5EF4-FFF2-40B4-BE49-F238E27FC236}">
                <a16:creationId xmlns:a16="http://schemas.microsoft.com/office/drawing/2014/main" id="{20C1E29A-FADE-47BD-8EB1-6ED3F745DBC1}"/>
              </a:ext>
            </a:extLst>
          </p:cNvPr>
          <p:cNvSpPr>
            <a:spLocks/>
          </p:cNvSpPr>
          <p:nvPr/>
        </p:nvSpPr>
        <p:spPr bwMode="auto">
          <a:xfrm>
            <a:off x="60708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70">
            <a:extLst>
              <a:ext uri="{FF2B5EF4-FFF2-40B4-BE49-F238E27FC236}">
                <a16:creationId xmlns:a16="http://schemas.microsoft.com/office/drawing/2014/main" id="{E93B88B2-7C43-41C7-9DC2-E391E11CC8D1}"/>
              </a:ext>
            </a:extLst>
          </p:cNvPr>
          <p:cNvSpPr>
            <a:spLocks/>
          </p:cNvSpPr>
          <p:nvPr/>
        </p:nvSpPr>
        <p:spPr bwMode="auto">
          <a:xfrm>
            <a:off x="67115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71">
            <a:extLst>
              <a:ext uri="{FF2B5EF4-FFF2-40B4-BE49-F238E27FC236}">
                <a16:creationId xmlns:a16="http://schemas.microsoft.com/office/drawing/2014/main" id="{0E5C410F-4305-4859-989D-3ABBBB235C96}"/>
              </a:ext>
            </a:extLst>
          </p:cNvPr>
          <p:cNvSpPr>
            <a:spLocks/>
          </p:cNvSpPr>
          <p:nvPr/>
        </p:nvSpPr>
        <p:spPr bwMode="auto">
          <a:xfrm>
            <a:off x="67115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72">
            <a:extLst>
              <a:ext uri="{FF2B5EF4-FFF2-40B4-BE49-F238E27FC236}">
                <a16:creationId xmlns:a16="http://schemas.microsoft.com/office/drawing/2014/main" id="{CB2567C0-6C3B-48AE-98B1-A3D8EF71C0C1}"/>
              </a:ext>
            </a:extLst>
          </p:cNvPr>
          <p:cNvSpPr>
            <a:spLocks/>
          </p:cNvSpPr>
          <p:nvPr/>
        </p:nvSpPr>
        <p:spPr bwMode="auto">
          <a:xfrm>
            <a:off x="71731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73">
            <a:extLst>
              <a:ext uri="{FF2B5EF4-FFF2-40B4-BE49-F238E27FC236}">
                <a16:creationId xmlns:a16="http://schemas.microsoft.com/office/drawing/2014/main" id="{DA756EF4-1770-42FC-BD92-CB50B7EEEF99}"/>
              </a:ext>
            </a:extLst>
          </p:cNvPr>
          <p:cNvSpPr>
            <a:spLocks/>
          </p:cNvSpPr>
          <p:nvPr/>
        </p:nvSpPr>
        <p:spPr bwMode="auto">
          <a:xfrm>
            <a:off x="71731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74">
            <a:extLst>
              <a:ext uri="{FF2B5EF4-FFF2-40B4-BE49-F238E27FC236}">
                <a16:creationId xmlns:a16="http://schemas.microsoft.com/office/drawing/2014/main" id="{2EF5C2E5-C765-46ED-AD1F-749321565B97}"/>
              </a:ext>
            </a:extLst>
          </p:cNvPr>
          <p:cNvSpPr>
            <a:spLocks/>
          </p:cNvSpPr>
          <p:nvPr/>
        </p:nvSpPr>
        <p:spPr bwMode="auto">
          <a:xfrm>
            <a:off x="71731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75">
            <a:extLst>
              <a:ext uri="{FF2B5EF4-FFF2-40B4-BE49-F238E27FC236}">
                <a16:creationId xmlns:a16="http://schemas.microsoft.com/office/drawing/2014/main" id="{CBE77F58-DD4D-4ED3-BDD1-5DBC91243EC8}"/>
              </a:ext>
            </a:extLst>
          </p:cNvPr>
          <p:cNvSpPr>
            <a:spLocks noEditPoints="1"/>
          </p:cNvSpPr>
          <p:nvPr/>
        </p:nvSpPr>
        <p:spPr bwMode="auto">
          <a:xfrm>
            <a:off x="71924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76">
            <a:extLst>
              <a:ext uri="{FF2B5EF4-FFF2-40B4-BE49-F238E27FC236}">
                <a16:creationId xmlns:a16="http://schemas.microsoft.com/office/drawing/2014/main" id="{F79DEA51-B21E-49EF-8156-138F7029C94A}"/>
              </a:ext>
            </a:extLst>
          </p:cNvPr>
          <p:cNvSpPr>
            <a:spLocks/>
          </p:cNvSpPr>
          <p:nvPr/>
        </p:nvSpPr>
        <p:spPr bwMode="auto">
          <a:xfrm>
            <a:off x="71731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77">
            <a:extLst>
              <a:ext uri="{FF2B5EF4-FFF2-40B4-BE49-F238E27FC236}">
                <a16:creationId xmlns:a16="http://schemas.microsoft.com/office/drawing/2014/main" id="{E4CB22C5-F624-444C-B8AA-028084DABD28}"/>
              </a:ext>
            </a:extLst>
          </p:cNvPr>
          <p:cNvSpPr>
            <a:spLocks noEditPoints="1"/>
          </p:cNvSpPr>
          <p:nvPr/>
        </p:nvSpPr>
        <p:spPr bwMode="auto">
          <a:xfrm>
            <a:off x="71154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78">
            <a:extLst>
              <a:ext uri="{FF2B5EF4-FFF2-40B4-BE49-F238E27FC236}">
                <a16:creationId xmlns:a16="http://schemas.microsoft.com/office/drawing/2014/main" id="{8A229632-901D-4BB1-9F99-DCA13AE8421C}"/>
              </a:ext>
            </a:extLst>
          </p:cNvPr>
          <p:cNvSpPr>
            <a:spLocks noEditPoints="1"/>
          </p:cNvSpPr>
          <p:nvPr/>
        </p:nvSpPr>
        <p:spPr bwMode="auto">
          <a:xfrm>
            <a:off x="70668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79">
            <a:extLst>
              <a:ext uri="{FF2B5EF4-FFF2-40B4-BE49-F238E27FC236}">
                <a16:creationId xmlns:a16="http://schemas.microsoft.com/office/drawing/2014/main" id="{C48D60C8-8643-47AB-A12B-4E4A1ECB4E3D}"/>
              </a:ext>
            </a:extLst>
          </p:cNvPr>
          <p:cNvSpPr>
            <a:spLocks noEditPoints="1"/>
          </p:cNvSpPr>
          <p:nvPr/>
        </p:nvSpPr>
        <p:spPr bwMode="auto">
          <a:xfrm>
            <a:off x="70193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80">
            <a:extLst>
              <a:ext uri="{FF2B5EF4-FFF2-40B4-BE49-F238E27FC236}">
                <a16:creationId xmlns:a16="http://schemas.microsoft.com/office/drawing/2014/main" id="{2430A0EE-BF3F-4788-9F51-565C2BF8C23F}"/>
              </a:ext>
            </a:extLst>
          </p:cNvPr>
          <p:cNvSpPr>
            <a:spLocks noChangeArrowheads="1"/>
          </p:cNvSpPr>
          <p:nvPr/>
        </p:nvSpPr>
        <p:spPr bwMode="auto">
          <a:xfrm>
            <a:off x="72258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81">
            <a:extLst>
              <a:ext uri="{FF2B5EF4-FFF2-40B4-BE49-F238E27FC236}">
                <a16:creationId xmlns:a16="http://schemas.microsoft.com/office/drawing/2014/main" id="{4B1509E5-7E51-489F-8EB2-7F1CA976DF64}"/>
              </a:ext>
            </a:extLst>
          </p:cNvPr>
          <p:cNvSpPr>
            <a:spLocks/>
          </p:cNvSpPr>
          <p:nvPr/>
        </p:nvSpPr>
        <p:spPr bwMode="auto">
          <a:xfrm>
            <a:off x="58187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Line 82">
            <a:extLst>
              <a:ext uri="{FF2B5EF4-FFF2-40B4-BE49-F238E27FC236}">
                <a16:creationId xmlns:a16="http://schemas.microsoft.com/office/drawing/2014/main" id="{BB7189DE-7CA6-4D03-8D5B-97BE451C4162}"/>
              </a:ext>
            </a:extLst>
          </p:cNvPr>
          <p:cNvSpPr>
            <a:spLocks noChangeShapeType="1"/>
          </p:cNvSpPr>
          <p:nvPr/>
        </p:nvSpPr>
        <p:spPr bwMode="auto">
          <a:xfrm flipH="1">
            <a:off x="58187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83">
            <a:extLst>
              <a:ext uri="{FF2B5EF4-FFF2-40B4-BE49-F238E27FC236}">
                <a16:creationId xmlns:a16="http://schemas.microsoft.com/office/drawing/2014/main" id="{0AA23294-F586-4C34-9F0D-8FD3175B3A01}"/>
              </a:ext>
            </a:extLst>
          </p:cNvPr>
          <p:cNvSpPr>
            <a:spLocks/>
          </p:cNvSpPr>
          <p:nvPr/>
        </p:nvSpPr>
        <p:spPr bwMode="auto">
          <a:xfrm>
            <a:off x="63704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84">
            <a:extLst>
              <a:ext uri="{FF2B5EF4-FFF2-40B4-BE49-F238E27FC236}">
                <a16:creationId xmlns:a16="http://schemas.microsoft.com/office/drawing/2014/main" id="{5ABB8BBF-271C-4030-A893-4A603863296A}"/>
              </a:ext>
            </a:extLst>
          </p:cNvPr>
          <p:cNvSpPr>
            <a:spLocks/>
          </p:cNvSpPr>
          <p:nvPr/>
        </p:nvSpPr>
        <p:spPr bwMode="auto">
          <a:xfrm>
            <a:off x="63967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85">
            <a:extLst>
              <a:ext uri="{FF2B5EF4-FFF2-40B4-BE49-F238E27FC236}">
                <a16:creationId xmlns:a16="http://schemas.microsoft.com/office/drawing/2014/main" id="{7E3428AF-8A30-4419-8712-517335117386}"/>
              </a:ext>
            </a:extLst>
          </p:cNvPr>
          <p:cNvSpPr>
            <a:spLocks/>
          </p:cNvSpPr>
          <p:nvPr/>
        </p:nvSpPr>
        <p:spPr bwMode="auto">
          <a:xfrm>
            <a:off x="69231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87">
            <a:extLst>
              <a:ext uri="{FF2B5EF4-FFF2-40B4-BE49-F238E27FC236}">
                <a16:creationId xmlns:a16="http://schemas.microsoft.com/office/drawing/2014/main" id="{8CAED341-145D-41DF-A4F2-04FD928DB1CF}"/>
              </a:ext>
            </a:extLst>
          </p:cNvPr>
          <p:cNvSpPr>
            <a:spLocks/>
          </p:cNvSpPr>
          <p:nvPr/>
        </p:nvSpPr>
        <p:spPr bwMode="auto">
          <a:xfrm>
            <a:off x="69059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88">
            <a:extLst>
              <a:ext uri="{FF2B5EF4-FFF2-40B4-BE49-F238E27FC236}">
                <a16:creationId xmlns:a16="http://schemas.microsoft.com/office/drawing/2014/main" id="{56C6FEAA-39EC-4387-83E7-AF06B453401A}"/>
              </a:ext>
            </a:extLst>
          </p:cNvPr>
          <p:cNvSpPr>
            <a:spLocks/>
          </p:cNvSpPr>
          <p:nvPr/>
        </p:nvSpPr>
        <p:spPr bwMode="auto">
          <a:xfrm>
            <a:off x="69231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90">
            <a:extLst>
              <a:ext uri="{FF2B5EF4-FFF2-40B4-BE49-F238E27FC236}">
                <a16:creationId xmlns:a16="http://schemas.microsoft.com/office/drawing/2014/main" id="{A0C5FCB2-ADE3-4FD1-BA5E-F0CCB0208EB3}"/>
              </a:ext>
            </a:extLst>
          </p:cNvPr>
          <p:cNvSpPr>
            <a:spLocks/>
          </p:cNvSpPr>
          <p:nvPr/>
        </p:nvSpPr>
        <p:spPr bwMode="auto">
          <a:xfrm>
            <a:off x="69059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91">
            <a:extLst>
              <a:ext uri="{FF2B5EF4-FFF2-40B4-BE49-F238E27FC236}">
                <a16:creationId xmlns:a16="http://schemas.microsoft.com/office/drawing/2014/main" id="{B7E1EAAC-E1CB-4D0E-ACAD-655F92073C9C}"/>
              </a:ext>
            </a:extLst>
          </p:cNvPr>
          <p:cNvSpPr>
            <a:spLocks/>
          </p:cNvSpPr>
          <p:nvPr/>
        </p:nvSpPr>
        <p:spPr bwMode="auto">
          <a:xfrm>
            <a:off x="69231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Line 92">
            <a:extLst>
              <a:ext uri="{FF2B5EF4-FFF2-40B4-BE49-F238E27FC236}">
                <a16:creationId xmlns:a16="http://schemas.microsoft.com/office/drawing/2014/main" id="{98758716-922F-47CC-85E1-F500501DEB80}"/>
              </a:ext>
            </a:extLst>
          </p:cNvPr>
          <p:cNvSpPr>
            <a:spLocks noChangeShapeType="1"/>
          </p:cNvSpPr>
          <p:nvPr/>
        </p:nvSpPr>
        <p:spPr bwMode="auto">
          <a:xfrm flipV="1">
            <a:off x="69231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93">
            <a:extLst>
              <a:ext uri="{FF2B5EF4-FFF2-40B4-BE49-F238E27FC236}">
                <a16:creationId xmlns:a16="http://schemas.microsoft.com/office/drawing/2014/main" id="{701AAA5C-F0C1-4632-9017-66FF904A91F6}"/>
              </a:ext>
            </a:extLst>
          </p:cNvPr>
          <p:cNvSpPr>
            <a:spLocks/>
          </p:cNvSpPr>
          <p:nvPr/>
        </p:nvSpPr>
        <p:spPr bwMode="auto">
          <a:xfrm>
            <a:off x="69059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94">
            <a:extLst>
              <a:ext uri="{FF2B5EF4-FFF2-40B4-BE49-F238E27FC236}">
                <a16:creationId xmlns:a16="http://schemas.microsoft.com/office/drawing/2014/main" id="{A2ADFB66-780B-42FF-9327-376ECE302696}"/>
              </a:ext>
            </a:extLst>
          </p:cNvPr>
          <p:cNvSpPr>
            <a:spLocks/>
          </p:cNvSpPr>
          <p:nvPr/>
        </p:nvSpPr>
        <p:spPr bwMode="auto">
          <a:xfrm>
            <a:off x="69231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96">
            <a:extLst>
              <a:ext uri="{FF2B5EF4-FFF2-40B4-BE49-F238E27FC236}">
                <a16:creationId xmlns:a16="http://schemas.microsoft.com/office/drawing/2014/main" id="{943382C0-7935-4BAD-98BF-D83DD186EA8A}"/>
              </a:ext>
            </a:extLst>
          </p:cNvPr>
          <p:cNvSpPr>
            <a:spLocks/>
          </p:cNvSpPr>
          <p:nvPr/>
        </p:nvSpPr>
        <p:spPr bwMode="auto">
          <a:xfrm>
            <a:off x="69059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97">
            <a:extLst>
              <a:ext uri="{FF2B5EF4-FFF2-40B4-BE49-F238E27FC236}">
                <a16:creationId xmlns:a16="http://schemas.microsoft.com/office/drawing/2014/main" id="{91DB40D7-47F4-45DB-9BD5-90230099A5CB}"/>
              </a:ext>
            </a:extLst>
          </p:cNvPr>
          <p:cNvSpPr>
            <a:spLocks/>
          </p:cNvSpPr>
          <p:nvPr/>
        </p:nvSpPr>
        <p:spPr bwMode="auto">
          <a:xfrm>
            <a:off x="70648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Line 98">
            <a:extLst>
              <a:ext uri="{FF2B5EF4-FFF2-40B4-BE49-F238E27FC236}">
                <a16:creationId xmlns:a16="http://schemas.microsoft.com/office/drawing/2014/main" id="{1EE752DF-82CD-4CBD-9603-E30B304B133B}"/>
              </a:ext>
            </a:extLst>
          </p:cNvPr>
          <p:cNvSpPr>
            <a:spLocks noChangeShapeType="1"/>
          </p:cNvSpPr>
          <p:nvPr/>
        </p:nvSpPr>
        <p:spPr bwMode="auto">
          <a:xfrm flipV="1">
            <a:off x="70648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99">
            <a:extLst>
              <a:ext uri="{FF2B5EF4-FFF2-40B4-BE49-F238E27FC236}">
                <a16:creationId xmlns:a16="http://schemas.microsoft.com/office/drawing/2014/main" id="{7487AAEB-7837-4B52-9CE0-8083121312BD}"/>
              </a:ext>
            </a:extLst>
          </p:cNvPr>
          <p:cNvSpPr>
            <a:spLocks/>
          </p:cNvSpPr>
          <p:nvPr/>
        </p:nvSpPr>
        <p:spPr bwMode="auto">
          <a:xfrm>
            <a:off x="70507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00">
            <a:extLst>
              <a:ext uri="{FF2B5EF4-FFF2-40B4-BE49-F238E27FC236}">
                <a16:creationId xmlns:a16="http://schemas.microsoft.com/office/drawing/2014/main" id="{FC8D16BC-9028-419E-ADD0-D6BDA609493B}"/>
              </a:ext>
            </a:extLst>
          </p:cNvPr>
          <p:cNvSpPr>
            <a:spLocks/>
          </p:cNvSpPr>
          <p:nvPr/>
        </p:nvSpPr>
        <p:spPr bwMode="auto">
          <a:xfrm>
            <a:off x="60991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101">
            <a:extLst>
              <a:ext uri="{FF2B5EF4-FFF2-40B4-BE49-F238E27FC236}">
                <a16:creationId xmlns:a16="http://schemas.microsoft.com/office/drawing/2014/main" id="{1E16C0F1-3527-4758-AFF0-2CE07B8F3EB0}"/>
              </a:ext>
            </a:extLst>
          </p:cNvPr>
          <p:cNvSpPr>
            <a:spLocks/>
          </p:cNvSpPr>
          <p:nvPr/>
        </p:nvSpPr>
        <p:spPr bwMode="auto">
          <a:xfrm>
            <a:off x="61062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02">
            <a:extLst>
              <a:ext uri="{FF2B5EF4-FFF2-40B4-BE49-F238E27FC236}">
                <a16:creationId xmlns:a16="http://schemas.microsoft.com/office/drawing/2014/main" id="{DD7863FA-C8B6-4C18-AE68-5ACB97B83FB1}"/>
              </a:ext>
            </a:extLst>
          </p:cNvPr>
          <p:cNvSpPr>
            <a:spLocks/>
          </p:cNvSpPr>
          <p:nvPr/>
        </p:nvSpPr>
        <p:spPr bwMode="auto">
          <a:xfrm>
            <a:off x="64281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Line 103">
            <a:extLst>
              <a:ext uri="{FF2B5EF4-FFF2-40B4-BE49-F238E27FC236}">
                <a16:creationId xmlns:a16="http://schemas.microsoft.com/office/drawing/2014/main" id="{1B0595F1-A4F9-42ED-85DE-D5821C1592D5}"/>
              </a:ext>
            </a:extLst>
          </p:cNvPr>
          <p:cNvSpPr>
            <a:spLocks noChangeShapeType="1"/>
          </p:cNvSpPr>
          <p:nvPr/>
        </p:nvSpPr>
        <p:spPr bwMode="auto">
          <a:xfrm>
            <a:off x="64281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04">
            <a:extLst>
              <a:ext uri="{FF2B5EF4-FFF2-40B4-BE49-F238E27FC236}">
                <a16:creationId xmlns:a16="http://schemas.microsoft.com/office/drawing/2014/main" id="{9EEDB4ED-DF97-4E01-B213-9CD1821562EC}"/>
              </a:ext>
            </a:extLst>
          </p:cNvPr>
          <p:cNvSpPr>
            <a:spLocks/>
          </p:cNvSpPr>
          <p:nvPr/>
        </p:nvSpPr>
        <p:spPr bwMode="auto">
          <a:xfrm>
            <a:off x="64139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05">
            <a:extLst>
              <a:ext uri="{FF2B5EF4-FFF2-40B4-BE49-F238E27FC236}">
                <a16:creationId xmlns:a16="http://schemas.microsoft.com/office/drawing/2014/main" id="{586DA189-846F-42A6-A018-398E5899D998}"/>
              </a:ext>
            </a:extLst>
          </p:cNvPr>
          <p:cNvSpPr>
            <a:spLocks noEditPoints="1"/>
          </p:cNvSpPr>
          <p:nvPr/>
        </p:nvSpPr>
        <p:spPr bwMode="auto">
          <a:xfrm>
            <a:off x="64139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06">
            <a:extLst>
              <a:ext uri="{FF2B5EF4-FFF2-40B4-BE49-F238E27FC236}">
                <a16:creationId xmlns:a16="http://schemas.microsoft.com/office/drawing/2014/main" id="{6515FE9B-3332-4F48-A522-8F847134E7FC}"/>
              </a:ext>
            </a:extLst>
          </p:cNvPr>
          <p:cNvSpPr>
            <a:spLocks/>
          </p:cNvSpPr>
          <p:nvPr/>
        </p:nvSpPr>
        <p:spPr bwMode="auto">
          <a:xfrm>
            <a:off x="64139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07">
            <a:extLst>
              <a:ext uri="{FF2B5EF4-FFF2-40B4-BE49-F238E27FC236}">
                <a16:creationId xmlns:a16="http://schemas.microsoft.com/office/drawing/2014/main" id="{63FCBFBE-2CDB-4C2D-99AF-EFFC485A2889}"/>
              </a:ext>
            </a:extLst>
          </p:cNvPr>
          <p:cNvSpPr>
            <a:spLocks/>
          </p:cNvSpPr>
          <p:nvPr/>
        </p:nvSpPr>
        <p:spPr bwMode="auto">
          <a:xfrm>
            <a:off x="65030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Line 108">
            <a:extLst>
              <a:ext uri="{FF2B5EF4-FFF2-40B4-BE49-F238E27FC236}">
                <a16:creationId xmlns:a16="http://schemas.microsoft.com/office/drawing/2014/main" id="{69F5BCD8-4FF9-4E51-8818-F7EF396BCB72}"/>
              </a:ext>
            </a:extLst>
          </p:cNvPr>
          <p:cNvSpPr>
            <a:spLocks noChangeShapeType="1"/>
          </p:cNvSpPr>
          <p:nvPr/>
        </p:nvSpPr>
        <p:spPr bwMode="auto">
          <a:xfrm>
            <a:off x="65030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09">
            <a:extLst>
              <a:ext uri="{FF2B5EF4-FFF2-40B4-BE49-F238E27FC236}">
                <a16:creationId xmlns:a16="http://schemas.microsoft.com/office/drawing/2014/main" id="{04AFCAE0-69DC-4A61-8067-90916FFD0562}"/>
              </a:ext>
            </a:extLst>
          </p:cNvPr>
          <p:cNvSpPr>
            <a:spLocks/>
          </p:cNvSpPr>
          <p:nvPr/>
        </p:nvSpPr>
        <p:spPr bwMode="auto">
          <a:xfrm>
            <a:off x="64889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10">
            <a:extLst>
              <a:ext uri="{FF2B5EF4-FFF2-40B4-BE49-F238E27FC236}">
                <a16:creationId xmlns:a16="http://schemas.microsoft.com/office/drawing/2014/main" id="{35AD3660-19D5-4249-BADC-17ED698EB1D6}"/>
              </a:ext>
            </a:extLst>
          </p:cNvPr>
          <p:cNvSpPr>
            <a:spLocks noEditPoints="1"/>
          </p:cNvSpPr>
          <p:nvPr/>
        </p:nvSpPr>
        <p:spPr bwMode="auto">
          <a:xfrm>
            <a:off x="64889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1">
            <a:extLst>
              <a:ext uri="{FF2B5EF4-FFF2-40B4-BE49-F238E27FC236}">
                <a16:creationId xmlns:a16="http://schemas.microsoft.com/office/drawing/2014/main" id="{A8B643AE-8051-497E-BD9E-30C40E4BBF3B}"/>
              </a:ext>
            </a:extLst>
          </p:cNvPr>
          <p:cNvSpPr>
            <a:spLocks/>
          </p:cNvSpPr>
          <p:nvPr/>
        </p:nvSpPr>
        <p:spPr bwMode="auto">
          <a:xfrm>
            <a:off x="64889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2">
            <a:extLst>
              <a:ext uri="{FF2B5EF4-FFF2-40B4-BE49-F238E27FC236}">
                <a16:creationId xmlns:a16="http://schemas.microsoft.com/office/drawing/2014/main" id="{3D3E0BFF-92C7-4A4E-AFE3-53844B797272}"/>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3">
            <a:extLst>
              <a:ext uri="{FF2B5EF4-FFF2-40B4-BE49-F238E27FC236}">
                <a16:creationId xmlns:a16="http://schemas.microsoft.com/office/drawing/2014/main" id="{7FCCCC2A-2C86-43A5-94C2-3895E395867F}"/>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4">
            <a:extLst>
              <a:ext uri="{FF2B5EF4-FFF2-40B4-BE49-F238E27FC236}">
                <a16:creationId xmlns:a16="http://schemas.microsoft.com/office/drawing/2014/main" id="{448F3735-00E5-4CB1-9217-0E935E3D0168}"/>
              </a:ext>
            </a:extLst>
          </p:cNvPr>
          <p:cNvSpPr>
            <a:spLocks/>
          </p:cNvSpPr>
          <p:nvPr/>
        </p:nvSpPr>
        <p:spPr bwMode="auto">
          <a:xfrm>
            <a:off x="65030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15">
            <a:extLst>
              <a:ext uri="{FF2B5EF4-FFF2-40B4-BE49-F238E27FC236}">
                <a16:creationId xmlns:a16="http://schemas.microsoft.com/office/drawing/2014/main" id="{07A1CF61-F93A-4DC1-A2CD-AFC222CDE5D6}"/>
              </a:ext>
            </a:extLst>
          </p:cNvPr>
          <p:cNvSpPr>
            <a:spLocks/>
          </p:cNvSpPr>
          <p:nvPr/>
        </p:nvSpPr>
        <p:spPr bwMode="auto">
          <a:xfrm>
            <a:off x="66711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Line 116">
            <a:extLst>
              <a:ext uri="{FF2B5EF4-FFF2-40B4-BE49-F238E27FC236}">
                <a16:creationId xmlns:a16="http://schemas.microsoft.com/office/drawing/2014/main" id="{4A7C9D3E-D60C-4BEE-A928-85B9F65608BB}"/>
              </a:ext>
            </a:extLst>
          </p:cNvPr>
          <p:cNvSpPr>
            <a:spLocks noChangeShapeType="1"/>
          </p:cNvSpPr>
          <p:nvPr/>
        </p:nvSpPr>
        <p:spPr bwMode="auto">
          <a:xfrm>
            <a:off x="66711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17">
            <a:extLst>
              <a:ext uri="{FF2B5EF4-FFF2-40B4-BE49-F238E27FC236}">
                <a16:creationId xmlns:a16="http://schemas.microsoft.com/office/drawing/2014/main" id="{37F67472-064E-4004-AAA6-03653B1E09E9}"/>
              </a:ext>
            </a:extLst>
          </p:cNvPr>
          <p:cNvSpPr>
            <a:spLocks/>
          </p:cNvSpPr>
          <p:nvPr/>
        </p:nvSpPr>
        <p:spPr bwMode="auto">
          <a:xfrm>
            <a:off x="66569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18">
            <a:extLst>
              <a:ext uri="{FF2B5EF4-FFF2-40B4-BE49-F238E27FC236}">
                <a16:creationId xmlns:a16="http://schemas.microsoft.com/office/drawing/2014/main" id="{BDD5CC62-305B-4339-B5DC-F1C10826D325}"/>
              </a:ext>
            </a:extLst>
          </p:cNvPr>
          <p:cNvSpPr>
            <a:spLocks/>
          </p:cNvSpPr>
          <p:nvPr/>
        </p:nvSpPr>
        <p:spPr bwMode="auto">
          <a:xfrm>
            <a:off x="66711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Line 119">
            <a:extLst>
              <a:ext uri="{FF2B5EF4-FFF2-40B4-BE49-F238E27FC236}">
                <a16:creationId xmlns:a16="http://schemas.microsoft.com/office/drawing/2014/main" id="{828ADA32-27AB-4A32-8FFB-4F87D03B5CDE}"/>
              </a:ext>
            </a:extLst>
          </p:cNvPr>
          <p:cNvSpPr>
            <a:spLocks noChangeShapeType="1"/>
          </p:cNvSpPr>
          <p:nvPr/>
        </p:nvSpPr>
        <p:spPr bwMode="auto">
          <a:xfrm>
            <a:off x="66711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20">
            <a:extLst>
              <a:ext uri="{FF2B5EF4-FFF2-40B4-BE49-F238E27FC236}">
                <a16:creationId xmlns:a16="http://schemas.microsoft.com/office/drawing/2014/main" id="{7CDFC42A-4652-4240-8D03-E1DF95444692}"/>
              </a:ext>
            </a:extLst>
          </p:cNvPr>
          <p:cNvSpPr>
            <a:spLocks/>
          </p:cNvSpPr>
          <p:nvPr/>
        </p:nvSpPr>
        <p:spPr bwMode="auto">
          <a:xfrm>
            <a:off x="66569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21">
            <a:extLst>
              <a:ext uri="{FF2B5EF4-FFF2-40B4-BE49-F238E27FC236}">
                <a16:creationId xmlns:a16="http://schemas.microsoft.com/office/drawing/2014/main" id="{29D40E5C-6BAF-4E5C-BD6E-8FBDBC3A17A6}"/>
              </a:ext>
            </a:extLst>
          </p:cNvPr>
          <p:cNvSpPr>
            <a:spLocks/>
          </p:cNvSpPr>
          <p:nvPr/>
        </p:nvSpPr>
        <p:spPr bwMode="auto">
          <a:xfrm>
            <a:off x="66711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Line 122">
            <a:extLst>
              <a:ext uri="{FF2B5EF4-FFF2-40B4-BE49-F238E27FC236}">
                <a16:creationId xmlns:a16="http://schemas.microsoft.com/office/drawing/2014/main" id="{F1C9D73E-8811-4F3D-B9DC-A1CE6060AE8E}"/>
              </a:ext>
            </a:extLst>
          </p:cNvPr>
          <p:cNvSpPr>
            <a:spLocks noChangeShapeType="1"/>
          </p:cNvSpPr>
          <p:nvPr/>
        </p:nvSpPr>
        <p:spPr bwMode="auto">
          <a:xfrm>
            <a:off x="66711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23">
            <a:extLst>
              <a:ext uri="{FF2B5EF4-FFF2-40B4-BE49-F238E27FC236}">
                <a16:creationId xmlns:a16="http://schemas.microsoft.com/office/drawing/2014/main" id="{EEE89B26-5049-47F9-912C-757E939AAF6D}"/>
              </a:ext>
            </a:extLst>
          </p:cNvPr>
          <p:cNvSpPr>
            <a:spLocks/>
          </p:cNvSpPr>
          <p:nvPr/>
        </p:nvSpPr>
        <p:spPr bwMode="auto">
          <a:xfrm>
            <a:off x="66569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24">
            <a:extLst>
              <a:ext uri="{FF2B5EF4-FFF2-40B4-BE49-F238E27FC236}">
                <a16:creationId xmlns:a16="http://schemas.microsoft.com/office/drawing/2014/main" id="{97CA06C6-092D-4F5D-93EF-FA3C6CF73244}"/>
              </a:ext>
            </a:extLst>
          </p:cNvPr>
          <p:cNvSpPr>
            <a:spLocks/>
          </p:cNvSpPr>
          <p:nvPr/>
        </p:nvSpPr>
        <p:spPr bwMode="auto">
          <a:xfrm>
            <a:off x="66711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Line 125">
            <a:extLst>
              <a:ext uri="{FF2B5EF4-FFF2-40B4-BE49-F238E27FC236}">
                <a16:creationId xmlns:a16="http://schemas.microsoft.com/office/drawing/2014/main" id="{6E624F09-6E3E-49D2-85A4-D3DDDA2AF6F6}"/>
              </a:ext>
            </a:extLst>
          </p:cNvPr>
          <p:cNvSpPr>
            <a:spLocks noChangeShapeType="1"/>
          </p:cNvSpPr>
          <p:nvPr/>
        </p:nvSpPr>
        <p:spPr bwMode="auto">
          <a:xfrm>
            <a:off x="66711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26">
            <a:extLst>
              <a:ext uri="{FF2B5EF4-FFF2-40B4-BE49-F238E27FC236}">
                <a16:creationId xmlns:a16="http://schemas.microsoft.com/office/drawing/2014/main" id="{6702ED48-B0AC-4AF5-906C-B7DA5175EAF0}"/>
              </a:ext>
            </a:extLst>
          </p:cNvPr>
          <p:cNvSpPr>
            <a:spLocks/>
          </p:cNvSpPr>
          <p:nvPr/>
        </p:nvSpPr>
        <p:spPr bwMode="auto">
          <a:xfrm>
            <a:off x="66569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27">
            <a:extLst>
              <a:ext uri="{FF2B5EF4-FFF2-40B4-BE49-F238E27FC236}">
                <a16:creationId xmlns:a16="http://schemas.microsoft.com/office/drawing/2014/main" id="{5D547806-A907-4EE1-BD69-32DA35883278}"/>
              </a:ext>
            </a:extLst>
          </p:cNvPr>
          <p:cNvSpPr>
            <a:spLocks/>
          </p:cNvSpPr>
          <p:nvPr/>
        </p:nvSpPr>
        <p:spPr bwMode="auto">
          <a:xfrm>
            <a:off x="65941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Line 128">
            <a:extLst>
              <a:ext uri="{FF2B5EF4-FFF2-40B4-BE49-F238E27FC236}">
                <a16:creationId xmlns:a16="http://schemas.microsoft.com/office/drawing/2014/main" id="{375C41C1-26CC-436E-95BC-314151503643}"/>
              </a:ext>
            </a:extLst>
          </p:cNvPr>
          <p:cNvSpPr>
            <a:spLocks noChangeShapeType="1"/>
          </p:cNvSpPr>
          <p:nvPr/>
        </p:nvSpPr>
        <p:spPr bwMode="auto">
          <a:xfrm flipH="1">
            <a:off x="65941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29">
            <a:extLst>
              <a:ext uri="{FF2B5EF4-FFF2-40B4-BE49-F238E27FC236}">
                <a16:creationId xmlns:a16="http://schemas.microsoft.com/office/drawing/2014/main" id="{26DF7296-9273-4FD6-873B-C674E2039A18}"/>
              </a:ext>
            </a:extLst>
          </p:cNvPr>
          <p:cNvSpPr>
            <a:spLocks/>
          </p:cNvSpPr>
          <p:nvPr/>
        </p:nvSpPr>
        <p:spPr bwMode="auto">
          <a:xfrm>
            <a:off x="65800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0">
            <a:extLst>
              <a:ext uri="{FF2B5EF4-FFF2-40B4-BE49-F238E27FC236}">
                <a16:creationId xmlns:a16="http://schemas.microsoft.com/office/drawing/2014/main" id="{0BF50A63-9929-4B37-B626-7653F298DB61}"/>
              </a:ext>
            </a:extLst>
          </p:cNvPr>
          <p:cNvSpPr>
            <a:spLocks/>
          </p:cNvSpPr>
          <p:nvPr/>
        </p:nvSpPr>
        <p:spPr bwMode="auto">
          <a:xfrm>
            <a:off x="65941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Line 131">
            <a:extLst>
              <a:ext uri="{FF2B5EF4-FFF2-40B4-BE49-F238E27FC236}">
                <a16:creationId xmlns:a16="http://schemas.microsoft.com/office/drawing/2014/main" id="{31B2705E-526A-40A3-80FA-568DF6252626}"/>
              </a:ext>
            </a:extLst>
          </p:cNvPr>
          <p:cNvSpPr>
            <a:spLocks noChangeShapeType="1"/>
          </p:cNvSpPr>
          <p:nvPr/>
        </p:nvSpPr>
        <p:spPr bwMode="auto">
          <a:xfrm flipH="1">
            <a:off x="65941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2">
            <a:extLst>
              <a:ext uri="{FF2B5EF4-FFF2-40B4-BE49-F238E27FC236}">
                <a16:creationId xmlns:a16="http://schemas.microsoft.com/office/drawing/2014/main" id="{B2D2A2FE-93BC-4C77-B130-44A4FB744C68}"/>
              </a:ext>
            </a:extLst>
          </p:cNvPr>
          <p:cNvSpPr>
            <a:spLocks/>
          </p:cNvSpPr>
          <p:nvPr/>
        </p:nvSpPr>
        <p:spPr bwMode="auto">
          <a:xfrm>
            <a:off x="65800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3">
            <a:extLst>
              <a:ext uri="{FF2B5EF4-FFF2-40B4-BE49-F238E27FC236}">
                <a16:creationId xmlns:a16="http://schemas.microsoft.com/office/drawing/2014/main" id="{834DD598-1FEF-40C7-A97A-B8B32901FE14}"/>
              </a:ext>
            </a:extLst>
          </p:cNvPr>
          <p:cNvSpPr>
            <a:spLocks/>
          </p:cNvSpPr>
          <p:nvPr/>
        </p:nvSpPr>
        <p:spPr bwMode="auto">
          <a:xfrm>
            <a:off x="65941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Line 134">
            <a:extLst>
              <a:ext uri="{FF2B5EF4-FFF2-40B4-BE49-F238E27FC236}">
                <a16:creationId xmlns:a16="http://schemas.microsoft.com/office/drawing/2014/main" id="{46E0AFF3-2C56-4668-87B7-46B5501F0802}"/>
              </a:ext>
            </a:extLst>
          </p:cNvPr>
          <p:cNvSpPr>
            <a:spLocks noChangeShapeType="1"/>
          </p:cNvSpPr>
          <p:nvPr/>
        </p:nvSpPr>
        <p:spPr bwMode="auto">
          <a:xfrm flipH="1">
            <a:off x="65941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
            <a:extLst>
              <a:ext uri="{FF2B5EF4-FFF2-40B4-BE49-F238E27FC236}">
                <a16:creationId xmlns:a16="http://schemas.microsoft.com/office/drawing/2014/main" id="{AB997A49-2BD9-40FD-9896-B36DF4C9FD4B}"/>
              </a:ext>
            </a:extLst>
          </p:cNvPr>
          <p:cNvSpPr>
            <a:spLocks/>
          </p:cNvSpPr>
          <p:nvPr/>
        </p:nvSpPr>
        <p:spPr bwMode="auto">
          <a:xfrm>
            <a:off x="65800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6">
            <a:extLst>
              <a:ext uri="{FF2B5EF4-FFF2-40B4-BE49-F238E27FC236}">
                <a16:creationId xmlns:a16="http://schemas.microsoft.com/office/drawing/2014/main" id="{651B1C68-7979-409C-BA25-062E62C86AEB}"/>
              </a:ext>
            </a:extLst>
          </p:cNvPr>
          <p:cNvSpPr>
            <a:spLocks/>
          </p:cNvSpPr>
          <p:nvPr/>
        </p:nvSpPr>
        <p:spPr bwMode="auto">
          <a:xfrm>
            <a:off x="65941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Line 137">
            <a:extLst>
              <a:ext uri="{FF2B5EF4-FFF2-40B4-BE49-F238E27FC236}">
                <a16:creationId xmlns:a16="http://schemas.microsoft.com/office/drawing/2014/main" id="{047DA9AB-B696-44F4-A16F-4F589B423997}"/>
              </a:ext>
            </a:extLst>
          </p:cNvPr>
          <p:cNvSpPr>
            <a:spLocks noChangeShapeType="1"/>
          </p:cNvSpPr>
          <p:nvPr/>
        </p:nvSpPr>
        <p:spPr bwMode="auto">
          <a:xfrm flipH="1">
            <a:off x="65941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8">
            <a:extLst>
              <a:ext uri="{FF2B5EF4-FFF2-40B4-BE49-F238E27FC236}">
                <a16:creationId xmlns:a16="http://schemas.microsoft.com/office/drawing/2014/main" id="{7264C2EE-4438-47A6-A740-3E9614286A54}"/>
              </a:ext>
            </a:extLst>
          </p:cNvPr>
          <p:cNvSpPr>
            <a:spLocks/>
          </p:cNvSpPr>
          <p:nvPr/>
        </p:nvSpPr>
        <p:spPr bwMode="auto">
          <a:xfrm>
            <a:off x="65800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9">
            <a:extLst>
              <a:ext uri="{FF2B5EF4-FFF2-40B4-BE49-F238E27FC236}">
                <a16:creationId xmlns:a16="http://schemas.microsoft.com/office/drawing/2014/main" id="{3B9F0B90-C3D3-4595-AF4B-B1122D7D3A29}"/>
              </a:ext>
            </a:extLst>
          </p:cNvPr>
          <p:cNvSpPr>
            <a:spLocks/>
          </p:cNvSpPr>
          <p:nvPr/>
        </p:nvSpPr>
        <p:spPr bwMode="auto">
          <a:xfrm>
            <a:off x="70172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40">
            <a:extLst>
              <a:ext uri="{FF2B5EF4-FFF2-40B4-BE49-F238E27FC236}">
                <a16:creationId xmlns:a16="http://schemas.microsoft.com/office/drawing/2014/main" id="{DC52748C-2AAA-437E-A4AD-DC3154841E45}"/>
              </a:ext>
            </a:extLst>
          </p:cNvPr>
          <p:cNvSpPr>
            <a:spLocks/>
          </p:cNvSpPr>
          <p:nvPr/>
        </p:nvSpPr>
        <p:spPr bwMode="auto">
          <a:xfrm>
            <a:off x="70021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41">
            <a:extLst>
              <a:ext uri="{FF2B5EF4-FFF2-40B4-BE49-F238E27FC236}">
                <a16:creationId xmlns:a16="http://schemas.microsoft.com/office/drawing/2014/main" id="{CE9FE345-6C6E-4AAA-BB52-FD2314A39A75}"/>
              </a:ext>
            </a:extLst>
          </p:cNvPr>
          <p:cNvSpPr>
            <a:spLocks/>
          </p:cNvSpPr>
          <p:nvPr/>
        </p:nvSpPr>
        <p:spPr bwMode="auto">
          <a:xfrm>
            <a:off x="69302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42">
            <a:extLst>
              <a:ext uri="{FF2B5EF4-FFF2-40B4-BE49-F238E27FC236}">
                <a16:creationId xmlns:a16="http://schemas.microsoft.com/office/drawing/2014/main" id="{81CCEBA6-B1BA-4206-99D3-B2BFA916E4A7}"/>
              </a:ext>
            </a:extLst>
          </p:cNvPr>
          <p:cNvSpPr>
            <a:spLocks/>
          </p:cNvSpPr>
          <p:nvPr/>
        </p:nvSpPr>
        <p:spPr bwMode="auto">
          <a:xfrm>
            <a:off x="69160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43">
            <a:extLst>
              <a:ext uri="{FF2B5EF4-FFF2-40B4-BE49-F238E27FC236}">
                <a16:creationId xmlns:a16="http://schemas.microsoft.com/office/drawing/2014/main" id="{287C104C-8301-47EA-9AF8-C02E0242238D}"/>
              </a:ext>
            </a:extLst>
          </p:cNvPr>
          <p:cNvSpPr>
            <a:spLocks/>
          </p:cNvSpPr>
          <p:nvPr/>
        </p:nvSpPr>
        <p:spPr bwMode="auto">
          <a:xfrm>
            <a:off x="71367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44">
            <a:extLst>
              <a:ext uri="{FF2B5EF4-FFF2-40B4-BE49-F238E27FC236}">
                <a16:creationId xmlns:a16="http://schemas.microsoft.com/office/drawing/2014/main" id="{55218925-7E6E-4829-8E4C-69599F98DE01}"/>
              </a:ext>
            </a:extLst>
          </p:cNvPr>
          <p:cNvSpPr>
            <a:spLocks/>
          </p:cNvSpPr>
          <p:nvPr/>
        </p:nvSpPr>
        <p:spPr bwMode="auto">
          <a:xfrm>
            <a:off x="71225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45">
            <a:extLst>
              <a:ext uri="{FF2B5EF4-FFF2-40B4-BE49-F238E27FC236}">
                <a16:creationId xmlns:a16="http://schemas.microsoft.com/office/drawing/2014/main" id="{06A0F581-E8F5-410E-A35C-7DB138F942BB}"/>
              </a:ext>
            </a:extLst>
          </p:cNvPr>
          <p:cNvSpPr>
            <a:spLocks/>
          </p:cNvSpPr>
          <p:nvPr/>
        </p:nvSpPr>
        <p:spPr bwMode="auto">
          <a:xfrm>
            <a:off x="43986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146">
            <a:extLst>
              <a:ext uri="{FF2B5EF4-FFF2-40B4-BE49-F238E27FC236}">
                <a16:creationId xmlns:a16="http://schemas.microsoft.com/office/drawing/2014/main" id="{2AB32569-38D6-4638-960A-F6E86A219DA7}"/>
              </a:ext>
            </a:extLst>
          </p:cNvPr>
          <p:cNvSpPr>
            <a:spLocks/>
          </p:cNvSpPr>
          <p:nvPr/>
        </p:nvSpPr>
        <p:spPr bwMode="auto">
          <a:xfrm>
            <a:off x="51820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3" name="Freeform 147">
            <a:extLst>
              <a:ext uri="{FF2B5EF4-FFF2-40B4-BE49-F238E27FC236}">
                <a16:creationId xmlns:a16="http://schemas.microsoft.com/office/drawing/2014/main" id="{F8E1D9F4-A27E-4F87-BA37-199D8C962531}"/>
              </a:ext>
            </a:extLst>
          </p:cNvPr>
          <p:cNvSpPr>
            <a:spLocks/>
          </p:cNvSpPr>
          <p:nvPr/>
        </p:nvSpPr>
        <p:spPr bwMode="auto">
          <a:xfrm>
            <a:off x="51770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Freeform 148">
            <a:extLst>
              <a:ext uri="{FF2B5EF4-FFF2-40B4-BE49-F238E27FC236}">
                <a16:creationId xmlns:a16="http://schemas.microsoft.com/office/drawing/2014/main" id="{FF89F0EE-85D5-48BA-8136-28906807045C}"/>
              </a:ext>
            </a:extLst>
          </p:cNvPr>
          <p:cNvSpPr>
            <a:spLocks/>
          </p:cNvSpPr>
          <p:nvPr/>
        </p:nvSpPr>
        <p:spPr bwMode="auto">
          <a:xfrm>
            <a:off x="43581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5" name="Freeform 149">
            <a:extLst>
              <a:ext uri="{FF2B5EF4-FFF2-40B4-BE49-F238E27FC236}">
                <a16:creationId xmlns:a16="http://schemas.microsoft.com/office/drawing/2014/main" id="{A8BDBF4D-45B4-4DED-A2DC-390B793B1B1B}"/>
              </a:ext>
            </a:extLst>
          </p:cNvPr>
          <p:cNvSpPr>
            <a:spLocks/>
          </p:cNvSpPr>
          <p:nvPr/>
        </p:nvSpPr>
        <p:spPr bwMode="auto">
          <a:xfrm>
            <a:off x="43561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6" name="Freeform 150">
            <a:extLst>
              <a:ext uri="{FF2B5EF4-FFF2-40B4-BE49-F238E27FC236}">
                <a16:creationId xmlns:a16="http://schemas.microsoft.com/office/drawing/2014/main" id="{B1DA25E7-67FA-475F-82AE-E9CE7EFEE88D}"/>
              </a:ext>
            </a:extLst>
          </p:cNvPr>
          <p:cNvSpPr>
            <a:spLocks noEditPoints="1"/>
          </p:cNvSpPr>
          <p:nvPr/>
        </p:nvSpPr>
        <p:spPr bwMode="auto">
          <a:xfrm>
            <a:off x="82441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7" name="Freeform 151">
            <a:extLst>
              <a:ext uri="{FF2B5EF4-FFF2-40B4-BE49-F238E27FC236}">
                <a16:creationId xmlns:a16="http://schemas.microsoft.com/office/drawing/2014/main" id="{4A7E2240-B13D-46AB-9FB6-54D8011957B9}"/>
              </a:ext>
            </a:extLst>
          </p:cNvPr>
          <p:cNvSpPr>
            <a:spLocks/>
          </p:cNvSpPr>
          <p:nvPr/>
        </p:nvSpPr>
        <p:spPr bwMode="auto">
          <a:xfrm>
            <a:off x="90245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8" name="Freeform 152">
            <a:extLst>
              <a:ext uri="{FF2B5EF4-FFF2-40B4-BE49-F238E27FC236}">
                <a16:creationId xmlns:a16="http://schemas.microsoft.com/office/drawing/2014/main" id="{FF5150B8-DDD3-44BE-A810-9CF78EA2FA87}"/>
              </a:ext>
            </a:extLst>
          </p:cNvPr>
          <p:cNvSpPr>
            <a:spLocks/>
          </p:cNvSpPr>
          <p:nvPr/>
        </p:nvSpPr>
        <p:spPr bwMode="auto">
          <a:xfrm>
            <a:off x="90245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9" name="Freeform 153">
            <a:extLst>
              <a:ext uri="{FF2B5EF4-FFF2-40B4-BE49-F238E27FC236}">
                <a16:creationId xmlns:a16="http://schemas.microsoft.com/office/drawing/2014/main" id="{DCF3B31B-FF53-45E6-A4A6-7376A88288C0}"/>
              </a:ext>
            </a:extLst>
          </p:cNvPr>
          <p:cNvSpPr>
            <a:spLocks/>
          </p:cNvSpPr>
          <p:nvPr/>
        </p:nvSpPr>
        <p:spPr bwMode="auto">
          <a:xfrm>
            <a:off x="81287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0" name="Freeform 154">
            <a:extLst>
              <a:ext uri="{FF2B5EF4-FFF2-40B4-BE49-F238E27FC236}">
                <a16:creationId xmlns:a16="http://schemas.microsoft.com/office/drawing/2014/main" id="{0491595C-B726-4BB5-AF81-FE1DF764C74E}"/>
              </a:ext>
            </a:extLst>
          </p:cNvPr>
          <p:cNvSpPr>
            <a:spLocks/>
          </p:cNvSpPr>
          <p:nvPr/>
        </p:nvSpPr>
        <p:spPr bwMode="auto">
          <a:xfrm>
            <a:off x="81287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1" name="Freeform 155">
            <a:extLst>
              <a:ext uri="{FF2B5EF4-FFF2-40B4-BE49-F238E27FC236}">
                <a16:creationId xmlns:a16="http://schemas.microsoft.com/office/drawing/2014/main" id="{DD5CCCC6-96FE-46F6-9CAB-F180A4D8511F}"/>
              </a:ext>
            </a:extLst>
          </p:cNvPr>
          <p:cNvSpPr>
            <a:spLocks/>
          </p:cNvSpPr>
          <p:nvPr/>
        </p:nvSpPr>
        <p:spPr bwMode="auto">
          <a:xfrm>
            <a:off x="96876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2" name="Freeform 156">
            <a:extLst>
              <a:ext uri="{FF2B5EF4-FFF2-40B4-BE49-F238E27FC236}">
                <a16:creationId xmlns:a16="http://schemas.microsoft.com/office/drawing/2014/main" id="{3806B36E-DB18-412F-A0E3-12C29BE4C7AB}"/>
              </a:ext>
            </a:extLst>
          </p:cNvPr>
          <p:cNvSpPr>
            <a:spLocks/>
          </p:cNvSpPr>
          <p:nvPr/>
        </p:nvSpPr>
        <p:spPr bwMode="auto">
          <a:xfrm>
            <a:off x="96825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3" name="Freeform 157">
            <a:extLst>
              <a:ext uri="{FF2B5EF4-FFF2-40B4-BE49-F238E27FC236}">
                <a16:creationId xmlns:a16="http://schemas.microsoft.com/office/drawing/2014/main" id="{B0309D2D-E345-437E-8577-CCF45C5C1163}"/>
              </a:ext>
            </a:extLst>
          </p:cNvPr>
          <p:cNvSpPr>
            <a:spLocks/>
          </p:cNvSpPr>
          <p:nvPr/>
        </p:nvSpPr>
        <p:spPr bwMode="auto">
          <a:xfrm>
            <a:off x="46658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4" name="Freeform 158">
            <a:extLst>
              <a:ext uri="{FF2B5EF4-FFF2-40B4-BE49-F238E27FC236}">
                <a16:creationId xmlns:a16="http://schemas.microsoft.com/office/drawing/2014/main" id="{72E9F13A-5785-4C08-81FA-61CEF1B1A465}"/>
              </a:ext>
            </a:extLst>
          </p:cNvPr>
          <p:cNvSpPr>
            <a:spLocks/>
          </p:cNvSpPr>
          <p:nvPr/>
        </p:nvSpPr>
        <p:spPr bwMode="auto">
          <a:xfrm>
            <a:off x="46658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5" name="Rectangle 159">
            <a:extLst>
              <a:ext uri="{FF2B5EF4-FFF2-40B4-BE49-F238E27FC236}">
                <a16:creationId xmlns:a16="http://schemas.microsoft.com/office/drawing/2014/main" id="{BDA8E986-2472-49CE-9573-16A40078069E}"/>
              </a:ext>
            </a:extLst>
          </p:cNvPr>
          <p:cNvSpPr>
            <a:spLocks noChangeArrowheads="1"/>
          </p:cNvSpPr>
          <p:nvPr/>
        </p:nvSpPr>
        <p:spPr bwMode="auto">
          <a:xfrm>
            <a:off x="10096548" y="3257057"/>
            <a:ext cx="547625" cy="310860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160">
            <a:extLst>
              <a:ext uri="{FF2B5EF4-FFF2-40B4-BE49-F238E27FC236}">
                <a16:creationId xmlns:a16="http://schemas.microsoft.com/office/drawing/2014/main" id="{C9F6E9C3-3AEB-4647-9BD9-ADF2BE0C040E}"/>
              </a:ext>
            </a:extLst>
          </p:cNvPr>
          <p:cNvSpPr>
            <a:spLocks noEditPoints="1"/>
          </p:cNvSpPr>
          <p:nvPr/>
        </p:nvSpPr>
        <p:spPr bwMode="auto">
          <a:xfrm>
            <a:off x="100813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61">
            <a:extLst>
              <a:ext uri="{FF2B5EF4-FFF2-40B4-BE49-F238E27FC236}">
                <a16:creationId xmlns:a16="http://schemas.microsoft.com/office/drawing/2014/main" id="{C2495B20-5E70-481E-9296-AAF12722052F}"/>
              </a:ext>
            </a:extLst>
          </p:cNvPr>
          <p:cNvSpPr>
            <a:spLocks/>
          </p:cNvSpPr>
          <p:nvPr/>
        </p:nvSpPr>
        <p:spPr bwMode="auto">
          <a:xfrm>
            <a:off x="104326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62">
            <a:extLst>
              <a:ext uri="{FF2B5EF4-FFF2-40B4-BE49-F238E27FC236}">
                <a16:creationId xmlns:a16="http://schemas.microsoft.com/office/drawing/2014/main" id="{B1BD2614-DB13-4219-A820-CA1385331BDF}"/>
              </a:ext>
            </a:extLst>
          </p:cNvPr>
          <p:cNvSpPr>
            <a:spLocks/>
          </p:cNvSpPr>
          <p:nvPr/>
        </p:nvSpPr>
        <p:spPr bwMode="auto">
          <a:xfrm>
            <a:off x="101370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63">
            <a:extLst>
              <a:ext uri="{FF2B5EF4-FFF2-40B4-BE49-F238E27FC236}">
                <a16:creationId xmlns:a16="http://schemas.microsoft.com/office/drawing/2014/main" id="{25B9BAF9-460B-435E-B251-DC49CB6F2710}"/>
              </a:ext>
            </a:extLst>
          </p:cNvPr>
          <p:cNvSpPr>
            <a:spLocks/>
          </p:cNvSpPr>
          <p:nvPr/>
        </p:nvSpPr>
        <p:spPr bwMode="auto">
          <a:xfrm>
            <a:off x="102230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64">
            <a:extLst>
              <a:ext uri="{FF2B5EF4-FFF2-40B4-BE49-F238E27FC236}">
                <a16:creationId xmlns:a16="http://schemas.microsoft.com/office/drawing/2014/main" id="{C5536458-1D3A-4D74-8264-045764602B51}"/>
              </a:ext>
            </a:extLst>
          </p:cNvPr>
          <p:cNvSpPr>
            <a:spLocks/>
          </p:cNvSpPr>
          <p:nvPr/>
        </p:nvSpPr>
        <p:spPr bwMode="auto">
          <a:xfrm>
            <a:off x="101319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65">
            <a:extLst>
              <a:ext uri="{FF2B5EF4-FFF2-40B4-BE49-F238E27FC236}">
                <a16:creationId xmlns:a16="http://schemas.microsoft.com/office/drawing/2014/main" id="{A7F18A14-F8DF-4E9F-8F8D-31FE1F453309}"/>
              </a:ext>
            </a:extLst>
          </p:cNvPr>
          <p:cNvSpPr>
            <a:spLocks/>
          </p:cNvSpPr>
          <p:nvPr/>
        </p:nvSpPr>
        <p:spPr bwMode="auto">
          <a:xfrm>
            <a:off x="101319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6">
            <a:extLst>
              <a:ext uri="{FF2B5EF4-FFF2-40B4-BE49-F238E27FC236}">
                <a16:creationId xmlns:a16="http://schemas.microsoft.com/office/drawing/2014/main" id="{D63206ED-7C15-417A-BA86-FE2E69C0E9DF}"/>
              </a:ext>
            </a:extLst>
          </p:cNvPr>
          <p:cNvSpPr>
            <a:spLocks/>
          </p:cNvSpPr>
          <p:nvPr/>
        </p:nvSpPr>
        <p:spPr bwMode="auto">
          <a:xfrm>
            <a:off x="101319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67">
            <a:extLst>
              <a:ext uri="{FF2B5EF4-FFF2-40B4-BE49-F238E27FC236}">
                <a16:creationId xmlns:a16="http://schemas.microsoft.com/office/drawing/2014/main" id="{8A6E66BD-0275-499A-8297-37CA0157085D}"/>
              </a:ext>
            </a:extLst>
          </p:cNvPr>
          <p:cNvSpPr>
            <a:spLocks/>
          </p:cNvSpPr>
          <p:nvPr/>
        </p:nvSpPr>
        <p:spPr bwMode="auto">
          <a:xfrm>
            <a:off x="101319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68">
            <a:extLst>
              <a:ext uri="{FF2B5EF4-FFF2-40B4-BE49-F238E27FC236}">
                <a16:creationId xmlns:a16="http://schemas.microsoft.com/office/drawing/2014/main" id="{62075B0E-7430-4D15-AB16-DE62B56E3486}"/>
              </a:ext>
            </a:extLst>
          </p:cNvPr>
          <p:cNvSpPr>
            <a:spLocks/>
          </p:cNvSpPr>
          <p:nvPr/>
        </p:nvSpPr>
        <p:spPr bwMode="auto">
          <a:xfrm>
            <a:off x="101319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69">
            <a:extLst>
              <a:ext uri="{FF2B5EF4-FFF2-40B4-BE49-F238E27FC236}">
                <a16:creationId xmlns:a16="http://schemas.microsoft.com/office/drawing/2014/main" id="{80023F5E-01C0-45FF-9E0F-64499FCFD996}"/>
              </a:ext>
            </a:extLst>
          </p:cNvPr>
          <p:cNvSpPr>
            <a:spLocks/>
          </p:cNvSpPr>
          <p:nvPr/>
        </p:nvSpPr>
        <p:spPr bwMode="auto">
          <a:xfrm>
            <a:off x="101319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0">
            <a:extLst>
              <a:ext uri="{FF2B5EF4-FFF2-40B4-BE49-F238E27FC236}">
                <a16:creationId xmlns:a16="http://schemas.microsoft.com/office/drawing/2014/main" id="{1B34D493-3B72-4B78-BEEC-7FFAE450F73B}"/>
              </a:ext>
            </a:extLst>
          </p:cNvPr>
          <p:cNvSpPr>
            <a:spLocks/>
          </p:cNvSpPr>
          <p:nvPr/>
        </p:nvSpPr>
        <p:spPr bwMode="auto">
          <a:xfrm>
            <a:off x="101319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1">
            <a:extLst>
              <a:ext uri="{FF2B5EF4-FFF2-40B4-BE49-F238E27FC236}">
                <a16:creationId xmlns:a16="http://schemas.microsoft.com/office/drawing/2014/main" id="{5F18B045-28F3-4F6C-A1E5-56030C81129A}"/>
              </a:ext>
            </a:extLst>
          </p:cNvPr>
          <p:cNvSpPr>
            <a:spLocks/>
          </p:cNvSpPr>
          <p:nvPr/>
        </p:nvSpPr>
        <p:spPr bwMode="auto">
          <a:xfrm>
            <a:off x="101319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2">
            <a:extLst>
              <a:ext uri="{FF2B5EF4-FFF2-40B4-BE49-F238E27FC236}">
                <a16:creationId xmlns:a16="http://schemas.microsoft.com/office/drawing/2014/main" id="{731BDFBE-6877-4D7C-A2AA-8DBD6F26C34C}"/>
              </a:ext>
            </a:extLst>
          </p:cNvPr>
          <p:cNvSpPr>
            <a:spLocks/>
          </p:cNvSpPr>
          <p:nvPr/>
        </p:nvSpPr>
        <p:spPr bwMode="auto">
          <a:xfrm>
            <a:off x="101319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3">
            <a:extLst>
              <a:ext uri="{FF2B5EF4-FFF2-40B4-BE49-F238E27FC236}">
                <a16:creationId xmlns:a16="http://schemas.microsoft.com/office/drawing/2014/main" id="{2D455E27-320F-4D79-9771-DEEA503E04B4}"/>
              </a:ext>
            </a:extLst>
          </p:cNvPr>
          <p:cNvSpPr>
            <a:spLocks/>
          </p:cNvSpPr>
          <p:nvPr/>
        </p:nvSpPr>
        <p:spPr bwMode="auto">
          <a:xfrm>
            <a:off x="101319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74">
            <a:extLst>
              <a:ext uri="{FF2B5EF4-FFF2-40B4-BE49-F238E27FC236}">
                <a16:creationId xmlns:a16="http://schemas.microsoft.com/office/drawing/2014/main" id="{E7663353-0B3F-44EB-9A17-017CCEBDD14D}"/>
              </a:ext>
            </a:extLst>
          </p:cNvPr>
          <p:cNvSpPr>
            <a:spLocks/>
          </p:cNvSpPr>
          <p:nvPr/>
        </p:nvSpPr>
        <p:spPr bwMode="auto">
          <a:xfrm>
            <a:off x="101319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75">
            <a:extLst>
              <a:ext uri="{FF2B5EF4-FFF2-40B4-BE49-F238E27FC236}">
                <a16:creationId xmlns:a16="http://schemas.microsoft.com/office/drawing/2014/main" id="{A3B8FC78-4B09-4226-8F9D-D14DC8AD4DB1}"/>
              </a:ext>
            </a:extLst>
          </p:cNvPr>
          <p:cNvSpPr>
            <a:spLocks/>
          </p:cNvSpPr>
          <p:nvPr/>
        </p:nvSpPr>
        <p:spPr bwMode="auto">
          <a:xfrm>
            <a:off x="101319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76">
            <a:extLst>
              <a:ext uri="{FF2B5EF4-FFF2-40B4-BE49-F238E27FC236}">
                <a16:creationId xmlns:a16="http://schemas.microsoft.com/office/drawing/2014/main" id="{C22F7B81-DEE1-427C-9E53-2A1CBC5EF7AA}"/>
              </a:ext>
            </a:extLst>
          </p:cNvPr>
          <p:cNvSpPr>
            <a:spLocks/>
          </p:cNvSpPr>
          <p:nvPr/>
        </p:nvSpPr>
        <p:spPr bwMode="auto">
          <a:xfrm>
            <a:off x="101319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77">
            <a:extLst>
              <a:ext uri="{FF2B5EF4-FFF2-40B4-BE49-F238E27FC236}">
                <a16:creationId xmlns:a16="http://schemas.microsoft.com/office/drawing/2014/main" id="{64E5EC38-3F63-4439-9B02-642DB1329758}"/>
              </a:ext>
            </a:extLst>
          </p:cNvPr>
          <p:cNvSpPr>
            <a:spLocks/>
          </p:cNvSpPr>
          <p:nvPr/>
        </p:nvSpPr>
        <p:spPr bwMode="auto">
          <a:xfrm>
            <a:off x="101319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78">
            <a:extLst>
              <a:ext uri="{FF2B5EF4-FFF2-40B4-BE49-F238E27FC236}">
                <a16:creationId xmlns:a16="http://schemas.microsoft.com/office/drawing/2014/main" id="{5A45B69E-9E04-4DC5-9A08-D953F665421F}"/>
              </a:ext>
            </a:extLst>
          </p:cNvPr>
          <p:cNvSpPr>
            <a:spLocks/>
          </p:cNvSpPr>
          <p:nvPr/>
        </p:nvSpPr>
        <p:spPr bwMode="auto">
          <a:xfrm>
            <a:off x="101319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79">
            <a:extLst>
              <a:ext uri="{FF2B5EF4-FFF2-40B4-BE49-F238E27FC236}">
                <a16:creationId xmlns:a16="http://schemas.microsoft.com/office/drawing/2014/main" id="{A5C1D901-C43A-4CDE-A4E2-421091A83135}"/>
              </a:ext>
            </a:extLst>
          </p:cNvPr>
          <p:cNvSpPr>
            <a:spLocks/>
          </p:cNvSpPr>
          <p:nvPr/>
        </p:nvSpPr>
        <p:spPr bwMode="auto">
          <a:xfrm>
            <a:off x="101319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80">
            <a:extLst>
              <a:ext uri="{FF2B5EF4-FFF2-40B4-BE49-F238E27FC236}">
                <a16:creationId xmlns:a16="http://schemas.microsoft.com/office/drawing/2014/main" id="{F38DAA20-0ECE-465B-8C34-B9C1ECDEFB77}"/>
              </a:ext>
            </a:extLst>
          </p:cNvPr>
          <p:cNvSpPr>
            <a:spLocks/>
          </p:cNvSpPr>
          <p:nvPr/>
        </p:nvSpPr>
        <p:spPr bwMode="auto">
          <a:xfrm>
            <a:off x="101319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81">
            <a:extLst>
              <a:ext uri="{FF2B5EF4-FFF2-40B4-BE49-F238E27FC236}">
                <a16:creationId xmlns:a16="http://schemas.microsoft.com/office/drawing/2014/main" id="{7DD18037-CA56-49E9-B2E4-AD98C6C7E825}"/>
              </a:ext>
            </a:extLst>
          </p:cNvPr>
          <p:cNvSpPr>
            <a:spLocks/>
          </p:cNvSpPr>
          <p:nvPr/>
        </p:nvSpPr>
        <p:spPr bwMode="auto">
          <a:xfrm>
            <a:off x="101319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82">
            <a:extLst>
              <a:ext uri="{FF2B5EF4-FFF2-40B4-BE49-F238E27FC236}">
                <a16:creationId xmlns:a16="http://schemas.microsoft.com/office/drawing/2014/main" id="{321941B1-0EE9-4B52-AE96-1DFBEE78729D}"/>
              </a:ext>
            </a:extLst>
          </p:cNvPr>
          <p:cNvSpPr>
            <a:spLocks/>
          </p:cNvSpPr>
          <p:nvPr/>
        </p:nvSpPr>
        <p:spPr bwMode="auto">
          <a:xfrm>
            <a:off x="101319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83">
            <a:extLst>
              <a:ext uri="{FF2B5EF4-FFF2-40B4-BE49-F238E27FC236}">
                <a16:creationId xmlns:a16="http://schemas.microsoft.com/office/drawing/2014/main" id="{03C40B68-16DB-4156-98E2-AB54530CF94F}"/>
              </a:ext>
            </a:extLst>
          </p:cNvPr>
          <p:cNvSpPr>
            <a:spLocks/>
          </p:cNvSpPr>
          <p:nvPr/>
        </p:nvSpPr>
        <p:spPr bwMode="auto">
          <a:xfrm>
            <a:off x="101319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84">
            <a:extLst>
              <a:ext uri="{FF2B5EF4-FFF2-40B4-BE49-F238E27FC236}">
                <a16:creationId xmlns:a16="http://schemas.microsoft.com/office/drawing/2014/main" id="{34A57DCA-58F9-432F-AF77-2246185FFA55}"/>
              </a:ext>
            </a:extLst>
          </p:cNvPr>
          <p:cNvSpPr>
            <a:spLocks/>
          </p:cNvSpPr>
          <p:nvPr/>
        </p:nvSpPr>
        <p:spPr bwMode="auto">
          <a:xfrm>
            <a:off x="101319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85">
            <a:extLst>
              <a:ext uri="{FF2B5EF4-FFF2-40B4-BE49-F238E27FC236}">
                <a16:creationId xmlns:a16="http://schemas.microsoft.com/office/drawing/2014/main" id="{C6524A8C-F9A4-4C24-ACD2-AC8667B3D434}"/>
              </a:ext>
            </a:extLst>
          </p:cNvPr>
          <p:cNvSpPr>
            <a:spLocks/>
          </p:cNvSpPr>
          <p:nvPr/>
        </p:nvSpPr>
        <p:spPr bwMode="auto">
          <a:xfrm>
            <a:off x="101319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86">
            <a:extLst>
              <a:ext uri="{FF2B5EF4-FFF2-40B4-BE49-F238E27FC236}">
                <a16:creationId xmlns:a16="http://schemas.microsoft.com/office/drawing/2014/main" id="{1ECCD8C7-2EC8-40B0-BA24-ED0BA162C006}"/>
              </a:ext>
            </a:extLst>
          </p:cNvPr>
          <p:cNvSpPr>
            <a:spLocks/>
          </p:cNvSpPr>
          <p:nvPr/>
        </p:nvSpPr>
        <p:spPr bwMode="auto">
          <a:xfrm>
            <a:off x="101319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87">
            <a:extLst>
              <a:ext uri="{FF2B5EF4-FFF2-40B4-BE49-F238E27FC236}">
                <a16:creationId xmlns:a16="http://schemas.microsoft.com/office/drawing/2014/main" id="{B220EED8-C422-403C-B243-5C583492B304}"/>
              </a:ext>
            </a:extLst>
          </p:cNvPr>
          <p:cNvSpPr>
            <a:spLocks/>
          </p:cNvSpPr>
          <p:nvPr/>
        </p:nvSpPr>
        <p:spPr bwMode="auto">
          <a:xfrm>
            <a:off x="101319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88">
            <a:extLst>
              <a:ext uri="{FF2B5EF4-FFF2-40B4-BE49-F238E27FC236}">
                <a16:creationId xmlns:a16="http://schemas.microsoft.com/office/drawing/2014/main" id="{2BC3E79E-8A8A-4A33-A95F-D8B5AE35EE44}"/>
              </a:ext>
            </a:extLst>
          </p:cNvPr>
          <p:cNvSpPr>
            <a:spLocks/>
          </p:cNvSpPr>
          <p:nvPr/>
        </p:nvSpPr>
        <p:spPr bwMode="auto">
          <a:xfrm>
            <a:off x="101319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89">
            <a:extLst>
              <a:ext uri="{FF2B5EF4-FFF2-40B4-BE49-F238E27FC236}">
                <a16:creationId xmlns:a16="http://schemas.microsoft.com/office/drawing/2014/main" id="{94323D70-0C2A-4D68-A255-B226877BDFC7}"/>
              </a:ext>
            </a:extLst>
          </p:cNvPr>
          <p:cNvSpPr>
            <a:spLocks/>
          </p:cNvSpPr>
          <p:nvPr/>
        </p:nvSpPr>
        <p:spPr bwMode="auto">
          <a:xfrm>
            <a:off x="101319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90">
            <a:extLst>
              <a:ext uri="{FF2B5EF4-FFF2-40B4-BE49-F238E27FC236}">
                <a16:creationId xmlns:a16="http://schemas.microsoft.com/office/drawing/2014/main" id="{BDD21956-A9DB-4FC4-8FBB-A51EC97A3D97}"/>
              </a:ext>
            </a:extLst>
          </p:cNvPr>
          <p:cNvSpPr>
            <a:spLocks/>
          </p:cNvSpPr>
          <p:nvPr/>
        </p:nvSpPr>
        <p:spPr bwMode="auto">
          <a:xfrm>
            <a:off x="101319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91">
            <a:extLst>
              <a:ext uri="{FF2B5EF4-FFF2-40B4-BE49-F238E27FC236}">
                <a16:creationId xmlns:a16="http://schemas.microsoft.com/office/drawing/2014/main" id="{4306532F-672D-4147-9140-E8C635F5BAA4}"/>
              </a:ext>
            </a:extLst>
          </p:cNvPr>
          <p:cNvSpPr>
            <a:spLocks/>
          </p:cNvSpPr>
          <p:nvPr/>
        </p:nvSpPr>
        <p:spPr bwMode="auto">
          <a:xfrm>
            <a:off x="101319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92">
            <a:extLst>
              <a:ext uri="{FF2B5EF4-FFF2-40B4-BE49-F238E27FC236}">
                <a16:creationId xmlns:a16="http://schemas.microsoft.com/office/drawing/2014/main" id="{0868698F-0B92-4A06-8E6B-7BB321546DFD}"/>
              </a:ext>
            </a:extLst>
          </p:cNvPr>
          <p:cNvSpPr>
            <a:spLocks/>
          </p:cNvSpPr>
          <p:nvPr/>
        </p:nvSpPr>
        <p:spPr bwMode="auto">
          <a:xfrm>
            <a:off x="101319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93">
            <a:extLst>
              <a:ext uri="{FF2B5EF4-FFF2-40B4-BE49-F238E27FC236}">
                <a16:creationId xmlns:a16="http://schemas.microsoft.com/office/drawing/2014/main" id="{FA0E9C24-15DB-4AAA-8BF8-13B28EE49FC3}"/>
              </a:ext>
            </a:extLst>
          </p:cNvPr>
          <p:cNvSpPr>
            <a:spLocks/>
          </p:cNvSpPr>
          <p:nvPr/>
        </p:nvSpPr>
        <p:spPr bwMode="auto">
          <a:xfrm>
            <a:off x="101319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94">
            <a:extLst>
              <a:ext uri="{FF2B5EF4-FFF2-40B4-BE49-F238E27FC236}">
                <a16:creationId xmlns:a16="http://schemas.microsoft.com/office/drawing/2014/main" id="{D9DC25AE-66F7-41FA-BF31-FEC5DB6C3D7D}"/>
              </a:ext>
            </a:extLst>
          </p:cNvPr>
          <p:cNvSpPr>
            <a:spLocks/>
          </p:cNvSpPr>
          <p:nvPr/>
        </p:nvSpPr>
        <p:spPr bwMode="auto">
          <a:xfrm>
            <a:off x="101319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95">
            <a:extLst>
              <a:ext uri="{FF2B5EF4-FFF2-40B4-BE49-F238E27FC236}">
                <a16:creationId xmlns:a16="http://schemas.microsoft.com/office/drawing/2014/main" id="{8591D7C3-3EB6-475C-83A5-FEE5EB284E17}"/>
              </a:ext>
            </a:extLst>
          </p:cNvPr>
          <p:cNvSpPr>
            <a:spLocks/>
          </p:cNvSpPr>
          <p:nvPr/>
        </p:nvSpPr>
        <p:spPr bwMode="auto">
          <a:xfrm>
            <a:off x="101319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96">
            <a:extLst>
              <a:ext uri="{FF2B5EF4-FFF2-40B4-BE49-F238E27FC236}">
                <a16:creationId xmlns:a16="http://schemas.microsoft.com/office/drawing/2014/main" id="{A385855F-1720-403A-A207-F720E4AEA6AF}"/>
              </a:ext>
            </a:extLst>
          </p:cNvPr>
          <p:cNvSpPr>
            <a:spLocks/>
          </p:cNvSpPr>
          <p:nvPr/>
        </p:nvSpPr>
        <p:spPr bwMode="auto">
          <a:xfrm>
            <a:off x="101319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97">
            <a:extLst>
              <a:ext uri="{FF2B5EF4-FFF2-40B4-BE49-F238E27FC236}">
                <a16:creationId xmlns:a16="http://schemas.microsoft.com/office/drawing/2014/main" id="{B67F6BA6-853F-444D-BE03-DB76F3C54646}"/>
              </a:ext>
            </a:extLst>
          </p:cNvPr>
          <p:cNvSpPr>
            <a:spLocks/>
          </p:cNvSpPr>
          <p:nvPr/>
        </p:nvSpPr>
        <p:spPr bwMode="auto">
          <a:xfrm>
            <a:off x="101319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98">
            <a:extLst>
              <a:ext uri="{FF2B5EF4-FFF2-40B4-BE49-F238E27FC236}">
                <a16:creationId xmlns:a16="http://schemas.microsoft.com/office/drawing/2014/main" id="{1DCD5229-E23F-427C-9C68-14ACEA184B04}"/>
              </a:ext>
            </a:extLst>
          </p:cNvPr>
          <p:cNvSpPr>
            <a:spLocks/>
          </p:cNvSpPr>
          <p:nvPr/>
        </p:nvSpPr>
        <p:spPr bwMode="auto">
          <a:xfrm>
            <a:off x="101319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99">
            <a:extLst>
              <a:ext uri="{FF2B5EF4-FFF2-40B4-BE49-F238E27FC236}">
                <a16:creationId xmlns:a16="http://schemas.microsoft.com/office/drawing/2014/main" id="{6AA70B95-0091-41A9-9128-D406726A82D6}"/>
              </a:ext>
            </a:extLst>
          </p:cNvPr>
          <p:cNvSpPr>
            <a:spLocks/>
          </p:cNvSpPr>
          <p:nvPr/>
        </p:nvSpPr>
        <p:spPr bwMode="auto">
          <a:xfrm>
            <a:off x="101319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00">
            <a:extLst>
              <a:ext uri="{FF2B5EF4-FFF2-40B4-BE49-F238E27FC236}">
                <a16:creationId xmlns:a16="http://schemas.microsoft.com/office/drawing/2014/main" id="{41B5CD4D-7430-4F11-B871-9BBA98ED6F59}"/>
              </a:ext>
            </a:extLst>
          </p:cNvPr>
          <p:cNvSpPr>
            <a:spLocks/>
          </p:cNvSpPr>
          <p:nvPr/>
        </p:nvSpPr>
        <p:spPr bwMode="auto">
          <a:xfrm>
            <a:off x="101319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201">
            <a:extLst>
              <a:ext uri="{FF2B5EF4-FFF2-40B4-BE49-F238E27FC236}">
                <a16:creationId xmlns:a16="http://schemas.microsoft.com/office/drawing/2014/main" id="{95FCEA3C-8885-4E76-A49A-056A6BF3FE1E}"/>
              </a:ext>
            </a:extLst>
          </p:cNvPr>
          <p:cNvSpPr>
            <a:spLocks/>
          </p:cNvSpPr>
          <p:nvPr/>
        </p:nvSpPr>
        <p:spPr bwMode="auto">
          <a:xfrm>
            <a:off x="101319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02">
            <a:extLst>
              <a:ext uri="{FF2B5EF4-FFF2-40B4-BE49-F238E27FC236}">
                <a16:creationId xmlns:a16="http://schemas.microsoft.com/office/drawing/2014/main" id="{06793E35-22ED-4330-BC35-95078FEF6842}"/>
              </a:ext>
            </a:extLst>
          </p:cNvPr>
          <p:cNvSpPr>
            <a:spLocks/>
          </p:cNvSpPr>
          <p:nvPr/>
        </p:nvSpPr>
        <p:spPr bwMode="auto">
          <a:xfrm>
            <a:off x="94213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03">
            <a:extLst>
              <a:ext uri="{FF2B5EF4-FFF2-40B4-BE49-F238E27FC236}">
                <a16:creationId xmlns:a16="http://schemas.microsoft.com/office/drawing/2014/main" id="{2A59743D-BD03-4EE9-AA60-A5968F0E4910}"/>
              </a:ext>
            </a:extLst>
          </p:cNvPr>
          <p:cNvSpPr>
            <a:spLocks/>
          </p:cNvSpPr>
          <p:nvPr/>
        </p:nvSpPr>
        <p:spPr bwMode="auto">
          <a:xfrm>
            <a:off x="94072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204">
            <a:extLst>
              <a:ext uri="{FF2B5EF4-FFF2-40B4-BE49-F238E27FC236}">
                <a16:creationId xmlns:a16="http://schemas.microsoft.com/office/drawing/2014/main" id="{F4258471-FBB0-4FF8-91E9-0A661950EF27}"/>
              </a:ext>
            </a:extLst>
          </p:cNvPr>
          <p:cNvSpPr>
            <a:spLocks noChangeArrowheads="1"/>
          </p:cNvSpPr>
          <p:nvPr/>
        </p:nvSpPr>
        <p:spPr bwMode="auto">
          <a:xfrm>
            <a:off x="80184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06">
            <a:extLst>
              <a:ext uri="{FF2B5EF4-FFF2-40B4-BE49-F238E27FC236}">
                <a16:creationId xmlns:a16="http://schemas.microsoft.com/office/drawing/2014/main" id="{2DED153D-0F74-4D09-8ECE-FC273F475DBE}"/>
              </a:ext>
            </a:extLst>
          </p:cNvPr>
          <p:cNvSpPr>
            <a:spLocks/>
          </p:cNvSpPr>
          <p:nvPr/>
        </p:nvSpPr>
        <p:spPr bwMode="auto">
          <a:xfrm>
            <a:off x="80042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207">
            <a:extLst>
              <a:ext uri="{FF2B5EF4-FFF2-40B4-BE49-F238E27FC236}">
                <a16:creationId xmlns:a16="http://schemas.microsoft.com/office/drawing/2014/main" id="{B425B385-65A0-4485-973A-E25A707B9350}"/>
              </a:ext>
            </a:extLst>
          </p:cNvPr>
          <p:cNvSpPr>
            <a:spLocks/>
          </p:cNvSpPr>
          <p:nvPr/>
        </p:nvSpPr>
        <p:spPr bwMode="auto">
          <a:xfrm>
            <a:off x="81459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208">
            <a:extLst>
              <a:ext uri="{FF2B5EF4-FFF2-40B4-BE49-F238E27FC236}">
                <a16:creationId xmlns:a16="http://schemas.microsoft.com/office/drawing/2014/main" id="{78B21273-C41C-49C0-BE59-20FE77E6F6A1}"/>
              </a:ext>
            </a:extLst>
          </p:cNvPr>
          <p:cNvSpPr>
            <a:spLocks/>
          </p:cNvSpPr>
          <p:nvPr/>
        </p:nvSpPr>
        <p:spPr bwMode="auto">
          <a:xfrm>
            <a:off x="81317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Rectangle 209">
            <a:extLst>
              <a:ext uri="{FF2B5EF4-FFF2-40B4-BE49-F238E27FC236}">
                <a16:creationId xmlns:a16="http://schemas.microsoft.com/office/drawing/2014/main" id="{1388C442-1F9A-46A4-8534-27729AFA00D5}"/>
              </a:ext>
            </a:extLst>
          </p:cNvPr>
          <p:cNvSpPr>
            <a:spLocks noChangeArrowheads="1"/>
          </p:cNvSpPr>
          <p:nvPr/>
        </p:nvSpPr>
        <p:spPr bwMode="auto">
          <a:xfrm>
            <a:off x="81510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210">
            <a:extLst>
              <a:ext uri="{FF2B5EF4-FFF2-40B4-BE49-F238E27FC236}">
                <a16:creationId xmlns:a16="http://schemas.microsoft.com/office/drawing/2014/main" id="{E8EF9FB4-5231-43AB-A68A-6164022AA9D0}"/>
              </a:ext>
            </a:extLst>
          </p:cNvPr>
          <p:cNvSpPr>
            <a:spLocks/>
          </p:cNvSpPr>
          <p:nvPr/>
        </p:nvSpPr>
        <p:spPr bwMode="auto">
          <a:xfrm>
            <a:off x="81358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Rectangle 211">
            <a:extLst>
              <a:ext uri="{FF2B5EF4-FFF2-40B4-BE49-F238E27FC236}">
                <a16:creationId xmlns:a16="http://schemas.microsoft.com/office/drawing/2014/main" id="{6095D2ED-2142-40C2-B316-4D0515F3F25D}"/>
              </a:ext>
            </a:extLst>
          </p:cNvPr>
          <p:cNvSpPr>
            <a:spLocks noChangeArrowheads="1"/>
          </p:cNvSpPr>
          <p:nvPr/>
        </p:nvSpPr>
        <p:spPr bwMode="auto">
          <a:xfrm>
            <a:off x="81054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212">
            <a:extLst>
              <a:ext uri="{FF2B5EF4-FFF2-40B4-BE49-F238E27FC236}">
                <a16:creationId xmlns:a16="http://schemas.microsoft.com/office/drawing/2014/main" id="{4F0ECDE6-6198-4B61-9E79-92D9D1ECA6B1}"/>
              </a:ext>
            </a:extLst>
          </p:cNvPr>
          <p:cNvSpPr>
            <a:spLocks/>
          </p:cNvSpPr>
          <p:nvPr/>
        </p:nvSpPr>
        <p:spPr bwMode="auto">
          <a:xfrm>
            <a:off x="80902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213">
            <a:extLst>
              <a:ext uri="{FF2B5EF4-FFF2-40B4-BE49-F238E27FC236}">
                <a16:creationId xmlns:a16="http://schemas.microsoft.com/office/drawing/2014/main" id="{C2D9C2F6-9465-4252-84FA-DCD9BCA9B808}"/>
              </a:ext>
            </a:extLst>
          </p:cNvPr>
          <p:cNvSpPr>
            <a:spLocks/>
          </p:cNvSpPr>
          <p:nvPr/>
        </p:nvSpPr>
        <p:spPr bwMode="auto">
          <a:xfrm>
            <a:off x="87057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214">
            <a:extLst>
              <a:ext uri="{FF2B5EF4-FFF2-40B4-BE49-F238E27FC236}">
                <a16:creationId xmlns:a16="http://schemas.microsoft.com/office/drawing/2014/main" id="{F057370E-DDD5-4173-A444-D381D29E2585}"/>
              </a:ext>
            </a:extLst>
          </p:cNvPr>
          <p:cNvSpPr>
            <a:spLocks/>
          </p:cNvSpPr>
          <p:nvPr/>
        </p:nvSpPr>
        <p:spPr bwMode="auto">
          <a:xfrm>
            <a:off x="86905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Rectangle 215">
            <a:extLst>
              <a:ext uri="{FF2B5EF4-FFF2-40B4-BE49-F238E27FC236}">
                <a16:creationId xmlns:a16="http://schemas.microsoft.com/office/drawing/2014/main" id="{5D832CC0-B6AA-4EE7-82B1-69626662330A}"/>
              </a:ext>
            </a:extLst>
          </p:cNvPr>
          <p:cNvSpPr>
            <a:spLocks noChangeArrowheads="1"/>
          </p:cNvSpPr>
          <p:nvPr/>
        </p:nvSpPr>
        <p:spPr bwMode="auto">
          <a:xfrm>
            <a:off x="87097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216">
            <a:extLst>
              <a:ext uri="{FF2B5EF4-FFF2-40B4-BE49-F238E27FC236}">
                <a16:creationId xmlns:a16="http://schemas.microsoft.com/office/drawing/2014/main" id="{E1DDE99E-3434-44C6-9144-573F99F7C5CD}"/>
              </a:ext>
            </a:extLst>
          </p:cNvPr>
          <p:cNvSpPr>
            <a:spLocks/>
          </p:cNvSpPr>
          <p:nvPr/>
        </p:nvSpPr>
        <p:spPr bwMode="auto">
          <a:xfrm>
            <a:off x="86955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Rectangle 217">
            <a:extLst>
              <a:ext uri="{FF2B5EF4-FFF2-40B4-BE49-F238E27FC236}">
                <a16:creationId xmlns:a16="http://schemas.microsoft.com/office/drawing/2014/main" id="{E4891E14-F65E-4FBA-AFE7-86B93B87AAFF}"/>
              </a:ext>
            </a:extLst>
          </p:cNvPr>
          <p:cNvSpPr>
            <a:spLocks noChangeArrowheads="1"/>
          </p:cNvSpPr>
          <p:nvPr/>
        </p:nvSpPr>
        <p:spPr bwMode="auto">
          <a:xfrm>
            <a:off x="86672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218">
            <a:extLst>
              <a:ext uri="{FF2B5EF4-FFF2-40B4-BE49-F238E27FC236}">
                <a16:creationId xmlns:a16="http://schemas.microsoft.com/office/drawing/2014/main" id="{1D85241E-F6FC-4FC2-A314-B690B933FDE4}"/>
              </a:ext>
            </a:extLst>
          </p:cNvPr>
          <p:cNvSpPr>
            <a:spLocks/>
          </p:cNvSpPr>
          <p:nvPr/>
        </p:nvSpPr>
        <p:spPr bwMode="auto">
          <a:xfrm>
            <a:off x="86530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219">
            <a:extLst>
              <a:ext uri="{FF2B5EF4-FFF2-40B4-BE49-F238E27FC236}">
                <a16:creationId xmlns:a16="http://schemas.microsoft.com/office/drawing/2014/main" id="{97C82561-895F-42AB-9DE6-8A71ABB1CC12}"/>
              </a:ext>
            </a:extLst>
          </p:cNvPr>
          <p:cNvSpPr>
            <a:spLocks/>
          </p:cNvSpPr>
          <p:nvPr/>
        </p:nvSpPr>
        <p:spPr bwMode="auto">
          <a:xfrm>
            <a:off x="92654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220">
            <a:extLst>
              <a:ext uri="{FF2B5EF4-FFF2-40B4-BE49-F238E27FC236}">
                <a16:creationId xmlns:a16="http://schemas.microsoft.com/office/drawing/2014/main" id="{85E62450-4C12-4408-B4F3-47239ED83A9A}"/>
              </a:ext>
            </a:extLst>
          </p:cNvPr>
          <p:cNvSpPr>
            <a:spLocks/>
          </p:cNvSpPr>
          <p:nvPr/>
        </p:nvSpPr>
        <p:spPr bwMode="auto">
          <a:xfrm>
            <a:off x="92503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Rectangle 221">
            <a:extLst>
              <a:ext uri="{FF2B5EF4-FFF2-40B4-BE49-F238E27FC236}">
                <a16:creationId xmlns:a16="http://schemas.microsoft.com/office/drawing/2014/main" id="{8B2145D3-F837-4387-AB37-D9BED491B285}"/>
              </a:ext>
            </a:extLst>
          </p:cNvPr>
          <p:cNvSpPr>
            <a:spLocks noChangeArrowheads="1"/>
          </p:cNvSpPr>
          <p:nvPr/>
        </p:nvSpPr>
        <p:spPr bwMode="auto">
          <a:xfrm>
            <a:off x="92695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222">
            <a:extLst>
              <a:ext uri="{FF2B5EF4-FFF2-40B4-BE49-F238E27FC236}">
                <a16:creationId xmlns:a16="http://schemas.microsoft.com/office/drawing/2014/main" id="{DC0808CB-1E27-49E6-885A-B33ADF2491CC}"/>
              </a:ext>
            </a:extLst>
          </p:cNvPr>
          <p:cNvSpPr>
            <a:spLocks/>
          </p:cNvSpPr>
          <p:nvPr/>
        </p:nvSpPr>
        <p:spPr bwMode="auto">
          <a:xfrm>
            <a:off x="92553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223">
            <a:extLst>
              <a:ext uri="{FF2B5EF4-FFF2-40B4-BE49-F238E27FC236}">
                <a16:creationId xmlns:a16="http://schemas.microsoft.com/office/drawing/2014/main" id="{EE989D81-BF2D-40C8-ACDA-2147AD2431D1}"/>
              </a:ext>
            </a:extLst>
          </p:cNvPr>
          <p:cNvSpPr>
            <a:spLocks noChangeArrowheads="1"/>
          </p:cNvSpPr>
          <p:nvPr/>
        </p:nvSpPr>
        <p:spPr bwMode="auto">
          <a:xfrm>
            <a:off x="92270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224">
            <a:extLst>
              <a:ext uri="{FF2B5EF4-FFF2-40B4-BE49-F238E27FC236}">
                <a16:creationId xmlns:a16="http://schemas.microsoft.com/office/drawing/2014/main" id="{1D449AE5-3C09-421B-863F-6362BC6C905D}"/>
              </a:ext>
            </a:extLst>
          </p:cNvPr>
          <p:cNvSpPr>
            <a:spLocks/>
          </p:cNvSpPr>
          <p:nvPr/>
        </p:nvSpPr>
        <p:spPr bwMode="auto">
          <a:xfrm>
            <a:off x="92118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225">
            <a:extLst>
              <a:ext uri="{FF2B5EF4-FFF2-40B4-BE49-F238E27FC236}">
                <a16:creationId xmlns:a16="http://schemas.microsoft.com/office/drawing/2014/main" id="{E3A9E50A-0149-4F68-AF4E-1226F179420D}"/>
              </a:ext>
            </a:extLst>
          </p:cNvPr>
          <p:cNvSpPr>
            <a:spLocks/>
          </p:cNvSpPr>
          <p:nvPr/>
        </p:nvSpPr>
        <p:spPr bwMode="auto">
          <a:xfrm>
            <a:off x="98272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226">
            <a:extLst>
              <a:ext uri="{FF2B5EF4-FFF2-40B4-BE49-F238E27FC236}">
                <a16:creationId xmlns:a16="http://schemas.microsoft.com/office/drawing/2014/main" id="{672C9AB5-7704-4651-9EFC-E6FAB0FE375D}"/>
              </a:ext>
            </a:extLst>
          </p:cNvPr>
          <p:cNvSpPr>
            <a:spLocks/>
          </p:cNvSpPr>
          <p:nvPr/>
        </p:nvSpPr>
        <p:spPr bwMode="auto">
          <a:xfrm>
            <a:off x="98100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227">
            <a:extLst>
              <a:ext uri="{FF2B5EF4-FFF2-40B4-BE49-F238E27FC236}">
                <a16:creationId xmlns:a16="http://schemas.microsoft.com/office/drawing/2014/main" id="{9C32DAD8-3310-4D64-A868-FFF9A238FAD1}"/>
              </a:ext>
            </a:extLst>
          </p:cNvPr>
          <p:cNvSpPr>
            <a:spLocks noChangeArrowheads="1"/>
          </p:cNvSpPr>
          <p:nvPr/>
        </p:nvSpPr>
        <p:spPr bwMode="auto">
          <a:xfrm>
            <a:off x="98293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228">
            <a:extLst>
              <a:ext uri="{FF2B5EF4-FFF2-40B4-BE49-F238E27FC236}">
                <a16:creationId xmlns:a16="http://schemas.microsoft.com/office/drawing/2014/main" id="{F6DEDBC9-8621-4CB8-8561-E88DC4EDA411}"/>
              </a:ext>
            </a:extLst>
          </p:cNvPr>
          <p:cNvSpPr>
            <a:spLocks/>
          </p:cNvSpPr>
          <p:nvPr/>
        </p:nvSpPr>
        <p:spPr bwMode="auto">
          <a:xfrm>
            <a:off x="98151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229">
            <a:extLst>
              <a:ext uri="{FF2B5EF4-FFF2-40B4-BE49-F238E27FC236}">
                <a16:creationId xmlns:a16="http://schemas.microsoft.com/office/drawing/2014/main" id="{44C7FAA2-FB18-4DD0-B714-6FE22EE70111}"/>
              </a:ext>
            </a:extLst>
          </p:cNvPr>
          <p:cNvSpPr>
            <a:spLocks noChangeArrowheads="1"/>
          </p:cNvSpPr>
          <p:nvPr/>
        </p:nvSpPr>
        <p:spPr bwMode="auto">
          <a:xfrm>
            <a:off x="97857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230">
            <a:extLst>
              <a:ext uri="{FF2B5EF4-FFF2-40B4-BE49-F238E27FC236}">
                <a16:creationId xmlns:a16="http://schemas.microsoft.com/office/drawing/2014/main" id="{A2448F67-4EBF-4954-B20E-DDBFF6D69D77}"/>
              </a:ext>
            </a:extLst>
          </p:cNvPr>
          <p:cNvSpPr>
            <a:spLocks/>
          </p:cNvSpPr>
          <p:nvPr/>
        </p:nvSpPr>
        <p:spPr bwMode="auto">
          <a:xfrm>
            <a:off x="97716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231">
            <a:extLst>
              <a:ext uri="{FF2B5EF4-FFF2-40B4-BE49-F238E27FC236}">
                <a16:creationId xmlns:a16="http://schemas.microsoft.com/office/drawing/2014/main" id="{DEFC591B-C7F3-4708-8E2F-AB164A290BF9}"/>
              </a:ext>
            </a:extLst>
          </p:cNvPr>
          <p:cNvSpPr>
            <a:spLocks noChangeArrowheads="1"/>
          </p:cNvSpPr>
          <p:nvPr/>
        </p:nvSpPr>
        <p:spPr bwMode="auto">
          <a:xfrm>
            <a:off x="8018407" y="6073124"/>
            <a:ext cx="2239088" cy="290515"/>
          </a:xfrm>
          <a:prstGeom prst="rect">
            <a:avLst/>
          </a:prstGeom>
          <a:solidFill>
            <a:schemeClr val="bg1">
              <a:lumMod val="50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232">
            <a:extLst>
              <a:ext uri="{FF2B5EF4-FFF2-40B4-BE49-F238E27FC236}">
                <a16:creationId xmlns:a16="http://schemas.microsoft.com/office/drawing/2014/main" id="{15AF2D49-2D6F-471D-AADD-28C6B0619F83}"/>
              </a:ext>
            </a:extLst>
          </p:cNvPr>
          <p:cNvSpPr>
            <a:spLocks/>
          </p:cNvSpPr>
          <p:nvPr/>
        </p:nvSpPr>
        <p:spPr bwMode="auto">
          <a:xfrm>
            <a:off x="80042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233">
            <a:extLst>
              <a:ext uri="{FF2B5EF4-FFF2-40B4-BE49-F238E27FC236}">
                <a16:creationId xmlns:a16="http://schemas.microsoft.com/office/drawing/2014/main" id="{73D78A62-0A69-46E7-AAA0-E7501A674B2A}"/>
              </a:ext>
            </a:extLst>
          </p:cNvPr>
          <p:cNvSpPr>
            <a:spLocks/>
          </p:cNvSpPr>
          <p:nvPr/>
        </p:nvSpPr>
        <p:spPr bwMode="auto">
          <a:xfrm>
            <a:off x="85589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Line 234">
            <a:extLst>
              <a:ext uri="{FF2B5EF4-FFF2-40B4-BE49-F238E27FC236}">
                <a16:creationId xmlns:a16="http://schemas.microsoft.com/office/drawing/2014/main" id="{297698B3-95C6-466F-B334-878E36EA004B}"/>
              </a:ext>
            </a:extLst>
          </p:cNvPr>
          <p:cNvSpPr>
            <a:spLocks noChangeShapeType="1"/>
          </p:cNvSpPr>
          <p:nvPr/>
        </p:nvSpPr>
        <p:spPr bwMode="auto">
          <a:xfrm flipH="1">
            <a:off x="85589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0" name="Freeform 235">
            <a:extLst>
              <a:ext uri="{FF2B5EF4-FFF2-40B4-BE49-F238E27FC236}">
                <a16:creationId xmlns:a16="http://schemas.microsoft.com/office/drawing/2014/main" id="{DD9DF405-2D4E-4813-A0E1-BFA7EA96153B}"/>
              </a:ext>
            </a:extLst>
          </p:cNvPr>
          <p:cNvSpPr>
            <a:spLocks/>
          </p:cNvSpPr>
          <p:nvPr/>
        </p:nvSpPr>
        <p:spPr bwMode="auto">
          <a:xfrm>
            <a:off x="85447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236">
            <a:extLst>
              <a:ext uri="{FF2B5EF4-FFF2-40B4-BE49-F238E27FC236}">
                <a16:creationId xmlns:a16="http://schemas.microsoft.com/office/drawing/2014/main" id="{4153BC47-59E8-4A35-A392-09AAF332E66D}"/>
              </a:ext>
            </a:extLst>
          </p:cNvPr>
          <p:cNvSpPr>
            <a:spLocks/>
          </p:cNvSpPr>
          <p:nvPr/>
        </p:nvSpPr>
        <p:spPr bwMode="auto">
          <a:xfrm>
            <a:off x="79637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bg1">
              <a:lumMod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237">
            <a:extLst>
              <a:ext uri="{FF2B5EF4-FFF2-40B4-BE49-F238E27FC236}">
                <a16:creationId xmlns:a16="http://schemas.microsoft.com/office/drawing/2014/main" id="{C6C1CCD8-1B81-4CB5-8CC5-FC5792F9B21E}"/>
              </a:ext>
            </a:extLst>
          </p:cNvPr>
          <p:cNvSpPr>
            <a:spLocks/>
          </p:cNvSpPr>
          <p:nvPr/>
        </p:nvSpPr>
        <p:spPr bwMode="auto">
          <a:xfrm>
            <a:off x="79465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238">
            <a:extLst>
              <a:ext uri="{FF2B5EF4-FFF2-40B4-BE49-F238E27FC236}">
                <a16:creationId xmlns:a16="http://schemas.microsoft.com/office/drawing/2014/main" id="{342E0637-BB7F-4DC2-96D2-FCA072628794}"/>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239">
            <a:extLst>
              <a:ext uri="{FF2B5EF4-FFF2-40B4-BE49-F238E27FC236}">
                <a16:creationId xmlns:a16="http://schemas.microsoft.com/office/drawing/2014/main" id="{6C814CB9-DDD2-446B-8F77-1323551CDD93}"/>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5" name="Freeform 240">
            <a:extLst>
              <a:ext uri="{FF2B5EF4-FFF2-40B4-BE49-F238E27FC236}">
                <a16:creationId xmlns:a16="http://schemas.microsoft.com/office/drawing/2014/main" id="{BDDF1006-B3CA-4771-807B-9E214B7D026A}"/>
              </a:ext>
            </a:extLst>
          </p:cNvPr>
          <p:cNvSpPr>
            <a:spLocks noEditPoints="1"/>
          </p:cNvSpPr>
          <p:nvPr/>
        </p:nvSpPr>
        <p:spPr bwMode="auto">
          <a:xfrm>
            <a:off x="82613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241">
            <a:extLst>
              <a:ext uri="{FF2B5EF4-FFF2-40B4-BE49-F238E27FC236}">
                <a16:creationId xmlns:a16="http://schemas.microsoft.com/office/drawing/2014/main" id="{CC670C00-F427-43C2-9758-44D9427A3A0B}"/>
              </a:ext>
            </a:extLst>
          </p:cNvPr>
          <p:cNvSpPr>
            <a:spLocks/>
          </p:cNvSpPr>
          <p:nvPr/>
        </p:nvSpPr>
        <p:spPr bwMode="auto">
          <a:xfrm>
            <a:off x="72521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7" name="Freeform 242">
            <a:extLst>
              <a:ext uri="{FF2B5EF4-FFF2-40B4-BE49-F238E27FC236}">
                <a16:creationId xmlns:a16="http://schemas.microsoft.com/office/drawing/2014/main" id="{1780641F-26A2-4332-85E6-8CF907F5EE38}"/>
              </a:ext>
            </a:extLst>
          </p:cNvPr>
          <p:cNvSpPr>
            <a:spLocks/>
          </p:cNvSpPr>
          <p:nvPr/>
        </p:nvSpPr>
        <p:spPr bwMode="auto">
          <a:xfrm>
            <a:off x="72399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43">
            <a:extLst>
              <a:ext uri="{FF2B5EF4-FFF2-40B4-BE49-F238E27FC236}">
                <a16:creationId xmlns:a16="http://schemas.microsoft.com/office/drawing/2014/main" id="{865FA48E-3356-41A4-BA6D-E8151BA113B7}"/>
              </a:ext>
            </a:extLst>
          </p:cNvPr>
          <p:cNvSpPr>
            <a:spLocks/>
          </p:cNvSpPr>
          <p:nvPr/>
        </p:nvSpPr>
        <p:spPr bwMode="auto">
          <a:xfrm>
            <a:off x="75406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9" name="Freeform 244">
            <a:extLst>
              <a:ext uri="{FF2B5EF4-FFF2-40B4-BE49-F238E27FC236}">
                <a16:creationId xmlns:a16="http://schemas.microsoft.com/office/drawing/2014/main" id="{8ADC1700-5801-45E0-A1E8-0D0EA4979834}"/>
              </a:ext>
            </a:extLst>
          </p:cNvPr>
          <p:cNvSpPr>
            <a:spLocks/>
          </p:cNvSpPr>
          <p:nvPr/>
        </p:nvSpPr>
        <p:spPr bwMode="auto">
          <a:xfrm>
            <a:off x="75264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45">
            <a:extLst>
              <a:ext uri="{FF2B5EF4-FFF2-40B4-BE49-F238E27FC236}">
                <a16:creationId xmlns:a16="http://schemas.microsoft.com/office/drawing/2014/main" id="{7AD25499-9564-4CAE-A5DC-393A20B598FE}"/>
              </a:ext>
            </a:extLst>
          </p:cNvPr>
          <p:cNvSpPr>
            <a:spLocks/>
          </p:cNvSpPr>
          <p:nvPr/>
        </p:nvSpPr>
        <p:spPr bwMode="auto">
          <a:xfrm>
            <a:off x="77228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46">
            <a:extLst>
              <a:ext uri="{FF2B5EF4-FFF2-40B4-BE49-F238E27FC236}">
                <a16:creationId xmlns:a16="http://schemas.microsoft.com/office/drawing/2014/main" id="{B869EE5C-D2B4-418E-9525-518338CF2866}"/>
              </a:ext>
            </a:extLst>
          </p:cNvPr>
          <p:cNvSpPr>
            <a:spLocks/>
          </p:cNvSpPr>
          <p:nvPr/>
        </p:nvSpPr>
        <p:spPr bwMode="auto">
          <a:xfrm>
            <a:off x="77086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2" name="Oval 247">
            <a:extLst>
              <a:ext uri="{FF2B5EF4-FFF2-40B4-BE49-F238E27FC236}">
                <a16:creationId xmlns:a16="http://schemas.microsoft.com/office/drawing/2014/main" id="{136B4224-349B-4320-BD24-96A1FF9D0AFD}"/>
              </a:ext>
            </a:extLst>
          </p:cNvPr>
          <p:cNvSpPr>
            <a:spLocks noChangeArrowheads="1"/>
          </p:cNvSpPr>
          <p:nvPr/>
        </p:nvSpPr>
        <p:spPr bwMode="auto">
          <a:xfrm>
            <a:off x="77855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48">
            <a:extLst>
              <a:ext uri="{FF2B5EF4-FFF2-40B4-BE49-F238E27FC236}">
                <a16:creationId xmlns:a16="http://schemas.microsoft.com/office/drawing/2014/main" id="{EC651304-B4C4-4B7D-8BAB-C054FFE32BC7}"/>
              </a:ext>
            </a:extLst>
          </p:cNvPr>
          <p:cNvSpPr>
            <a:spLocks/>
          </p:cNvSpPr>
          <p:nvPr/>
        </p:nvSpPr>
        <p:spPr bwMode="auto">
          <a:xfrm>
            <a:off x="77714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49">
            <a:extLst>
              <a:ext uri="{FF2B5EF4-FFF2-40B4-BE49-F238E27FC236}">
                <a16:creationId xmlns:a16="http://schemas.microsoft.com/office/drawing/2014/main" id="{20AF748B-33E0-43FB-B42D-A156DF5D58E8}"/>
              </a:ext>
            </a:extLst>
          </p:cNvPr>
          <p:cNvSpPr>
            <a:spLocks/>
          </p:cNvSpPr>
          <p:nvPr/>
        </p:nvSpPr>
        <p:spPr bwMode="auto">
          <a:xfrm>
            <a:off x="79009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Line 250">
            <a:extLst>
              <a:ext uri="{FF2B5EF4-FFF2-40B4-BE49-F238E27FC236}">
                <a16:creationId xmlns:a16="http://schemas.microsoft.com/office/drawing/2014/main" id="{81674994-11AC-4B15-B487-DFE4D0ED31F8}"/>
              </a:ext>
            </a:extLst>
          </p:cNvPr>
          <p:cNvSpPr>
            <a:spLocks noChangeShapeType="1"/>
          </p:cNvSpPr>
          <p:nvPr/>
        </p:nvSpPr>
        <p:spPr bwMode="auto">
          <a:xfrm>
            <a:off x="79009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6" name="Freeform 251">
            <a:extLst>
              <a:ext uri="{FF2B5EF4-FFF2-40B4-BE49-F238E27FC236}">
                <a16:creationId xmlns:a16="http://schemas.microsoft.com/office/drawing/2014/main" id="{A638AE69-BE11-4A28-83E8-BFBAD51B03C7}"/>
              </a:ext>
            </a:extLst>
          </p:cNvPr>
          <p:cNvSpPr>
            <a:spLocks/>
          </p:cNvSpPr>
          <p:nvPr/>
        </p:nvSpPr>
        <p:spPr bwMode="auto">
          <a:xfrm>
            <a:off x="78868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252">
            <a:extLst>
              <a:ext uri="{FF2B5EF4-FFF2-40B4-BE49-F238E27FC236}">
                <a16:creationId xmlns:a16="http://schemas.microsoft.com/office/drawing/2014/main" id="{F9DB8C54-75B5-4114-B839-25756B929B12}"/>
              </a:ext>
            </a:extLst>
          </p:cNvPr>
          <p:cNvSpPr>
            <a:spLocks/>
          </p:cNvSpPr>
          <p:nvPr/>
        </p:nvSpPr>
        <p:spPr bwMode="auto">
          <a:xfrm>
            <a:off x="54341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253">
            <a:extLst>
              <a:ext uri="{FF2B5EF4-FFF2-40B4-BE49-F238E27FC236}">
                <a16:creationId xmlns:a16="http://schemas.microsoft.com/office/drawing/2014/main" id="{06FDE449-E140-493C-A1A2-CCBB62037090}"/>
              </a:ext>
            </a:extLst>
          </p:cNvPr>
          <p:cNvSpPr>
            <a:spLocks noEditPoints="1"/>
          </p:cNvSpPr>
          <p:nvPr/>
        </p:nvSpPr>
        <p:spPr bwMode="auto">
          <a:xfrm>
            <a:off x="46800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254">
            <a:extLst>
              <a:ext uri="{FF2B5EF4-FFF2-40B4-BE49-F238E27FC236}">
                <a16:creationId xmlns:a16="http://schemas.microsoft.com/office/drawing/2014/main" id="{CCFAB4F4-F1DB-4CF2-9210-7901754EE2D7}"/>
              </a:ext>
            </a:extLst>
          </p:cNvPr>
          <p:cNvSpPr>
            <a:spLocks/>
          </p:cNvSpPr>
          <p:nvPr/>
        </p:nvSpPr>
        <p:spPr bwMode="auto">
          <a:xfrm>
            <a:off x="106603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0" name="Freeform 255">
            <a:extLst>
              <a:ext uri="{FF2B5EF4-FFF2-40B4-BE49-F238E27FC236}">
                <a16:creationId xmlns:a16="http://schemas.microsoft.com/office/drawing/2014/main" id="{47DCECF8-2EA4-4B53-8CBE-62F17D30CF2D}"/>
              </a:ext>
            </a:extLst>
          </p:cNvPr>
          <p:cNvSpPr>
            <a:spLocks noEditPoints="1"/>
          </p:cNvSpPr>
          <p:nvPr/>
        </p:nvSpPr>
        <p:spPr bwMode="auto">
          <a:xfrm>
            <a:off x="106391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1" name="Freeform 256">
            <a:extLst>
              <a:ext uri="{FF2B5EF4-FFF2-40B4-BE49-F238E27FC236}">
                <a16:creationId xmlns:a16="http://schemas.microsoft.com/office/drawing/2014/main" id="{57F105F0-8B3B-484D-8C7F-3ED51A59FD10}"/>
              </a:ext>
            </a:extLst>
          </p:cNvPr>
          <p:cNvSpPr>
            <a:spLocks/>
          </p:cNvSpPr>
          <p:nvPr/>
        </p:nvSpPr>
        <p:spPr bwMode="auto">
          <a:xfrm>
            <a:off x="106461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2" name="Freeform 257">
            <a:extLst>
              <a:ext uri="{FF2B5EF4-FFF2-40B4-BE49-F238E27FC236}">
                <a16:creationId xmlns:a16="http://schemas.microsoft.com/office/drawing/2014/main" id="{75DE400A-10A6-49A4-BD4B-8CA5A9B47F32}"/>
              </a:ext>
            </a:extLst>
          </p:cNvPr>
          <p:cNvSpPr>
            <a:spLocks noEditPoints="1"/>
          </p:cNvSpPr>
          <p:nvPr/>
        </p:nvSpPr>
        <p:spPr bwMode="auto">
          <a:xfrm>
            <a:off x="106360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3" name="Freeform 258">
            <a:extLst>
              <a:ext uri="{FF2B5EF4-FFF2-40B4-BE49-F238E27FC236}">
                <a16:creationId xmlns:a16="http://schemas.microsoft.com/office/drawing/2014/main" id="{72EC22D0-BFA5-45A1-9249-50BD3D0221E7}"/>
              </a:ext>
            </a:extLst>
          </p:cNvPr>
          <p:cNvSpPr>
            <a:spLocks/>
          </p:cNvSpPr>
          <p:nvPr/>
        </p:nvSpPr>
        <p:spPr bwMode="auto">
          <a:xfrm>
            <a:off x="92604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Freeform 259">
            <a:extLst>
              <a:ext uri="{FF2B5EF4-FFF2-40B4-BE49-F238E27FC236}">
                <a16:creationId xmlns:a16="http://schemas.microsoft.com/office/drawing/2014/main" id="{1B104D8D-C911-4E3C-BA29-828AE8D8398E}"/>
              </a:ext>
            </a:extLst>
          </p:cNvPr>
          <p:cNvSpPr>
            <a:spLocks/>
          </p:cNvSpPr>
          <p:nvPr/>
        </p:nvSpPr>
        <p:spPr bwMode="auto">
          <a:xfrm>
            <a:off x="93657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60">
            <a:extLst>
              <a:ext uri="{FF2B5EF4-FFF2-40B4-BE49-F238E27FC236}">
                <a16:creationId xmlns:a16="http://schemas.microsoft.com/office/drawing/2014/main" id="{81748F99-B7B1-4213-9595-87AA8FA89AA0}"/>
              </a:ext>
            </a:extLst>
          </p:cNvPr>
          <p:cNvSpPr>
            <a:spLocks/>
          </p:cNvSpPr>
          <p:nvPr/>
        </p:nvSpPr>
        <p:spPr bwMode="auto">
          <a:xfrm>
            <a:off x="95914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76" name="Freeform 261">
            <a:extLst>
              <a:ext uri="{FF2B5EF4-FFF2-40B4-BE49-F238E27FC236}">
                <a16:creationId xmlns:a16="http://schemas.microsoft.com/office/drawing/2014/main" id="{BD60239A-4A6F-403E-9142-CB07D3A02437}"/>
              </a:ext>
            </a:extLst>
          </p:cNvPr>
          <p:cNvSpPr>
            <a:spLocks/>
          </p:cNvSpPr>
          <p:nvPr/>
        </p:nvSpPr>
        <p:spPr bwMode="auto">
          <a:xfrm>
            <a:off x="98434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62">
            <a:extLst>
              <a:ext uri="{FF2B5EF4-FFF2-40B4-BE49-F238E27FC236}">
                <a16:creationId xmlns:a16="http://schemas.microsoft.com/office/drawing/2014/main" id="{2F182249-DDCA-4DFF-9C03-278DF557A9D2}"/>
              </a:ext>
            </a:extLst>
          </p:cNvPr>
          <p:cNvSpPr>
            <a:spLocks/>
          </p:cNvSpPr>
          <p:nvPr/>
        </p:nvSpPr>
        <p:spPr bwMode="auto">
          <a:xfrm>
            <a:off x="111695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63">
            <a:extLst>
              <a:ext uri="{FF2B5EF4-FFF2-40B4-BE49-F238E27FC236}">
                <a16:creationId xmlns:a16="http://schemas.microsoft.com/office/drawing/2014/main" id="{ADFABB3E-E44A-4193-B315-7C248000EF61}"/>
              </a:ext>
            </a:extLst>
          </p:cNvPr>
          <p:cNvSpPr>
            <a:spLocks/>
          </p:cNvSpPr>
          <p:nvPr/>
        </p:nvSpPr>
        <p:spPr bwMode="auto">
          <a:xfrm>
            <a:off x="97625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64">
            <a:extLst>
              <a:ext uri="{FF2B5EF4-FFF2-40B4-BE49-F238E27FC236}">
                <a16:creationId xmlns:a16="http://schemas.microsoft.com/office/drawing/2014/main" id="{F4BDB1C7-1D73-4C34-A06E-600A1D0537FD}"/>
              </a:ext>
            </a:extLst>
          </p:cNvPr>
          <p:cNvSpPr>
            <a:spLocks/>
          </p:cNvSpPr>
          <p:nvPr/>
        </p:nvSpPr>
        <p:spPr bwMode="auto">
          <a:xfrm>
            <a:off x="103364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65">
            <a:extLst>
              <a:ext uri="{FF2B5EF4-FFF2-40B4-BE49-F238E27FC236}">
                <a16:creationId xmlns:a16="http://schemas.microsoft.com/office/drawing/2014/main" id="{7E32FB4A-11ED-4922-B4A7-983356903E44}"/>
              </a:ext>
            </a:extLst>
          </p:cNvPr>
          <p:cNvSpPr>
            <a:spLocks/>
          </p:cNvSpPr>
          <p:nvPr/>
        </p:nvSpPr>
        <p:spPr bwMode="auto">
          <a:xfrm>
            <a:off x="110136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66">
            <a:extLst>
              <a:ext uri="{FF2B5EF4-FFF2-40B4-BE49-F238E27FC236}">
                <a16:creationId xmlns:a16="http://schemas.microsoft.com/office/drawing/2014/main" id="{FFB9E088-6785-499B-90C0-388D09EF662C}"/>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267">
            <a:extLst>
              <a:ext uri="{FF2B5EF4-FFF2-40B4-BE49-F238E27FC236}">
                <a16:creationId xmlns:a16="http://schemas.microsoft.com/office/drawing/2014/main" id="{418E21CB-E518-456F-87AD-C7449B673758}"/>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268">
            <a:extLst>
              <a:ext uri="{FF2B5EF4-FFF2-40B4-BE49-F238E27FC236}">
                <a16:creationId xmlns:a16="http://schemas.microsoft.com/office/drawing/2014/main" id="{6E18843E-3873-45EA-A857-16007227646C}"/>
              </a:ext>
            </a:extLst>
          </p:cNvPr>
          <p:cNvSpPr>
            <a:spLocks/>
          </p:cNvSpPr>
          <p:nvPr/>
        </p:nvSpPr>
        <p:spPr bwMode="auto">
          <a:xfrm>
            <a:off x="100003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69">
            <a:extLst>
              <a:ext uri="{FF2B5EF4-FFF2-40B4-BE49-F238E27FC236}">
                <a16:creationId xmlns:a16="http://schemas.microsoft.com/office/drawing/2014/main" id="{0C1C1F3E-EBD0-43B2-8204-4F096AB2C327}"/>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5" name="Freeform 270">
            <a:extLst>
              <a:ext uri="{FF2B5EF4-FFF2-40B4-BE49-F238E27FC236}">
                <a16:creationId xmlns:a16="http://schemas.microsoft.com/office/drawing/2014/main" id="{A656956D-795D-4B62-A31A-6AEFEEAA42BF}"/>
              </a:ext>
            </a:extLst>
          </p:cNvPr>
          <p:cNvSpPr>
            <a:spLocks/>
          </p:cNvSpPr>
          <p:nvPr/>
        </p:nvSpPr>
        <p:spPr bwMode="auto">
          <a:xfrm>
            <a:off x="103820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271">
            <a:extLst>
              <a:ext uri="{FF2B5EF4-FFF2-40B4-BE49-F238E27FC236}">
                <a16:creationId xmlns:a16="http://schemas.microsoft.com/office/drawing/2014/main" id="{E442D7CA-FD38-4DC1-8AC2-FAC0A5D2F8E4}"/>
              </a:ext>
            </a:extLst>
          </p:cNvPr>
          <p:cNvSpPr>
            <a:spLocks/>
          </p:cNvSpPr>
          <p:nvPr/>
        </p:nvSpPr>
        <p:spPr bwMode="auto">
          <a:xfrm>
            <a:off x="104832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272">
            <a:extLst>
              <a:ext uri="{FF2B5EF4-FFF2-40B4-BE49-F238E27FC236}">
                <a16:creationId xmlns:a16="http://schemas.microsoft.com/office/drawing/2014/main" id="{3A2E527B-0961-4384-B654-85477CD58BAB}"/>
              </a:ext>
            </a:extLst>
          </p:cNvPr>
          <p:cNvSpPr>
            <a:spLocks/>
          </p:cNvSpPr>
          <p:nvPr/>
        </p:nvSpPr>
        <p:spPr bwMode="auto">
          <a:xfrm>
            <a:off x="103698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273">
            <a:extLst>
              <a:ext uri="{FF2B5EF4-FFF2-40B4-BE49-F238E27FC236}">
                <a16:creationId xmlns:a16="http://schemas.microsoft.com/office/drawing/2014/main" id="{0C7E33EC-5BC4-41BF-B323-83BD6DC6C9C1}"/>
              </a:ext>
            </a:extLst>
          </p:cNvPr>
          <p:cNvSpPr>
            <a:spLocks/>
          </p:cNvSpPr>
          <p:nvPr/>
        </p:nvSpPr>
        <p:spPr bwMode="auto">
          <a:xfrm>
            <a:off x="107514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274">
            <a:extLst>
              <a:ext uri="{FF2B5EF4-FFF2-40B4-BE49-F238E27FC236}">
                <a16:creationId xmlns:a16="http://schemas.microsoft.com/office/drawing/2014/main" id="{53592B6E-E0BB-4A34-9298-E6BACD96D949}"/>
              </a:ext>
            </a:extLst>
          </p:cNvPr>
          <p:cNvSpPr>
            <a:spLocks/>
          </p:cNvSpPr>
          <p:nvPr/>
        </p:nvSpPr>
        <p:spPr bwMode="auto">
          <a:xfrm>
            <a:off x="106006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275">
            <a:extLst>
              <a:ext uri="{FF2B5EF4-FFF2-40B4-BE49-F238E27FC236}">
                <a16:creationId xmlns:a16="http://schemas.microsoft.com/office/drawing/2014/main" id="{EB5ACD66-2B91-4645-9072-F5505E93252E}"/>
              </a:ext>
            </a:extLst>
          </p:cNvPr>
          <p:cNvSpPr>
            <a:spLocks/>
          </p:cNvSpPr>
          <p:nvPr/>
        </p:nvSpPr>
        <p:spPr bwMode="auto">
          <a:xfrm>
            <a:off x="106461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276">
            <a:extLst>
              <a:ext uri="{FF2B5EF4-FFF2-40B4-BE49-F238E27FC236}">
                <a16:creationId xmlns:a16="http://schemas.microsoft.com/office/drawing/2014/main" id="{7DEEBF90-7A90-480F-B608-A3B575B1EA33}"/>
              </a:ext>
            </a:extLst>
          </p:cNvPr>
          <p:cNvSpPr>
            <a:spLocks/>
          </p:cNvSpPr>
          <p:nvPr/>
        </p:nvSpPr>
        <p:spPr bwMode="auto">
          <a:xfrm>
            <a:off x="103890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277">
            <a:extLst>
              <a:ext uri="{FF2B5EF4-FFF2-40B4-BE49-F238E27FC236}">
                <a16:creationId xmlns:a16="http://schemas.microsoft.com/office/drawing/2014/main" id="{B8044F09-9735-44BB-8253-64945B4DA3E1}"/>
              </a:ext>
            </a:extLst>
          </p:cNvPr>
          <p:cNvSpPr>
            <a:spLocks/>
          </p:cNvSpPr>
          <p:nvPr/>
        </p:nvSpPr>
        <p:spPr bwMode="auto">
          <a:xfrm>
            <a:off x="104680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278">
            <a:extLst>
              <a:ext uri="{FF2B5EF4-FFF2-40B4-BE49-F238E27FC236}">
                <a16:creationId xmlns:a16="http://schemas.microsoft.com/office/drawing/2014/main" id="{FC58B97E-1CE9-4528-A49C-65AF1CCCB090}"/>
              </a:ext>
            </a:extLst>
          </p:cNvPr>
          <p:cNvSpPr>
            <a:spLocks/>
          </p:cNvSpPr>
          <p:nvPr/>
        </p:nvSpPr>
        <p:spPr bwMode="auto">
          <a:xfrm>
            <a:off x="104133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279">
            <a:extLst>
              <a:ext uri="{FF2B5EF4-FFF2-40B4-BE49-F238E27FC236}">
                <a16:creationId xmlns:a16="http://schemas.microsoft.com/office/drawing/2014/main" id="{2642E179-D60B-43B0-A46E-6E636C5BBE7D}"/>
              </a:ext>
            </a:extLst>
          </p:cNvPr>
          <p:cNvSpPr>
            <a:spLocks/>
          </p:cNvSpPr>
          <p:nvPr/>
        </p:nvSpPr>
        <p:spPr bwMode="auto">
          <a:xfrm>
            <a:off x="104133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280">
            <a:extLst>
              <a:ext uri="{FF2B5EF4-FFF2-40B4-BE49-F238E27FC236}">
                <a16:creationId xmlns:a16="http://schemas.microsoft.com/office/drawing/2014/main" id="{9CF72EBE-74B1-4E11-941E-565D520B56A7}"/>
              </a:ext>
            </a:extLst>
          </p:cNvPr>
          <p:cNvSpPr>
            <a:spLocks/>
          </p:cNvSpPr>
          <p:nvPr/>
        </p:nvSpPr>
        <p:spPr bwMode="auto">
          <a:xfrm>
            <a:off x="95388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6" name="Freeform 281">
            <a:extLst>
              <a:ext uri="{FF2B5EF4-FFF2-40B4-BE49-F238E27FC236}">
                <a16:creationId xmlns:a16="http://schemas.microsoft.com/office/drawing/2014/main" id="{5BE26235-2A69-43B2-942E-3B857A8FEC0E}"/>
              </a:ext>
            </a:extLst>
          </p:cNvPr>
          <p:cNvSpPr>
            <a:spLocks/>
          </p:cNvSpPr>
          <p:nvPr/>
        </p:nvSpPr>
        <p:spPr bwMode="auto">
          <a:xfrm>
            <a:off x="95944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7" name="Freeform 282">
            <a:extLst>
              <a:ext uri="{FF2B5EF4-FFF2-40B4-BE49-F238E27FC236}">
                <a16:creationId xmlns:a16="http://schemas.microsoft.com/office/drawing/2014/main" id="{B0FCCBB6-7CAF-4206-A190-67C0F737CD93}"/>
              </a:ext>
            </a:extLst>
          </p:cNvPr>
          <p:cNvSpPr>
            <a:spLocks/>
          </p:cNvSpPr>
          <p:nvPr/>
        </p:nvSpPr>
        <p:spPr bwMode="auto">
          <a:xfrm>
            <a:off x="97139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8" name="Freeform 283">
            <a:extLst>
              <a:ext uri="{FF2B5EF4-FFF2-40B4-BE49-F238E27FC236}">
                <a16:creationId xmlns:a16="http://schemas.microsoft.com/office/drawing/2014/main" id="{377A3227-7D3E-4527-828B-65A36A35D1B7}"/>
              </a:ext>
            </a:extLst>
          </p:cNvPr>
          <p:cNvSpPr>
            <a:spLocks/>
          </p:cNvSpPr>
          <p:nvPr/>
        </p:nvSpPr>
        <p:spPr bwMode="auto">
          <a:xfrm>
            <a:off x="97139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284">
            <a:extLst>
              <a:ext uri="{FF2B5EF4-FFF2-40B4-BE49-F238E27FC236}">
                <a16:creationId xmlns:a16="http://schemas.microsoft.com/office/drawing/2014/main" id="{CD50D538-2BFC-454C-B010-98F44E45A887}"/>
              </a:ext>
            </a:extLst>
          </p:cNvPr>
          <p:cNvSpPr>
            <a:spLocks/>
          </p:cNvSpPr>
          <p:nvPr/>
        </p:nvSpPr>
        <p:spPr bwMode="auto">
          <a:xfrm>
            <a:off x="97695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00" name="Freeform 285">
            <a:extLst>
              <a:ext uri="{FF2B5EF4-FFF2-40B4-BE49-F238E27FC236}">
                <a16:creationId xmlns:a16="http://schemas.microsoft.com/office/drawing/2014/main" id="{67D1FC50-4C95-43BC-A53D-61B443D0ED25}"/>
              </a:ext>
            </a:extLst>
          </p:cNvPr>
          <p:cNvSpPr>
            <a:spLocks noEditPoints="1"/>
          </p:cNvSpPr>
          <p:nvPr/>
        </p:nvSpPr>
        <p:spPr bwMode="auto">
          <a:xfrm>
            <a:off x="55323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1" name="Freeform 286">
            <a:extLst>
              <a:ext uri="{FF2B5EF4-FFF2-40B4-BE49-F238E27FC236}">
                <a16:creationId xmlns:a16="http://schemas.microsoft.com/office/drawing/2014/main" id="{EA1C98E6-325D-4D64-8107-0F460EACE9E0}"/>
              </a:ext>
            </a:extLst>
          </p:cNvPr>
          <p:cNvSpPr>
            <a:spLocks/>
          </p:cNvSpPr>
          <p:nvPr/>
        </p:nvSpPr>
        <p:spPr bwMode="auto">
          <a:xfrm>
            <a:off x="62196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2" name="Freeform 287">
            <a:extLst>
              <a:ext uri="{FF2B5EF4-FFF2-40B4-BE49-F238E27FC236}">
                <a16:creationId xmlns:a16="http://schemas.microsoft.com/office/drawing/2014/main" id="{CB7A3404-5511-472D-A221-7FA4306126E6}"/>
              </a:ext>
            </a:extLst>
          </p:cNvPr>
          <p:cNvSpPr>
            <a:spLocks/>
          </p:cNvSpPr>
          <p:nvPr/>
        </p:nvSpPr>
        <p:spPr bwMode="auto">
          <a:xfrm>
            <a:off x="62166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3" name="Freeform 288">
            <a:extLst>
              <a:ext uri="{FF2B5EF4-FFF2-40B4-BE49-F238E27FC236}">
                <a16:creationId xmlns:a16="http://schemas.microsoft.com/office/drawing/2014/main" id="{47055D6D-FDB5-47E1-B681-39E637093600}"/>
              </a:ext>
            </a:extLst>
          </p:cNvPr>
          <p:cNvSpPr>
            <a:spLocks/>
          </p:cNvSpPr>
          <p:nvPr/>
        </p:nvSpPr>
        <p:spPr bwMode="auto">
          <a:xfrm>
            <a:off x="54219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4" name="Freeform 289">
            <a:extLst>
              <a:ext uri="{FF2B5EF4-FFF2-40B4-BE49-F238E27FC236}">
                <a16:creationId xmlns:a16="http://schemas.microsoft.com/office/drawing/2014/main" id="{E495165D-DB32-420C-BD9B-10B109EC7612}"/>
              </a:ext>
            </a:extLst>
          </p:cNvPr>
          <p:cNvSpPr>
            <a:spLocks/>
          </p:cNvSpPr>
          <p:nvPr/>
        </p:nvSpPr>
        <p:spPr bwMode="auto">
          <a:xfrm>
            <a:off x="54199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5" name="Freeform 290">
            <a:extLst>
              <a:ext uri="{FF2B5EF4-FFF2-40B4-BE49-F238E27FC236}">
                <a16:creationId xmlns:a16="http://schemas.microsoft.com/office/drawing/2014/main" id="{FEE89B12-99C1-48FB-A904-B30CAC07A8D5}"/>
              </a:ext>
            </a:extLst>
          </p:cNvPr>
          <p:cNvSpPr>
            <a:spLocks/>
          </p:cNvSpPr>
          <p:nvPr/>
        </p:nvSpPr>
        <p:spPr bwMode="auto">
          <a:xfrm>
            <a:off x="58106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6" name="Freeform 291">
            <a:extLst>
              <a:ext uri="{FF2B5EF4-FFF2-40B4-BE49-F238E27FC236}">
                <a16:creationId xmlns:a16="http://schemas.microsoft.com/office/drawing/2014/main" id="{97CD0373-9526-470B-B818-32C5177C7269}"/>
              </a:ext>
            </a:extLst>
          </p:cNvPr>
          <p:cNvSpPr>
            <a:spLocks/>
          </p:cNvSpPr>
          <p:nvPr/>
        </p:nvSpPr>
        <p:spPr bwMode="auto">
          <a:xfrm>
            <a:off x="58066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7" name="Freeform 292">
            <a:extLst>
              <a:ext uri="{FF2B5EF4-FFF2-40B4-BE49-F238E27FC236}">
                <a16:creationId xmlns:a16="http://schemas.microsoft.com/office/drawing/2014/main" id="{E6F85A5C-289C-4620-AE5A-8961802E9FF2}"/>
              </a:ext>
            </a:extLst>
          </p:cNvPr>
          <p:cNvSpPr>
            <a:spLocks/>
          </p:cNvSpPr>
          <p:nvPr/>
        </p:nvSpPr>
        <p:spPr bwMode="auto">
          <a:xfrm>
            <a:off x="53167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363">
            <a:extLst>
              <a:ext uri="{FF2B5EF4-FFF2-40B4-BE49-F238E27FC236}">
                <a16:creationId xmlns:a16="http://schemas.microsoft.com/office/drawing/2014/main" id="{1A043336-A8CA-42ED-A81B-0AFC017D351B}"/>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5" name="Rectangle 364">
            <a:extLst>
              <a:ext uri="{FF2B5EF4-FFF2-40B4-BE49-F238E27FC236}">
                <a16:creationId xmlns:a16="http://schemas.microsoft.com/office/drawing/2014/main" id="{6738FB42-4FBC-4BD1-9956-44BD6DCCBB8F}"/>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294550611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3993401"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ategoría de beneficios</a:t>
            </a:r>
          </a:p>
        </p:txBody>
      </p:sp>
      <p:grpSp>
        <p:nvGrpSpPr>
          <p:cNvPr id="3" name="Group 2">
            <a:extLst>
              <a:ext uri="{FF2B5EF4-FFF2-40B4-BE49-F238E27FC236}">
                <a16:creationId xmlns:a16="http://schemas.microsoft.com/office/drawing/2014/main" id="{CFC5BBAB-0DE4-42AB-8118-394489176C44}"/>
              </a:ext>
            </a:extLst>
          </p:cNvPr>
          <p:cNvGrpSpPr/>
          <p:nvPr/>
        </p:nvGrpSpPr>
        <p:grpSpPr>
          <a:xfrm>
            <a:off x="527050" y="1142147"/>
            <a:ext cx="11144250" cy="4088324"/>
            <a:chOff x="527050" y="1714500"/>
            <a:chExt cx="11144250" cy="3716659"/>
          </a:xfrm>
        </p:grpSpPr>
        <p:sp>
          <p:nvSpPr>
            <p:cNvPr id="38" name="Content Placeholder 2">
              <a:extLst>
                <a:ext uri="{FF2B5EF4-FFF2-40B4-BE49-F238E27FC236}">
                  <a16:creationId xmlns:a16="http://schemas.microsoft.com/office/drawing/2014/main" id="{E1E13C1F-2F2E-4A18-9D20-E4AF4D01BAAE}"/>
                </a:ext>
              </a:extLst>
            </p:cNvPr>
            <p:cNvSpPr txBox="1">
              <a:spLocks/>
            </p:cNvSpPr>
            <p:nvPr/>
          </p:nvSpPr>
          <p:spPr>
            <a:xfrm>
              <a:off x="7920038" y="1924159"/>
              <a:ext cx="3751262" cy="7524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50" b="1" u="sng" dirty="0">
                  <a:solidFill>
                    <a:srgbClr val="009A44"/>
                  </a:solidFill>
                  <a:latin typeface="Verdana" panose="020B0604030504040204" pitchFamily="34" charset="0"/>
                  <a:ea typeface="Verdana" panose="020B0604030504040204" pitchFamily="34" charset="0"/>
                </a:rPr>
                <a:t>Exención de trámites  </a:t>
              </a:r>
            </a:p>
            <a:p>
              <a:r>
                <a:rPr lang="es-MX" sz="1250" dirty="0">
                  <a:latin typeface="Verdana" panose="020B0604030504040204" pitchFamily="34" charset="0"/>
                  <a:ea typeface="Verdana" panose="020B0604030504040204" pitchFamily="34" charset="0"/>
                </a:rPr>
                <a:t>La Secretaría de Economía pretende implementar modelos en los cuales, se permita a las Compañías que cuenten con esta certificación eximirlas de ciertos tramites u obligaciones de Comercio Exterior.</a:t>
              </a:r>
            </a:p>
          </p:txBody>
        </p:sp>
        <p:sp>
          <p:nvSpPr>
            <p:cNvPr id="39" name="Content Placeholder 2">
              <a:extLst>
                <a:ext uri="{FF2B5EF4-FFF2-40B4-BE49-F238E27FC236}">
                  <a16:creationId xmlns:a16="http://schemas.microsoft.com/office/drawing/2014/main" id="{BFB3C501-5E9A-422E-9849-35ED42773781}"/>
                </a:ext>
              </a:extLst>
            </p:cNvPr>
            <p:cNvSpPr txBox="1">
              <a:spLocks/>
            </p:cNvSpPr>
            <p:nvPr/>
          </p:nvSpPr>
          <p:spPr>
            <a:xfrm>
              <a:off x="7920038" y="3995245"/>
              <a:ext cx="3751262" cy="14359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51" b="1" u="sng" dirty="0">
                  <a:solidFill>
                    <a:srgbClr val="43B02A"/>
                  </a:solidFill>
                  <a:latin typeface="Verdana" panose="020B0604030504040204" pitchFamily="34" charset="0"/>
                  <a:ea typeface="Verdana" panose="020B0604030504040204" pitchFamily="34" charset="0"/>
                </a:rPr>
                <a:t>Eliminación y reducción de multas al Comercio Exterior</a:t>
              </a:r>
            </a:p>
            <a:p>
              <a:r>
                <a:rPr lang="es-MX" sz="1251" dirty="0">
                  <a:latin typeface="Verdana" panose="020B0604030504040204" pitchFamily="34" charset="0"/>
                  <a:ea typeface="Verdana" panose="020B0604030504040204" pitchFamily="34" charset="0"/>
                </a:rPr>
                <a:t>Este programa busca otorgar a quienes cuenten con dicha autorización, el beneficio de eliminar ciertas multas o procesos administrativos en materia aduanera o de omisión de contribuciones.</a:t>
              </a:r>
            </a:p>
          </p:txBody>
        </p:sp>
        <p:sp>
          <p:nvSpPr>
            <p:cNvPr id="40" name="Content Placeholder 2">
              <a:extLst>
                <a:ext uri="{FF2B5EF4-FFF2-40B4-BE49-F238E27FC236}">
                  <a16:creationId xmlns:a16="http://schemas.microsoft.com/office/drawing/2014/main" id="{26D2EB4A-626B-41F2-8CAB-0DA48ABCDE9F}"/>
                </a:ext>
              </a:extLst>
            </p:cNvPr>
            <p:cNvSpPr txBox="1">
              <a:spLocks/>
            </p:cNvSpPr>
            <p:nvPr/>
          </p:nvSpPr>
          <p:spPr>
            <a:xfrm>
              <a:off x="527050" y="1903119"/>
              <a:ext cx="3744913" cy="7524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51" b="1" u="sng" dirty="0">
                  <a:solidFill>
                    <a:srgbClr val="046A38"/>
                  </a:solidFill>
                  <a:latin typeface="Verdana" panose="020B0604030504040204" pitchFamily="34" charset="0"/>
                  <a:ea typeface="Verdana" panose="020B0604030504040204" pitchFamily="34" charset="0"/>
                </a:rPr>
                <a:t>Eliminación de requisitos en trámites </a:t>
              </a:r>
            </a:p>
            <a:p>
              <a:r>
                <a:rPr lang="es-MX" sz="1251" dirty="0">
                  <a:latin typeface="Verdana" panose="020B0604030504040204" pitchFamily="34" charset="0"/>
                  <a:ea typeface="Verdana" panose="020B0604030504040204" pitchFamily="34" charset="0"/>
                </a:rPr>
                <a:t>Este nuevo programa busca disminuir el número de requisitos en trámites de Comercio Exterior.</a:t>
              </a:r>
            </a:p>
            <a:p>
              <a:r>
                <a:rPr lang="es-MX" sz="1251" dirty="0">
                  <a:latin typeface="Verdana" panose="020B0604030504040204" pitchFamily="34" charset="0"/>
                  <a:ea typeface="Verdana" panose="020B0604030504040204" pitchFamily="34" charset="0"/>
                </a:rPr>
                <a:t>En una primera etapa por parte de las Secretaría de Economía, y en fases subsecuentes por otras autoridades federales.</a:t>
              </a:r>
            </a:p>
            <a:p>
              <a:endParaRPr lang="es-MX" sz="1251" dirty="0">
                <a:latin typeface="Verdana" panose="020B0604030504040204" pitchFamily="34" charset="0"/>
                <a:ea typeface="Verdana" panose="020B0604030504040204" pitchFamily="34" charset="0"/>
              </a:endParaRPr>
            </a:p>
          </p:txBody>
        </p:sp>
        <p:sp>
          <p:nvSpPr>
            <p:cNvPr id="41" name="Content Placeholder 2">
              <a:extLst>
                <a:ext uri="{FF2B5EF4-FFF2-40B4-BE49-F238E27FC236}">
                  <a16:creationId xmlns:a16="http://schemas.microsoft.com/office/drawing/2014/main" id="{801712B9-AEEB-49AA-9165-AFC11BABBDA3}"/>
                </a:ext>
              </a:extLst>
            </p:cNvPr>
            <p:cNvSpPr txBox="1">
              <a:spLocks/>
            </p:cNvSpPr>
            <p:nvPr/>
          </p:nvSpPr>
          <p:spPr>
            <a:xfrm>
              <a:off x="527050" y="3995246"/>
              <a:ext cx="3744914" cy="1435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50" b="1" u="sng" dirty="0">
                  <a:solidFill>
                    <a:srgbClr val="86BC25"/>
                  </a:solidFill>
                  <a:latin typeface="Verdana" panose="020B0604030504040204" pitchFamily="34" charset="0"/>
                  <a:ea typeface="Verdana" panose="020B0604030504040204" pitchFamily="34" charset="0"/>
                </a:rPr>
                <a:t>Simplificación en los procesos de Comercio</a:t>
              </a:r>
            </a:p>
            <a:p>
              <a:r>
                <a:rPr lang="es-MX" sz="1250" dirty="0">
                  <a:latin typeface="Verdana" panose="020B0604030504040204" pitchFamily="34" charset="0"/>
                  <a:ea typeface="Verdana" panose="020B0604030504040204" pitchFamily="34" charset="0"/>
                </a:rPr>
                <a:t>La certificación busca disminuir procesos administrativos en las Aduanas, a efecto de optimizar tiempos y costos en los procesos de comercio exterior.</a:t>
              </a:r>
            </a:p>
            <a:p>
              <a:r>
                <a:rPr lang="es-MX" sz="1250" dirty="0">
                  <a:latin typeface="Verdana" panose="020B0604030504040204" pitchFamily="34" charset="0"/>
                  <a:ea typeface="Verdana" panose="020B0604030504040204" pitchFamily="34" charset="0"/>
                </a:rPr>
                <a:t>Se otorgarán beneficios de simplificación en tramites para promover la facilitación del comercio, expeditando los procesos y los tiempos de respuesta por parte de las autoridades.</a:t>
              </a:r>
            </a:p>
          </p:txBody>
        </p:sp>
        <p:sp>
          <p:nvSpPr>
            <p:cNvPr id="42" name="Parallelogram 41">
              <a:extLst>
                <a:ext uri="{FF2B5EF4-FFF2-40B4-BE49-F238E27FC236}">
                  <a16:creationId xmlns:a16="http://schemas.microsoft.com/office/drawing/2014/main" id="{90B5EE01-232D-407C-A836-D472B511EEFE}"/>
                </a:ext>
              </a:extLst>
            </p:cNvPr>
            <p:cNvSpPr/>
            <p:nvPr/>
          </p:nvSpPr>
          <p:spPr bwMode="gray">
            <a:xfrm rot="5400000">
              <a:off x="5293245" y="2523986"/>
              <a:ext cx="1073302" cy="543334"/>
            </a:xfrm>
            <a:prstGeom prst="parallelogram">
              <a:avLst>
                <a:gd name="adj" fmla="val 100728"/>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3" name="Parallelogram 42">
              <a:extLst>
                <a:ext uri="{FF2B5EF4-FFF2-40B4-BE49-F238E27FC236}">
                  <a16:creationId xmlns:a16="http://schemas.microsoft.com/office/drawing/2014/main" id="{D76FA7A0-CAFE-469A-AB65-D01897711DD8}"/>
                </a:ext>
              </a:extLst>
            </p:cNvPr>
            <p:cNvSpPr/>
            <p:nvPr/>
          </p:nvSpPr>
          <p:spPr bwMode="gray">
            <a:xfrm rot="5400000" flipV="1">
              <a:off x="5836578" y="252398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4" name="Parallelogram 43">
              <a:extLst>
                <a:ext uri="{FF2B5EF4-FFF2-40B4-BE49-F238E27FC236}">
                  <a16:creationId xmlns:a16="http://schemas.microsoft.com/office/drawing/2014/main" id="{765F39C9-81DE-4A3E-9AE9-96030CC7BB56}"/>
                </a:ext>
              </a:extLst>
            </p:cNvPr>
            <p:cNvSpPr/>
            <p:nvPr/>
          </p:nvSpPr>
          <p:spPr bwMode="gray">
            <a:xfrm rot="10800000">
              <a:off x="6114928" y="2831283"/>
              <a:ext cx="1073302" cy="543334"/>
            </a:xfrm>
            <a:prstGeom prst="parallelogram">
              <a:avLst>
                <a:gd name="adj" fmla="val 100728"/>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5" name="Parallelogram 44">
              <a:extLst>
                <a:ext uri="{FF2B5EF4-FFF2-40B4-BE49-F238E27FC236}">
                  <a16:creationId xmlns:a16="http://schemas.microsoft.com/office/drawing/2014/main" id="{CCD31D16-E64B-4DA2-83F9-CACBD6527763}"/>
                </a:ext>
              </a:extLst>
            </p:cNvPr>
            <p:cNvSpPr/>
            <p:nvPr/>
          </p:nvSpPr>
          <p:spPr bwMode="gray">
            <a:xfrm rot="10800000" flipV="1">
              <a:off x="6114928" y="3374616"/>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6" name="Parallelogram 45">
              <a:extLst>
                <a:ext uri="{FF2B5EF4-FFF2-40B4-BE49-F238E27FC236}">
                  <a16:creationId xmlns:a16="http://schemas.microsoft.com/office/drawing/2014/main" id="{9C4C71DA-7FF3-4A48-BD9F-39EEB70157A8}"/>
                </a:ext>
              </a:extLst>
            </p:cNvPr>
            <p:cNvSpPr/>
            <p:nvPr/>
          </p:nvSpPr>
          <p:spPr bwMode="gray">
            <a:xfrm>
              <a:off x="5014898" y="3374617"/>
              <a:ext cx="1073302" cy="543334"/>
            </a:xfrm>
            <a:prstGeom prst="parallelogram">
              <a:avLst>
                <a:gd name="adj" fmla="val 100728"/>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7" name="Parallelogram 46">
              <a:extLst>
                <a:ext uri="{FF2B5EF4-FFF2-40B4-BE49-F238E27FC236}">
                  <a16:creationId xmlns:a16="http://schemas.microsoft.com/office/drawing/2014/main" id="{1BEDEAE1-91A9-40C2-88F3-55D6B3915D73}"/>
                </a:ext>
              </a:extLst>
            </p:cNvPr>
            <p:cNvSpPr/>
            <p:nvPr/>
          </p:nvSpPr>
          <p:spPr bwMode="gray">
            <a:xfrm flipV="1">
              <a:off x="5014898" y="2831284"/>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8" name="Parallelogram 47">
              <a:extLst>
                <a:ext uri="{FF2B5EF4-FFF2-40B4-BE49-F238E27FC236}">
                  <a16:creationId xmlns:a16="http://schemas.microsoft.com/office/drawing/2014/main" id="{1EEC413D-E059-4C7D-8C6E-3A2E8DC1D678}"/>
                </a:ext>
              </a:extLst>
            </p:cNvPr>
            <p:cNvSpPr/>
            <p:nvPr/>
          </p:nvSpPr>
          <p:spPr bwMode="gray">
            <a:xfrm rot="16200000">
              <a:off x="5836580" y="3681912"/>
              <a:ext cx="1073302" cy="543334"/>
            </a:xfrm>
            <a:prstGeom prst="parallelogram">
              <a:avLst>
                <a:gd name="adj" fmla="val 100728"/>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9" name="Parallelogram 48">
              <a:extLst>
                <a:ext uri="{FF2B5EF4-FFF2-40B4-BE49-F238E27FC236}">
                  <a16:creationId xmlns:a16="http://schemas.microsoft.com/office/drawing/2014/main" id="{11482676-43CA-4527-B2E2-E17E379B75B6}"/>
                </a:ext>
              </a:extLst>
            </p:cNvPr>
            <p:cNvSpPr/>
            <p:nvPr/>
          </p:nvSpPr>
          <p:spPr bwMode="gray">
            <a:xfrm rot="16200000" flipV="1">
              <a:off x="5293247" y="3681912"/>
              <a:ext cx="1073302" cy="543334"/>
            </a:xfrm>
            <a:prstGeom prst="parallelogram">
              <a:avLst>
                <a:gd name="adj" fmla="val 100728"/>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 name="Diamond 49">
              <a:extLst>
                <a:ext uri="{FF2B5EF4-FFF2-40B4-BE49-F238E27FC236}">
                  <a16:creationId xmlns:a16="http://schemas.microsoft.com/office/drawing/2014/main" id="{6F815DA0-16F9-4DAF-8C85-501F26F5DFA0}"/>
                </a:ext>
              </a:extLst>
            </p:cNvPr>
            <p:cNvSpPr/>
            <p:nvPr/>
          </p:nvSpPr>
          <p:spPr bwMode="gray">
            <a:xfrm>
              <a:off x="5600538" y="1714500"/>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1" name="Diamond 50">
              <a:extLst>
                <a:ext uri="{FF2B5EF4-FFF2-40B4-BE49-F238E27FC236}">
                  <a16:creationId xmlns:a16="http://schemas.microsoft.com/office/drawing/2014/main" id="{DFE0A2A9-66EF-42B4-8DC9-6E09979AE42C}"/>
                </a:ext>
              </a:extLst>
            </p:cNvPr>
            <p:cNvSpPr/>
            <p:nvPr/>
          </p:nvSpPr>
          <p:spPr bwMode="gray">
            <a:xfrm>
              <a:off x="5600538" y="4031513"/>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2" name="Diamond 51">
              <a:extLst>
                <a:ext uri="{FF2B5EF4-FFF2-40B4-BE49-F238E27FC236}">
                  <a16:creationId xmlns:a16="http://schemas.microsoft.com/office/drawing/2014/main" id="{C99776B8-CFF0-40C2-A768-93A80356B7F6}"/>
                </a:ext>
              </a:extLst>
            </p:cNvPr>
            <p:cNvSpPr/>
            <p:nvPr/>
          </p:nvSpPr>
          <p:spPr bwMode="gray">
            <a:xfrm>
              <a:off x="4476015"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3" name="Diamond 52">
              <a:extLst>
                <a:ext uri="{FF2B5EF4-FFF2-40B4-BE49-F238E27FC236}">
                  <a16:creationId xmlns:a16="http://schemas.microsoft.com/office/drawing/2014/main" id="{68275AC2-890D-4136-A15C-2D0958DF9EDB}"/>
                </a:ext>
              </a:extLst>
            </p:cNvPr>
            <p:cNvSpPr/>
            <p:nvPr/>
          </p:nvSpPr>
          <p:spPr bwMode="gray">
            <a:xfrm>
              <a:off x="6713934" y="2873591"/>
              <a:ext cx="1002051" cy="1002051"/>
            </a:xfrm>
            <a:prstGeom prst="diamond">
              <a:avLst/>
            </a:prstGeom>
            <a:solidFill>
              <a:srgbClr val="D0D0CE"/>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4" name="Rectangle 53">
              <a:extLst>
                <a:ext uri="{FF2B5EF4-FFF2-40B4-BE49-F238E27FC236}">
                  <a16:creationId xmlns:a16="http://schemas.microsoft.com/office/drawing/2014/main" id="{197B5BA5-11C3-4F61-BE8A-C9D51C59C86F}"/>
                </a:ext>
              </a:extLst>
            </p:cNvPr>
            <p:cNvSpPr/>
            <p:nvPr/>
          </p:nvSpPr>
          <p:spPr bwMode="gray">
            <a:xfrm>
              <a:off x="5046078" y="2302376"/>
              <a:ext cx="414175" cy="414175"/>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5" name="Rectangle 54">
              <a:extLst>
                <a:ext uri="{FF2B5EF4-FFF2-40B4-BE49-F238E27FC236}">
                  <a16:creationId xmlns:a16="http://schemas.microsoft.com/office/drawing/2014/main" id="{FB4EE747-E9F7-40ED-BF08-C3B08898DDD3}"/>
                </a:ext>
              </a:extLst>
            </p:cNvPr>
            <p:cNvSpPr/>
            <p:nvPr/>
          </p:nvSpPr>
          <p:spPr bwMode="gray">
            <a:xfrm>
              <a:off x="6735085" y="2302376"/>
              <a:ext cx="414175" cy="414175"/>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Rectangle 55">
              <a:extLst>
                <a:ext uri="{FF2B5EF4-FFF2-40B4-BE49-F238E27FC236}">
                  <a16:creationId xmlns:a16="http://schemas.microsoft.com/office/drawing/2014/main" id="{EC5D5A02-B1F0-413E-88CF-EA433648CA86}"/>
                </a:ext>
              </a:extLst>
            </p:cNvPr>
            <p:cNvSpPr/>
            <p:nvPr/>
          </p:nvSpPr>
          <p:spPr bwMode="gray">
            <a:xfrm>
              <a:off x="6735085" y="3997001"/>
              <a:ext cx="414175" cy="414175"/>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7" name="Rectangle 56">
              <a:extLst>
                <a:ext uri="{FF2B5EF4-FFF2-40B4-BE49-F238E27FC236}">
                  <a16:creationId xmlns:a16="http://schemas.microsoft.com/office/drawing/2014/main" id="{84A7FEC3-51CA-4A09-86A0-0DA7ECFC67F0}"/>
                </a:ext>
              </a:extLst>
            </p:cNvPr>
            <p:cNvSpPr/>
            <p:nvPr/>
          </p:nvSpPr>
          <p:spPr bwMode="gray">
            <a:xfrm>
              <a:off x="5046076" y="3997001"/>
              <a:ext cx="414175" cy="414175"/>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grpSp>
          <p:nvGrpSpPr>
            <p:cNvPr id="58" name="Group 432">
              <a:extLst>
                <a:ext uri="{FF2B5EF4-FFF2-40B4-BE49-F238E27FC236}">
                  <a16:creationId xmlns:a16="http://schemas.microsoft.com/office/drawing/2014/main" id="{F2D2E721-3EAB-47E2-B22D-7948DAD9674F}"/>
                </a:ext>
              </a:extLst>
            </p:cNvPr>
            <p:cNvGrpSpPr>
              <a:grpSpLocks noChangeAspect="1"/>
            </p:cNvGrpSpPr>
            <p:nvPr/>
          </p:nvGrpSpPr>
          <p:grpSpPr bwMode="auto">
            <a:xfrm>
              <a:off x="5921056" y="2032812"/>
              <a:ext cx="369676" cy="370763"/>
              <a:chOff x="3505" y="1546"/>
              <a:chExt cx="340" cy="341"/>
            </a:xfrm>
            <a:solidFill>
              <a:schemeClr val="tx1"/>
            </a:solidFill>
          </p:grpSpPr>
          <p:sp>
            <p:nvSpPr>
              <p:cNvPr id="59" name="Freeform 433">
                <a:extLst>
                  <a:ext uri="{FF2B5EF4-FFF2-40B4-BE49-F238E27FC236}">
                    <a16:creationId xmlns:a16="http://schemas.microsoft.com/office/drawing/2014/main" id="{7BEBB46E-1AE5-4F32-A8F5-D8242339AB2D}"/>
                  </a:ext>
                </a:extLst>
              </p:cNvPr>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434">
                <a:extLst>
                  <a:ext uri="{FF2B5EF4-FFF2-40B4-BE49-F238E27FC236}">
                    <a16:creationId xmlns:a16="http://schemas.microsoft.com/office/drawing/2014/main" id="{3A0807B8-114C-435A-99AC-CE103DF1D2FB}"/>
                  </a:ext>
                </a:extLst>
              </p:cNvPr>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6" name="Group 531">
              <a:extLst>
                <a:ext uri="{FF2B5EF4-FFF2-40B4-BE49-F238E27FC236}">
                  <a16:creationId xmlns:a16="http://schemas.microsoft.com/office/drawing/2014/main" id="{43F35F83-9DB1-4485-961D-1C9A38703683}"/>
                </a:ext>
              </a:extLst>
            </p:cNvPr>
            <p:cNvGrpSpPr>
              <a:grpSpLocks noChangeAspect="1"/>
            </p:cNvGrpSpPr>
            <p:nvPr/>
          </p:nvGrpSpPr>
          <p:grpSpPr bwMode="auto">
            <a:xfrm>
              <a:off x="4796482" y="3195339"/>
              <a:ext cx="367631" cy="367631"/>
              <a:chOff x="4216" y="2000"/>
              <a:chExt cx="340" cy="340"/>
            </a:xfrm>
            <a:solidFill>
              <a:schemeClr val="tx1"/>
            </a:solidFill>
          </p:grpSpPr>
          <p:sp>
            <p:nvSpPr>
              <p:cNvPr id="97" name="Freeform 532">
                <a:extLst>
                  <a:ext uri="{FF2B5EF4-FFF2-40B4-BE49-F238E27FC236}">
                    <a16:creationId xmlns:a16="http://schemas.microsoft.com/office/drawing/2014/main" id="{3D1A8474-777B-45CA-BE5B-E3E940EF9EBB}"/>
                  </a:ext>
                </a:extLst>
              </p:cNvPr>
              <p:cNvSpPr>
                <a:spLocks noEditPoints="1"/>
              </p:cNvSpPr>
              <p:nvPr/>
            </p:nvSpPr>
            <p:spPr bwMode="auto">
              <a:xfrm>
                <a:off x="4216" y="2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533">
                <a:extLst>
                  <a:ext uri="{FF2B5EF4-FFF2-40B4-BE49-F238E27FC236}">
                    <a16:creationId xmlns:a16="http://schemas.microsoft.com/office/drawing/2014/main" id="{62360587-C7F9-4B2E-ACFF-5E34E0DEB7D4}"/>
                  </a:ext>
                </a:extLst>
              </p:cNvPr>
              <p:cNvSpPr>
                <a:spLocks noEditPoints="1"/>
              </p:cNvSpPr>
              <p:nvPr/>
            </p:nvSpPr>
            <p:spPr bwMode="auto">
              <a:xfrm>
                <a:off x="4286" y="2064"/>
                <a:ext cx="178" cy="212"/>
              </a:xfrm>
              <a:custGeom>
                <a:avLst/>
                <a:gdLst>
                  <a:gd name="T0" fmla="*/ 267 w 267"/>
                  <a:gd name="T1" fmla="*/ 10 h 320"/>
                  <a:gd name="T2" fmla="*/ 267 w 267"/>
                  <a:gd name="T3" fmla="*/ 309 h 320"/>
                  <a:gd name="T4" fmla="*/ 256 w 267"/>
                  <a:gd name="T5" fmla="*/ 320 h 320"/>
                  <a:gd name="T6" fmla="*/ 96 w 267"/>
                  <a:gd name="T7" fmla="*/ 320 h 320"/>
                  <a:gd name="T8" fmla="*/ 86 w 267"/>
                  <a:gd name="T9" fmla="*/ 309 h 320"/>
                  <a:gd name="T10" fmla="*/ 86 w 267"/>
                  <a:gd name="T11" fmla="*/ 213 h 320"/>
                  <a:gd name="T12" fmla="*/ 96 w 267"/>
                  <a:gd name="T13" fmla="*/ 202 h 320"/>
                  <a:gd name="T14" fmla="*/ 107 w 267"/>
                  <a:gd name="T15" fmla="*/ 213 h 320"/>
                  <a:gd name="T16" fmla="*/ 107 w 267"/>
                  <a:gd name="T17" fmla="*/ 298 h 320"/>
                  <a:gd name="T18" fmla="*/ 246 w 267"/>
                  <a:gd name="T19" fmla="*/ 298 h 320"/>
                  <a:gd name="T20" fmla="*/ 246 w 267"/>
                  <a:gd name="T21" fmla="*/ 21 h 320"/>
                  <a:gd name="T22" fmla="*/ 107 w 267"/>
                  <a:gd name="T23" fmla="*/ 21 h 320"/>
                  <a:gd name="T24" fmla="*/ 107 w 267"/>
                  <a:gd name="T25" fmla="*/ 106 h 320"/>
                  <a:gd name="T26" fmla="*/ 96 w 267"/>
                  <a:gd name="T27" fmla="*/ 117 h 320"/>
                  <a:gd name="T28" fmla="*/ 86 w 267"/>
                  <a:gd name="T29" fmla="*/ 106 h 320"/>
                  <a:gd name="T30" fmla="*/ 86 w 267"/>
                  <a:gd name="T31" fmla="*/ 10 h 320"/>
                  <a:gd name="T32" fmla="*/ 96 w 267"/>
                  <a:gd name="T33" fmla="*/ 0 h 320"/>
                  <a:gd name="T34" fmla="*/ 256 w 267"/>
                  <a:gd name="T35" fmla="*/ 0 h 320"/>
                  <a:gd name="T36" fmla="*/ 267 w 267"/>
                  <a:gd name="T37" fmla="*/ 10 h 320"/>
                  <a:gd name="T38" fmla="*/ 142 w 267"/>
                  <a:gd name="T39" fmla="*/ 195 h 320"/>
                  <a:gd name="T40" fmla="*/ 142 w 267"/>
                  <a:gd name="T41" fmla="*/ 210 h 320"/>
                  <a:gd name="T42" fmla="*/ 150 w 267"/>
                  <a:gd name="T43" fmla="*/ 213 h 320"/>
                  <a:gd name="T44" fmla="*/ 157 w 267"/>
                  <a:gd name="T45" fmla="*/ 210 h 320"/>
                  <a:gd name="T46" fmla="*/ 200 w 267"/>
                  <a:gd name="T47" fmla="*/ 167 h 320"/>
                  <a:gd name="T48" fmla="*/ 202 w 267"/>
                  <a:gd name="T49" fmla="*/ 164 h 320"/>
                  <a:gd name="T50" fmla="*/ 202 w 267"/>
                  <a:gd name="T51" fmla="*/ 156 h 320"/>
                  <a:gd name="T52" fmla="*/ 200 w 267"/>
                  <a:gd name="T53" fmla="*/ 152 h 320"/>
                  <a:gd name="T54" fmla="*/ 157 w 267"/>
                  <a:gd name="T55" fmla="*/ 109 h 320"/>
                  <a:gd name="T56" fmla="*/ 142 w 267"/>
                  <a:gd name="T57" fmla="*/ 109 h 320"/>
                  <a:gd name="T58" fmla="*/ 142 w 267"/>
                  <a:gd name="T59" fmla="*/ 125 h 320"/>
                  <a:gd name="T60" fmla="*/ 167 w 267"/>
                  <a:gd name="T61" fmla="*/ 149 h 320"/>
                  <a:gd name="T62" fmla="*/ 11 w 267"/>
                  <a:gd name="T63" fmla="*/ 149 h 320"/>
                  <a:gd name="T64" fmla="*/ 0 w 267"/>
                  <a:gd name="T65" fmla="*/ 160 h 320"/>
                  <a:gd name="T66" fmla="*/ 11 w 267"/>
                  <a:gd name="T67" fmla="*/ 170 h 320"/>
                  <a:gd name="T68" fmla="*/ 167 w 267"/>
                  <a:gd name="T69" fmla="*/ 170 h 320"/>
                  <a:gd name="T70" fmla="*/ 142 w 267"/>
                  <a:gd name="T71" fmla="*/ 19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7" h="320">
                    <a:moveTo>
                      <a:pt x="267" y="10"/>
                    </a:moveTo>
                    <a:cubicBezTo>
                      <a:pt x="267" y="309"/>
                      <a:pt x="267" y="309"/>
                      <a:pt x="267" y="309"/>
                    </a:cubicBezTo>
                    <a:cubicBezTo>
                      <a:pt x="267" y="315"/>
                      <a:pt x="262" y="320"/>
                      <a:pt x="256" y="320"/>
                    </a:cubicBezTo>
                    <a:cubicBezTo>
                      <a:pt x="96" y="320"/>
                      <a:pt x="96" y="320"/>
                      <a:pt x="96" y="320"/>
                    </a:cubicBezTo>
                    <a:cubicBezTo>
                      <a:pt x="90" y="320"/>
                      <a:pt x="86" y="315"/>
                      <a:pt x="86" y="309"/>
                    </a:cubicBezTo>
                    <a:cubicBezTo>
                      <a:pt x="86" y="213"/>
                      <a:pt x="86" y="213"/>
                      <a:pt x="86" y="213"/>
                    </a:cubicBezTo>
                    <a:cubicBezTo>
                      <a:pt x="86" y="207"/>
                      <a:pt x="90" y="202"/>
                      <a:pt x="96" y="202"/>
                    </a:cubicBezTo>
                    <a:cubicBezTo>
                      <a:pt x="102" y="202"/>
                      <a:pt x="107" y="207"/>
                      <a:pt x="107" y="213"/>
                    </a:cubicBezTo>
                    <a:cubicBezTo>
                      <a:pt x="107" y="298"/>
                      <a:pt x="107" y="298"/>
                      <a:pt x="107" y="298"/>
                    </a:cubicBezTo>
                    <a:cubicBezTo>
                      <a:pt x="246" y="298"/>
                      <a:pt x="246" y="298"/>
                      <a:pt x="246" y="298"/>
                    </a:cubicBezTo>
                    <a:cubicBezTo>
                      <a:pt x="246" y="21"/>
                      <a:pt x="246" y="21"/>
                      <a:pt x="246" y="21"/>
                    </a:cubicBezTo>
                    <a:cubicBezTo>
                      <a:pt x="107" y="21"/>
                      <a:pt x="107" y="21"/>
                      <a:pt x="107" y="21"/>
                    </a:cubicBezTo>
                    <a:cubicBezTo>
                      <a:pt x="107" y="106"/>
                      <a:pt x="107" y="106"/>
                      <a:pt x="107" y="106"/>
                    </a:cubicBezTo>
                    <a:cubicBezTo>
                      <a:pt x="107" y="112"/>
                      <a:pt x="102" y="117"/>
                      <a:pt x="96" y="117"/>
                    </a:cubicBezTo>
                    <a:cubicBezTo>
                      <a:pt x="90" y="117"/>
                      <a:pt x="86" y="112"/>
                      <a:pt x="86" y="106"/>
                    </a:cubicBezTo>
                    <a:cubicBezTo>
                      <a:pt x="86" y="10"/>
                      <a:pt x="86" y="10"/>
                      <a:pt x="86" y="10"/>
                    </a:cubicBezTo>
                    <a:cubicBezTo>
                      <a:pt x="86" y="4"/>
                      <a:pt x="90" y="0"/>
                      <a:pt x="96" y="0"/>
                    </a:cubicBezTo>
                    <a:cubicBezTo>
                      <a:pt x="256" y="0"/>
                      <a:pt x="256" y="0"/>
                      <a:pt x="256" y="0"/>
                    </a:cubicBezTo>
                    <a:cubicBezTo>
                      <a:pt x="262" y="0"/>
                      <a:pt x="267" y="4"/>
                      <a:pt x="267" y="10"/>
                    </a:cubicBezTo>
                    <a:close/>
                    <a:moveTo>
                      <a:pt x="142" y="195"/>
                    </a:moveTo>
                    <a:cubicBezTo>
                      <a:pt x="138" y="199"/>
                      <a:pt x="138" y="206"/>
                      <a:pt x="142" y="210"/>
                    </a:cubicBezTo>
                    <a:cubicBezTo>
                      <a:pt x="144" y="212"/>
                      <a:pt x="147" y="213"/>
                      <a:pt x="150" y="213"/>
                    </a:cubicBezTo>
                    <a:cubicBezTo>
                      <a:pt x="152" y="213"/>
                      <a:pt x="155" y="212"/>
                      <a:pt x="157" y="210"/>
                    </a:cubicBezTo>
                    <a:cubicBezTo>
                      <a:pt x="200" y="167"/>
                      <a:pt x="200" y="167"/>
                      <a:pt x="200" y="167"/>
                    </a:cubicBezTo>
                    <a:cubicBezTo>
                      <a:pt x="201" y="166"/>
                      <a:pt x="202" y="165"/>
                      <a:pt x="202" y="164"/>
                    </a:cubicBezTo>
                    <a:cubicBezTo>
                      <a:pt x="203" y="161"/>
                      <a:pt x="203" y="158"/>
                      <a:pt x="202" y="156"/>
                    </a:cubicBezTo>
                    <a:cubicBezTo>
                      <a:pt x="202" y="154"/>
                      <a:pt x="201" y="153"/>
                      <a:pt x="200" y="152"/>
                    </a:cubicBezTo>
                    <a:cubicBezTo>
                      <a:pt x="157" y="109"/>
                      <a:pt x="157" y="109"/>
                      <a:pt x="157" y="109"/>
                    </a:cubicBezTo>
                    <a:cubicBezTo>
                      <a:pt x="153" y="105"/>
                      <a:pt x="146" y="105"/>
                      <a:pt x="142" y="109"/>
                    </a:cubicBezTo>
                    <a:cubicBezTo>
                      <a:pt x="138" y="114"/>
                      <a:pt x="138" y="120"/>
                      <a:pt x="142" y="125"/>
                    </a:cubicBezTo>
                    <a:cubicBezTo>
                      <a:pt x="167" y="149"/>
                      <a:pt x="167" y="149"/>
                      <a:pt x="167" y="149"/>
                    </a:cubicBezTo>
                    <a:cubicBezTo>
                      <a:pt x="11" y="149"/>
                      <a:pt x="11" y="149"/>
                      <a:pt x="11" y="149"/>
                    </a:cubicBezTo>
                    <a:cubicBezTo>
                      <a:pt x="5" y="149"/>
                      <a:pt x="0" y="154"/>
                      <a:pt x="0" y="160"/>
                    </a:cubicBezTo>
                    <a:cubicBezTo>
                      <a:pt x="0" y="166"/>
                      <a:pt x="5" y="170"/>
                      <a:pt x="11" y="170"/>
                    </a:cubicBezTo>
                    <a:cubicBezTo>
                      <a:pt x="167" y="170"/>
                      <a:pt x="167" y="170"/>
                      <a:pt x="167" y="170"/>
                    </a:cubicBezTo>
                    <a:lnTo>
                      <a:pt x="142"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9" name="Group 325">
              <a:extLst>
                <a:ext uri="{FF2B5EF4-FFF2-40B4-BE49-F238E27FC236}">
                  <a16:creationId xmlns:a16="http://schemas.microsoft.com/office/drawing/2014/main" id="{1DBB32EE-987A-49D2-A155-76CF4CBFEE20}"/>
                </a:ext>
              </a:extLst>
            </p:cNvPr>
            <p:cNvGrpSpPr>
              <a:grpSpLocks noChangeAspect="1"/>
            </p:cNvGrpSpPr>
            <p:nvPr/>
          </p:nvGrpSpPr>
          <p:grpSpPr bwMode="auto">
            <a:xfrm>
              <a:off x="5921056" y="4347154"/>
              <a:ext cx="369676" cy="370763"/>
              <a:chOff x="5044" y="1157"/>
              <a:chExt cx="340" cy="341"/>
            </a:xfrm>
            <a:solidFill>
              <a:schemeClr val="tx1"/>
            </a:solidFill>
          </p:grpSpPr>
          <p:sp>
            <p:nvSpPr>
              <p:cNvPr id="100" name="Freeform 326">
                <a:extLst>
                  <a:ext uri="{FF2B5EF4-FFF2-40B4-BE49-F238E27FC236}">
                    <a16:creationId xmlns:a16="http://schemas.microsoft.com/office/drawing/2014/main" id="{017783CD-50D4-4A63-BDF9-C5B7FBABEC00}"/>
                  </a:ext>
                </a:extLst>
              </p:cNvPr>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327">
                <a:extLst>
                  <a:ext uri="{FF2B5EF4-FFF2-40B4-BE49-F238E27FC236}">
                    <a16:creationId xmlns:a16="http://schemas.microsoft.com/office/drawing/2014/main" id="{5ACFB2E6-142D-4DA0-9D28-3DF948781CE5}"/>
                  </a:ext>
                </a:extLst>
              </p:cNvPr>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299">
              <a:extLst>
                <a:ext uri="{FF2B5EF4-FFF2-40B4-BE49-F238E27FC236}">
                  <a16:creationId xmlns:a16="http://schemas.microsoft.com/office/drawing/2014/main" id="{7F10843E-7EB4-4609-8354-814C8FBBE330}"/>
                </a:ext>
              </a:extLst>
            </p:cNvPr>
            <p:cNvGrpSpPr>
              <a:grpSpLocks noChangeAspect="1"/>
            </p:cNvGrpSpPr>
            <p:nvPr/>
          </p:nvGrpSpPr>
          <p:grpSpPr bwMode="auto">
            <a:xfrm>
              <a:off x="7030600" y="3195339"/>
              <a:ext cx="368713" cy="367631"/>
              <a:chOff x="1166" y="1121"/>
              <a:chExt cx="341" cy="340"/>
            </a:xfrm>
            <a:solidFill>
              <a:schemeClr val="tx1"/>
            </a:solidFill>
          </p:grpSpPr>
          <p:sp>
            <p:nvSpPr>
              <p:cNvPr id="103" name="Freeform 300">
                <a:extLst>
                  <a:ext uri="{FF2B5EF4-FFF2-40B4-BE49-F238E27FC236}">
                    <a16:creationId xmlns:a16="http://schemas.microsoft.com/office/drawing/2014/main" id="{8E4A3C65-63FD-4B68-8F6D-F65B12DBEDBC}"/>
                  </a:ext>
                </a:extLst>
              </p:cNvPr>
              <p:cNvSpPr>
                <a:spLocks noEditPoints="1"/>
              </p:cNvSpPr>
              <p:nvPr/>
            </p:nvSpPr>
            <p:spPr bwMode="auto">
              <a:xfrm>
                <a:off x="1230" y="1213"/>
                <a:ext cx="213" cy="170"/>
              </a:xfrm>
              <a:custGeom>
                <a:avLst/>
                <a:gdLst>
                  <a:gd name="T0" fmla="*/ 309 w 320"/>
                  <a:gd name="T1" fmla="*/ 0 h 256"/>
                  <a:gd name="T2" fmla="*/ 10 w 320"/>
                  <a:gd name="T3" fmla="*/ 0 h 256"/>
                  <a:gd name="T4" fmla="*/ 0 w 320"/>
                  <a:gd name="T5" fmla="*/ 11 h 256"/>
                  <a:gd name="T6" fmla="*/ 0 w 320"/>
                  <a:gd name="T7" fmla="*/ 203 h 256"/>
                  <a:gd name="T8" fmla="*/ 10 w 320"/>
                  <a:gd name="T9" fmla="*/ 214 h 256"/>
                  <a:gd name="T10" fmla="*/ 149 w 320"/>
                  <a:gd name="T11" fmla="*/ 214 h 256"/>
                  <a:gd name="T12" fmla="*/ 149 w 320"/>
                  <a:gd name="T13" fmla="*/ 235 h 256"/>
                  <a:gd name="T14" fmla="*/ 106 w 320"/>
                  <a:gd name="T15" fmla="*/ 235 h 256"/>
                  <a:gd name="T16" fmla="*/ 96 w 320"/>
                  <a:gd name="T17" fmla="*/ 246 h 256"/>
                  <a:gd name="T18" fmla="*/ 106 w 320"/>
                  <a:gd name="T19" fmla="*/ 256 h 256"/>
                  <a:gd name="T20" fmla="*/ 213 w 320"/>
                  <a:gd name="T21" fmla="*/ 256 h 256"/>
                  <a:gd name="T22" fmla="*/ 224 w 320"/>
                  <a:gd name="T23" fmla="*/ 246 h 256"/>
                  <a:gd name="T24" fmla="*/ 213 w 320"/>
                  <a:gd name="T25" fmla="*/ 235 h 256"/>
                  <a:gd name="T26" fmla="*/ 170 w 320"/>
                  <a:gd name="T27" fmla="*/ 235 h 256"/>
                  <a:gd name="T28" fmla="*/ 170 w 320"/>
                  <a:gd name="T29" fmla="*/ 214 h 256"/>
                  <a:gd name="T30" fmla="*/ 309 w 320"/>
                  <a:gd name="T31" fmla="*/ 214 h 256"/>
                  <a:gd name="T32" fmla="*/ 320 w 320"/>
                  <a:gd name="T33" fmla="*/ 203 h 256"/>
                  <a:gd name="T34" fmla="*/ 320 w 320"/>
                  <a:gd name="T35" fmla="*/ 11 h 256"/>
                  <a:gd name="T36" fmla="*/ 309 w 320"/>
                  <a:gd name="T37" fmla="*/ 0 h 256"/>
                  <a:gd name="T38" fmla="*/ 298 w 320"/>
                  <a:gd name="T39" fmla="*/ 192 h 256"/>
                  <a:gd name="T40" fmla="*/ 21 w 320"/>
                  <a:gd name="T41" fmla="*/ 192 h 256"/>
                  <a:gd name="T42" fmla="*/ 21 w 320"/>
                  <a:gd name="T43" fmla="*/ 22 h 256"/>
                  <a:gd name="T44" fmla="*/ 298 w 320"/>
                  <a:gd name="T45" fmla="*/ 22 h 256"/>
                  <a:gd name="T46" fmla="*/ 298 w 320"/>
                  <a:gd name="T47" fmla="*/ 1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0" h="256">
                    <a:moveTo>
                      <a:pt x="309" y="0"/>
                    </a:moveTo>
                    <a:cubicBezTo>
                      <a:pt x="10" y="0"/>
                      <a:pt x="10" y="0"/>
                      <a:pt x="10" y="0"/>
                    </a:cubicBezTo>
                    <a:cubicBezTo>
                      <a:pt x="4" y="0"/>
                      <a:pt x="0" y="5"/>
                      <a:pt x="0" y="11"/>
                    </a:cubicBezTo>
                    <a:cubicBezTo>
                      <a:pt x="0" y="203"/>
                      <a:pt x="0" y="203"/>
                      <a:pt x="0" y="203"/>
                    </a:cubicBezTo>
                    <a:cubicBezTo>
                      <a:pt x="0" y="209"/>
                      <a:pt x="4" y="214"/>
                      <a:pt x="10" y="214"/>
                    </a:cubicBezTo>
                    <a:cubicBezTo>
                      <a:pt x="149" y="214"/>
                      <a:pt x="149" y="214"/>
                      <a:pt x="149" y="214"/>
                    </a:cubicBezTo>
                    <a:cubicBezTo>
                      <a:pt x="149" y="235"/>
                      <a:pt x="149" y="235"/>
                      <a:pt x="149" y="235"/>
                    </a:cubicBezTo>
                    <a:cubicBezTo>
                      <a:pt x="106" y="235"/>
                      <a:pt x="106" y="235"/>
                      <a:pt x="106" y="235"/>
                    </a:cubicBezTo>
                    <a:cubicBezTo>
                      <a:pt x="100" y="235"/>
                      <a:pt x="96" y="240"/>
                      <a:pt x="96" y="246"/>
                    </a:cubicBezTo>
                    <a:cubicBezTo>
                      <a:pt x="96" y="252"/>
                      <a:pt x="100" y="256"/>
                      <a:pt x="106" y="256"/>
                    </a:cubicBezTo>
                    <a:cubicBezTo>
                      <a:pt x="213" y="256"/>
                      <a:pt x="213" y="256"/>
                      <a:pt x="213" y="256"/>
                    </a:cubicBezTo>
                    <a:cubicBezTo>
                      <a:pt x="219" y="256"/>
                      <a:pt x="224" y="252"/>
                      <a:pt x="224" y="246"/>
                    </a:cubicBezTo>
                    <a:cubicBezTo>
                      <a:pt x="224" y="240"/>
                      <a:pt x="219" y="235"/>
                      <a:pt x="213" y="235"/>
                    </a:cubicBezTo>
                    <a:cubicBezTo>
                      <a:pt x="170" y="235"/>
                      <a:pt x="170" y="235"/>
                      <a:pt x="170" y="235"/>
                    </a:cubicBezTo>
                    <a:cubicBezTo>
                      <a:pt x="170" y="214"/>
                      <a:pt x="170" y="214"/>
                      <a:pt x="170"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301">
                <a:extLst>
                  <a:ext uri="{FF2B5EF4-FFF2-40B4-BE49-F238E27FC236}">
                    <a16:creationId xmlns:a16="http://schemas.microsoft.com/office/drawing/2014/main" id="{B24CE308-9E5F-430C-B3BA-EA7339C907FC}"/>
                  </a:ext>
                </a:extLst>
              </p:cNvPr>
              <p:cNvSpPr>
                <a:spLocks noEditPoints="1"/>
              </p:cNvSpPr>
              <p:nvPr/>
            </p:nvSpPr>
            <p:spPr bwMode="auto">
              <a:xfrm>
                <a:off x="1166" y="11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36" name="Content Placeholder 2">
            <a:extLst>
              <a:ext uri="{FF2B5EF4-FFF2-40B4-BE49-F238E27FC236}">
                <a16:creationId xmlns:a16="http://schemas.microsoft.com/office/drawing/2014/main" id="{09DF4516-4811-4FE3-B4D2-B2A7E2B6293E}"/>
              </a:ext>
            </a:extLst>
          </p:cNvPr>
          <p:cNvSpPr txBox="1">
            <a:spLocks/>
          </p:cNvSpPr>
          <p:nvPr/>
        </p:nvSpPr>
        <p:spPr>
          <a:xfrm>
            <a:off x="4497598" y="4856169"/>
            <a:ext cx="3751262" cy="15795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51" b="1" u="sng" dirty="0">
                <a:solidFill>
                  <a:srgbClr val="43B02A"/>
                </a:solidFill>
                <a:latin typeface="Verdana" panose="020B0604030504040204" pitchFamily="34" charset="0"/>
                <a:ea typeface="Verdana" panose="020B0604030504040204" pitchFamily="34" charset="0"/>
              </a:rPr>
              <a:t>Tratamiento como Empresa Cumplida</a:t>
            </a:r>
          </a:p>
          <a:p>
            <a:r>
              <a:rPr lang="es-MX" sz="1251" dirty="0">
                <a:latin typeface="Verdana" panose="020B0604030504040204" pitchFamily="34" charset="0"/>
                <a:ea typeface="Verdana" panose="020B0604030504040204" pitchFamily="34" charset="0"/>
              </a:rPr>
              <a:t>Prioridad en atención de tramites y procesos ante las autoridades.</a:t>
            </a:r>
          </a:p>
          <a:p>
            <a:r>
              <a:rPr lang="es-MX" sz="1251" dirty="0">
                <a:latin typeface="Verdana" panose="020B0604030504040204" pitchFamily="34" charset="0"/>
                <a:ea typeface="Verdana" panose="020B0604030504040204" pitchFamily="34" charset="0"/>
              </a:rPr>
              <a:t>Evitar suspensiones,  penalizaciones y el inicio de procedimientos de cancelación en sus autorizaciones, permitiendo la autocorrección.</a:t>
            </a:r>
          </a:p>
        </p:txBody>
      </p:sp>
      <p:sp>
        <p:nvSpPr>
          <p:cNvPr id="37" name="Rectangle 36">
            <a:extLst>
              <a:ext uri="{FF2B5EF4-FFF2-40B4-BE49-F238E27FC236}">
                <a16:creationId xmlns:a16="http://schemas.microsoft.com/office/drawing/2014/main" id="{4773B686-76AA-4E72-BBBF-922CD08F7789}"/>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93241249-11AA-40E8-B7BB-92778217BF0A}"/>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346485697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5367175"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Elementos y criterios de revisión</a:t>
            </a:r>
          </a:p>
        </p:txBody>
      </p:sp>
      <p:grpSp>
        <p:nvGrpSpPr>
          <p:cNvPr id="2" name="Group 1">
            <a:extLst>
              <a:ext uri="{FF2B5EF4-FFF2-40B4-BE49-F238E27FC236}">
                <a16:creationId xmlns:a16="http://schemas.microsoft.com/office/drawing/2014/main" id="{EA2C4CF5-9617-47AC-9975-94262C0DA9D4}"/>
              </a:ext>
            </a:extLst>
          </p:cNvPr>
          <p:cNvGrpSpPr/>
          <p:nvPr/>
        </p:nvGrpSpPr>
        <p:grpSpPr>
          <a:xfrm>
            <a:off x="326438" y="1078601"/>
            <a:ext cx="11598415" cy="5191331"/>
            <a:chOff x="314863" y="1113326"/>
            <a:chExt cx="11598415" cy="5191331"/>
          </a:xfrm>
        </p:grpSpPr>
        <p:sp>
          <p:nvSpPr>
            <p:cNvPr id="37" name="Oval 2">
              <a:extLst>
                <a:ext uri="{FF2B5EF4-FFF2-40B4-BE49-F238E27FC236}">
                  <a16:creationId xmlns:a16="http://schemas.microsoft.com/office/drawing/2014/main" id="{DA10B37B-B5A3-4758-B358-96ED8C4D7878}"/>
                </a:ext>
              </a:extLst>
            </p:cNvPr>
            <p:cNvSpPr/>
            <p:nvPr/>
          </p:nvSpPr>
          <p:spPr>
            <a:xfrm rot="18199285">
              <a:off x="323614" y="2134262"/>
              <a:ext cx="3049785" cy="3067288"/>
            </a:xfrm>
            <a:prstGeom prst="ellipse">
              <a:avLst/>
            </a:prstGeom>
            <a:solidFill>
              <a:schemeClr val="bg1"/>
            </a:solidFill>
            <a:ln w="76200" cmpd="dbl">
              <a:solidFill>
                <a:srgbClr val="92D05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61" name="Freeform 611">
              <a:extLst>
                <a:ext uri="{FF2B5EF4-FFF2-40B4-BE49-F238E27FC236}">
                  <a16:creationId xmlns:a16="http://schemas.microsoft.com/office/drawing/2014/main" id="{2CB6200C-FD5D-4EF9-AFA2-E8493EA36B72}"/>
                </a:ext>
              </a:extLst>
            </p:cNvPr>
            <p:cNvSpPr>
              <a:spLocks noChangeAspect="1" noEditPoints="1"/>
            </p:cNvSpPr>
            <p:nvPr/>
          </p:nvSpPr>
          <p:spPr bwMode="auto">
            <a:xfrm>
              <a:off x="1444755" y="2239122"/>
              <a:ext cx="861234" cy="86122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72477" tIns="36238" rIns="72477" bIns="36238" numCol="1" anchor="t" anchorCtr="0" compatLnSpc="1">
              <a:prstTxWarp prst="textNoShape">
                <a:avLst/>
              </a:prstTxWarp>
            </a:bodyPr>
            <a:lstStyle/>
            <a:p>
              <a:endParaRPr lang="en-GB" sz="1427" dirty="0"/>
            </a:p>
          </p:txBody>
        </p:sp>
        <p:sp>
          <p:nvSpPr>
            <p:cNvPr id="62" name="Oval 3">
              <a:extLst>
                <a:ext uri="{FF2B5EF4-FFF2-40B4-BE49-F238E27FC236}">
                  <a16:creationId xmlns:a16="http://schemas.microsoft.com/office/drawing/2014/main" id="{28C38481-52CD-4463-97AF-325CE2A300A3}"/>
                </a:ext>
              </a:extLst>
            </p:cNvPr>
            <p:cNvSpPr/>
            <p:nvPr/>
          </p:nvSpPr>
          <p:spPr>
            <a:xfrm>
              <a:off x="2450711" y="1561008"/>
              <a:ext cx="1158413" cy="1165060"/>
            </a:xfrm>
            <a:prstGeom prst="ellipse">
              <a:avLst/>
            </a:prstGeom>
            <a:solidFill>
              <a:srgbClr val="86BC25"/>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dirty="0">
                <a:solidFill>
                  <a:schemeClr val="bg1"/>
                </a:solidFill>
                <a:latin typeface="+mj-lt"/>
              </a:endParaRPr>
            </a:p>
          </p:txBody>
        </p:sp>
        <p:sp>
          <p:nvSpPr>
            <p:cNvPr id="63" name="Oval 4">
              <a:extLst>
                <a:ext uri="{FF2B5EF4-FFF2-40B4-BE49-F238E27FC236}">
                  <a16:creationId xmlns:a16="http://schemas.microsoft.com/office/drawing/2014/main" id="{EA3A4D20-D021-4E6E-BFE5-320BFC734A4A}"/>
                </a:ext>
              </a:extLst>
            </p:cNvPr>
            <p:cNvSpPr/>
            <p:nvPr/>
          </p:nvSpPr>
          <p:spPr>
            <a:xfrm>
              <a:off x="3125216" y="2820129"/>
              <a:ext cx="1053102" cy="1059146"/>
            </a:xfrm>
            <a:prstGeom prst="ellipse">
              <a:avLst/>
            </a:prstGeom>
            <a:solidFill>
              <a:srgbClr val="009A44"/>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64" name="Oval 5">
              <a:extLst>
                <a:ext uri="{FF2B5EF4-FFF2-40B4-BE49-F238E27FC236}">
                  <a16:creationId xmlns:a16="http://schemas.microsoft.com/office/drawing/2014/main" id="{CD17E605-D788-4213-B51E-D0E1D2AC68E4}"/>
                </a:ext>
              </a:extLst>
            </p:cNvPr>
            <p:cNvSpPr/>
            <p:nvPr/>
          </p:nvSpPr>
          <p:spPr>
            <a:xfrm>
              <a:off x="2922069" y="4168773"/>
              <a:ext cx="946452" cy="951883"/>
            </a:xfrm>
            <a:prstGeom prst="ellipse">
              <a:avLst/>
            </a:prstGeom>
            <a:solidFill>
              <a:srgbClr val="43B02A"/>
            </a:solidFill>
            <a:ln w="28575">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bg1"/>
                </a:solidFill>
                <a:latin typeface="+mj-lt"/>
              </a:endParaRPr>
            </a:p>
          </p:txBody>
        </p:sp>
        <p:sp>
          <p:nvSpPr>
            <p:cNvPr id="65" name="Text Box 10">
              <a:extLst>
                <a:ext uri="{FF2B5EF4-FFF2-40B4-BE49-F238E27FC236}">
                  <a16:creationId xmlns:a16="http://schemas.microsoft.com/office/drawing/2014/main" id="{15BDDAE6-0B7C-49B9-8B61-3969780C472A}"/>
                </a:ext>
              </a:extLst>
            </p:cNvPr>
            <p:cNvSpPr txBox="1">
              <a:spLocks noChangeArrowheads="1"/>
            </p:cNvSpPr>
            <p:nvPr/>
          </p:nvSpPr>
          <p:spPr bwMode="auto">
            <a:xfrm>
              <a:off x="4259668" y="1113326"/>
              <a:ext cx="7653610" cy="1200329"/>
            </a:xfrm>
            <a:prstGeom prst="rect">
              <a:avLst/>
            </a:prstGeom>
            <a:noFill/>
            <a:ln w="9525">
              <a:noFill/>
              <a:miter lim="800000"/>
              <a:headEnd/>
              <a:tailEnd/>
            </a:ln>
          </p:spPr>
          <p:txBody>
            <a:bodyPr wrap="square" lIns="45720" tIns="22860" rIns="45720" bIns="22860">
              <a:spAutoFit/>
            </a:bodyPr>
            <a:lstStyle/>
            <a:p>
              <a:pPr marL="342900" indent="-342900" algn="just" defTabSz="1088232">
                <a:buAutoNum type="arabicPeriod"/>
              </a:pPr>
              <a:r>
                <a:rPr lang="en-US" sz="1250" b="1" i="1" dirty="0">
                  <a:latin typeface="Verdana" panose="020B0604030504040204" pitchFamily="34" charset="0"/>
                  <a:ea typeface="Verdana" panose="020B0604030504040204" pitchFamily="34" charset="0"/>
                  <a:cs typeface="Open Sans" pitchFamily="34" charset="0"/>
                </a:rPr>
                <a:t>PERSPECTIVA DE CUMPLIMIENTO</a:t>
              </a:r>
            </a:p>
            <a:p>
              <a:pPr algn="just" defTabSz="1088232"/>
              <a:r>
                <a:rPr lang="es-MX" sz="1250" b="1" i="1" dirty="0">
                  <a:latin typeface="Verdana" panose="020B0604030504040204" pitchFamily="34" charset="0"/>
                  <a:ea typeface="Verdana" panose="020B0604030504040204" pitchFamily="34" charset="0"/>
                  <a:cs typeface="Open Sans" pitchFamily="34" charset="0"/>
                </a:rPr>
                <a:t>se enfoca en la implementación de un sistema de gestión de cumplimiento normativo a través de políticas, procesos y procedimientos adecuados para garantizar que la Compañía y quienes la conforman, cumplan con el marco normativo aplicable. Así como la identificación de situaciones de riesgo para la organización.</a:t>
              </a:r>
              <a:endParaRPr lang="en-US" sz="1250" b="1" i="1" dirty="0">
                <a:latin typeface="Verdana" panose="020B0604030504040204" pitchFamily="34" charset="0"/>
                <a:ea typeface="Verdana" panose="020B0604030504040204" pitchFamily="34" charset="0"/>
                <a:cs typeface="Open Sans" pitchFamily="34" charset="0"/>
              </a:endParaRPr>
            </a:p>
          </p:txBody>
        </p:sp>
        <p:sp>
          <p:nvSpPr>
            <p:cNvPr id="66" name="Rounded Rectangle 18">
              <a:extLst>
                <a:ext uri="{FF2B5EF4-FFF2-40B4-BE49-F238E27FC236}">
                  <a16:creationId xmlns:a16="http://schemas.microsoft.com/office/drawing/2014/main" id="{45D0B6E8-AF20-4B1C-897D-F370460293BB}"/>
                </a:ext>
              </a:extLst>
            </p:cNvPr>
            <p:cNvSpPr/>
            <p:nvPr/>
          </p:nvSpPr>
          <p:spPr>
            <a:xfrm>
              <a:off x="4259669" y="2438415"/>
              <a:ext cx="2441882" cy="3866242"/>
            </a:xfrm>
            <a:prstGeom prst="roundRect">
              <a:avLst>
                <a:gd name="adj" fmla="val 5186"/>
              </a:avLst>
            </a:prstGeom>
            <a:noFill/>
            <a:ln w="19050">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7" name="Text Box 10">
              <a:extLst>
                <a:ext uri="{FF2B5EF4-FFF2-40B4-BE49-F238E27FC236}">
                  <a16:creationId xmlns:a16="http://schemas.microsoft.com/office/drawing/2014/main" id="{EF588816-4BF8-4DC7-896D-E1AFE785C96E}"/>
                </a:ext>
              </a:extLst>
            </p:cNvPr>
            <p:cNvSpPr txBox="1">
              <a:spLocks noChangeArrowheads="1"/>
            </p:cNvSpPr>
            <p:nvPr/>
          </p:nvSpPr>
          <p:spPr bwMode="auto">
            <a:xfrm>
              <a:off x="4464813" y="3141919"/>
              <a:ext cx="2238440" cy="3123932"/>
            </a:xfrm>
            <a:prstGeom prst="rect">
              <a:avLst/>
            </a:prstGeom>
            <a:noFill/>
            <a:ln w="9525">
              <a:noFill/>
              <a:miter lim="800000"/>
              <a:headEnd/>
              <a:tailEnd/>
            </a:ln>
          </p:spPr>
          <p:txBody>
            <a:bodyPr wrap="square" lIns="45720" tIns="22860" rIns="45720" bIns="22860">
              <a:spAutoFit/>
            </a:bodyPr>
            <a:lstStyle/>
            <a:p>
              <a:pPr defTabSz="1088232"/>
              <a:r>
                <a:rPr lang="es-MX" sz="1250" b="1" dirty="0">
                  <a:solidFill>
                    <a:srgbClr val="046A38"/>
                  </a:solidFill>
                  <a:latin typeface="Verdana" panose="020B0604030504040204" pitchFamily="34" charset="0"/>
                  <a:ea typeface="Verdana" panose="020B0604030504040204" pitchFamily="34" charset="0"/>
                  <a:cs typeface="Open Sans" pitchFamily="34" charset="0"/>
                </a:rPr>
                <a:t>se enfoca en la implementación de un sistema de gestión de cumplimiento de políticas y procedimientos en temas de la materia:</a:t>
              </a:r>
            </a:p>
            <a:p>
              <a:pPr marL="285750" indent="-285750" defTabSz="1088232">
                <a:buFont typeface="Arial" panose="020B0604020202020204" pitchFamily="34" charset="0"/>
                <a:buChar char="•"/>
              </a:pPr>
              <a:r>
                <a:rPr lang="es-MX" sz="1250" b="1" dirty="0">
                  <a:solidFill>
                    <a:srgbClr val="046A38"/>
                  </a:solidFill>
                  <a:latin typeface="Verdana" panose="020B0604030504040204" pitchFamily="34" charset="0"/>
                  <a:ea typeface="Verdana" panose="020B0604030504040204" pitchFamily="34" charset="0"/>
                  <a:cs typeface="Open Sans" pitchFamily="34" charset="0"/>
                </a:rPr>
                <a:t>Clasificación Arancelaria.</a:t>
              </a:r>
            </a:p>
            <a:p>
              <a:pPr marL="285750" indent="-285750" defTabSz="1088232">
                <a:buFont typeface="Arial" panose="020B0604020202020204" pitchFamily="34" charset="0"/>
                <a:buChar char="•"/>
              </a:pPr>
              <a:r>
                <a:rPr lang="es-MX" sz="1250" b="1" dirty="0">
                  <a:solidFill>
                    <a:srgbClr val="046A38"/>
                  </a:solidFill>
                  <a:latin typeface="Verdana" panose="020B0604030504040204" pitchFamily="34" charset="0"/>
                  <a:ea typeface="Verdana" panose="020B0604030504040204" pitchFamily="34" charset="0"/>
                  <a:cs typeface="Open Sans" pitchFamily="34" charset="0"/>
                </a:rPr>
                <a:t>Valoración Aduanera.</a:t>
              </a:r>
            </a:p>
            <a:p>
              <a:pPr marL="285750" indent="-285750" defTabSz="1088232">
                <a:buFont typeface="Arial" panose="020B0604020202020204" pitchFamily="34" charset="0"/>
                <a:buChar char="•"/>
              </a:pPr>
              <a:r>
                <a:rPr lang="es-MX" sz="1250" b="1" dirty="0">
                  <a:solidFill>
                    <a:srgbClr val="046A38"/>
                  </a:solidFill>
                  <a:latin typeface="Verdana" panose="020B0604030504040204" pitchFamily="34" charset="0"/>
                  <a:ea typeface="Verdana" panose="020B0604030504040204" pitchFamily="34" charset="0"/>
                  <a:cs typeface="Open Sans" pitchFamily="34" charset="0"/>
                </a:rPr>
                <a:t>Certificación de Origen.</a:t>
              </a:r>
            </a:p>
            <a:p>
              <a:pPr marL="285750" indent="-285750" defTabSz="1088232">
                <a:buFont typeface="Arial" panose="020B0604020202020204" pitchFamily="34" charset="0"/>
                <a:buChar char="•"/>
              </a:pPr>
              <a:r>
                <a:rPr lang="es-MX" sz="1250" b="1" dirty="0">
                  <a:solidFill>
                    <a:srgbClr val="046A38"/>
                  </a:solidFill>
                  <a:latin typeface="Verdana" panose="020B0604030504040204" pitchFamily="34" charset="0"/>
                  <a:ea typeface="Verdana" panose="020B0604030504040204" pitchFamily="34" charset="0"/>
                  <a:cs typeface="Open Sans" pitchFamily="34" charset="0"/>
                </a:rPr>
                <a:t>Padrón de Importadores</a:t>
              </a:r>
            </a:p>
            <a:p>
              <a:pPr marL="285750" indent="-285750" defTabSz="1088232">
                <a:buFont typeface="Arial" panose="020B0604020202020204" pitchFamily="34" charset="0"/>
                <a:buChar char="•"/>
              </a:pPr>
              <a:r>
                <a:rPr lang="es-MX" sz="1250" b="1" dirty="0">
                  <a:solidFill>
                    <a:srgbClr val="046A38"/>
                  </a:solidFill>
                  <a:latin typeface="Verdana" panose="020B0604030504040204" pitchFamily="34" charset="0"/>
                  <a:ea typeface="Verdana" panose="020B0604030504040204" pitchFamily="34" charset="0"/>
                  <a:cs typeface="Open Sans" pitchFamily="34" charset="0"/>
                </a:rPr>
                <a:t>Entre otros</a:t>
              </a:r>
            </a:p>
          </p:txBody>
        </p:sp>
        <p:sp>
          <p:nvSpPr>
            <p:cNvPr id="69" name="Rectangle 22">
              <a:extLst>
                <a:ext uri="{FF2B5EF4-FFF2-40B4-BE49-F238E27FC236}">
                  <a16:creationId xmlns:a16="http://schemas.microsoft.com/office/drawing/2014/main" id="{78F413C0-43E2-4846-8B19-E86240123642}"/>
                </a:ext>
              </a:extLst>
            </p:cNvPr>
            <p:cNvSpPr/>
            <p:nvPr/>
          </p:nvSpPr>
          <p:spPr>
            <a:xfrm>
              <a:off x="4800256" y="2549979"/>
              <a:ext cx="1467330" cy="467535"/>
            </a:xfrm>
            <a:prstGeom prst="round1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250" b="1" dirty="0">
                  <a:latin typeface="Verdana" panose="020B0604030504040204" pitchFamily="34" charset="0"/>
                  <a:ea typeface="Verdana" panose="020B0604030504040204" pitchFamily="34" charset="0"/>
                  <a:cs typeface="Open Sans" pitchFamily="34" charset="0"/>
                </a:rPr>
                <a:t>2. Comercio Exterior</a:t>
              </a:r>
            </a:p>
          </p:txBody>
        </p:sp>
        <p:sp>
          <p:nvSpPr>
            <p:cNvPr id="70" name="Rounded Rectangle 23">
              <a:extLst>
                <a:ext uri="{FF2B5EF4-FFF2-40B4-BE49-F238E27FC236}">
                  <a16:creationId xmlns:a16="http://schemas.microsoft.com/office/drawing/2014/main" id="{78660D28-8F78-4975-A393-E03193C65B53}"/>
                </a:ext>
              </a:extLst>
            </p:cNvPr>
            <p:cNvSpPr/>
            <p:nvPr/>
          </p:nvSpPr>
          <p:spPr>
            <a:xfrm>
              <a:off x="6937770" y="2438415"/>
              <a:ext cx="2345215" cy="3866242"/>
            </a:xfrm>
            <a:prstGeom prst="roundRect">
              <a:avLst>
                <a:gd name="adj" fmla="val 5186"/>
              </a:avLst>
            </a:prstGeom>
            <a:noFill/>
            <a:ln w="19050">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1" name="Text Box 10">
              <a:extLst>
                <a:ext uri="{FF2B5EF4-FFF2-40B4-BE49-F238E27FC236}">
                  <a16:creationId xmlns:a16="http://schemas.microsoft.com/office/drawing/2014/main" id="{1841E116-8AEE-47C8-AB06-1E8E17F48F5E}"/>
                </a:ext>
              </a:extLst>
            </p:cNvPr>
            <p:cNvSpPr txBox="1">
              <a:spLocks noChangeArrowheads="1"/>
            </p:cNvSpPr>
            <p:nvPr/>
          </p:nvSpPr>
          <p:spPr bwMode="auto">
            <a:xfrm>
              <a:off x="7036283" y="3141919"/>
              <a:ext cx="2238440" cy="3123932"/>
            </a:xfrm>
            <a:prstGeom prst="rect">
              <a:avLst/>
            </a:prstGeom>
            <a:noFill/>
            <a:ln w="9525">
              <a:noFill/>
              <a:miter lim="800000"/>
              <a:headEnd/>
              <a:tailEnd/>
            </a:ln>
          </p:spPr>
          <p:txBody>
            <a:bodyPr wrap="square" lIns="45720" tIns="22860" rIns="45720" bIns="22860">
              <a:spAutoFit/>
            </a:bodyPr>
            <a:lstStyle/>
            <a:p>
              <a:pPr defTabSz="1088232"/>
              <a:r>
                <a:rPr lang="es-MX" altLang="zh-CN" sz="1250" b="1" dirty="0">
                  <a:solidFill>
                    <a:srgbClr val="009A44"/>
                  </a:solidFill>
                  <a:latin typeface="Verdana" panose="020B0604030504040204" pitchFamily="34" charset="0"/>
                  <a:ea typeface="Verdana" panose="020B0604030504040204" pitchFamily="34" charset="0"/>
                  <a:cs typeface="Open Sans" pitchFamily="34" charset="0"/>
                </a:rPr>
                <a:t>La perspectiva fiscal se enfoca en la implementación mecanismos de control que permitan la identificación, prevención y detección de riesgos fiscales para evitar liquidaciones complementarias, sanciones y/o delitos fiscales y, en el caso de que ocurran, se creen mecanismos de control y mitigación.</a:t>
              </a:r>
              <a:endParaRPr lang="en-US" altLang="zh-CN" sz="1250" b="1" dirty="0">
                <a:solidFill>
                  <a:srgbClr val="FFFFFF"/>
                </a:solidFill>
                <a:latin typeface="Verdana" panose="020B0604030504040204" pitchFamily="34" charset="0"/>
                <a:ea typeface="Verdana" panose="020B0604030504040204" pitchFamily="34" charset="0"/>
                <a:cs typeface="Open Sans" pitchFamily="34" charset="0"/>
              </a:endParaRPr>
            </a:p>
          </p:txBody>
        </p:sp>
        <p:sp>
          <p:nvSpPr>
            <p:cNvPr id="72" name="Rectangle 25">
              <a:extLst>
                <a:ext uri="{FF2B5EF4-FFF2-40B4-BE49-F238E27FC236}">
                  <a16:creationId xmlns:a16="http://schemas.microsoft.com/office/drawing/2014/main" id="{93346690-5C48-4E6D-BDC8-B7B2D0A52D38}"/>
                </a:ext>
              </a:extLst>
            </p:cNvPr>
            <p:cNvSpPr/>
            <p:nvPr/>
          </p:nvSpPr>
          <p:spPr>
            <a:xfrm>
              <a:off x="7369843" y="2549979"/>
              <a:ext cx="1467330" cy="467535"/>
            </a:xfrm>
            <a:prstGeom prst="round1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50" b="1" dirty="0">
                  <a:latin typeface="Verdana" panose="020B0604030504040204" pitchFamily="34" charset="0"/>
                  <a:ea typeface="Verdana" panose="020B0604030504040204" pitchFamily="34" charset="0"/>
                  <a:cs typeface="Open Sans" pitchFamily="34" charset="0"/>
                </a:rPr>
                <a:t>3. Fiscal</a:t>
              </a:r>
            </a:p>
          </p:txBody>
        </p:sp>
        <p:sp>
          <p:nvSpPr>
            <p:cNvPr id="73" name="Rounded Rectangle 26">
              <a:extLst>
                <a:ext uri="{FF2B5EF4-FFF2-40B4-BE49-F238E27FC236}">
                  <a16:creationId xmlns:a16="http://schemas.microsoft.com/office/drawing/2014/main" id="{1F984F3E-4598-4821-AE13-29DD51F6D97C}"/>
                </a:ext>
              </a:extLst>
            </p:cNvPr>
            <p:cNvSpPr/>
            <p:nvPr/>
          </p:nvSpPr>
          <p:spPr>
            <a:xfrm>
              <a:off x="9487346" y="2438415"/>
              <a:ext cx="2345215" cy="3866242"/>
            </a:xfrm>
            <a:prstGeom prst="roundRect">
              <a:avLst>
                <a:gd name="adj" fmla="val 5186"/>
              </a:avLst>
            </a:prstGeom>
            <a:noFill/>
            <a:ln w="19050">
              <a:solidFill>
                <a:srgbClr val="43B0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4" name="Text Box 10">
              <a:extLst>
                <a:ext uri="{FF2B5EF4-FFF2-40B4-BE49-F238E27FC236}">
                  <a16:creationId xmlns:a16="http://schemas.microsoft.com/office/drawing/2014/main" id="{4F02DEC7-EEC3-4662-A281-A031C297AE6A}"/>
                </a:ext>
              </a:extLst>
            </p:cNvPr>
            <p:cNvSpPr txBox="1">
              <a:spLocks noChangeArrowheads="1"/>
            </p:cNvSpPr>
            <p:nvPr/>
          </p:nvSpPr>
          <p:spPr bwMode="auto">
            <a:xfrm>
              <a:off x="9569904" y="3141919"/>
              <a:ext cx="2238440" cy="2931572"/>
            </a:xfrm>
            <a:prstGeom prst="rect">
              <a:avLst/>
            </a:prstGeom>
            <a:noFill/>
            <a:ln w="9525">
              <a:noFill/>
              <a:miter lim="800000"/>
              <a:headEnd/>
              <a:tailEnd/>
            </a:ln>
          </p:spPr>
          <p:txBody>
            <a:bodyPr wrap="square" lIns="45720" tIns="22860" rIns="45720" bIns="22860">
              <a:spAutoFit/>
            </a:bodyPr>
            <a:lstStyle/>
            <a:p>
              <a:pPr defTabSz="1088232"/>
              <a:r>
                <a:rPr lang="es-MX" altLang="zh-CN" sz="1250" b="1" dirty="0">
                  <a:solidFill>
                    <a:srgbClr val="43B02A"/>
                  </a:solidFill>
                  <a:latin typeface="Verdana" panose="020B0604030504040204" pitchFamily="34" charset="0"/>
                  <a:ea typeface="Verdana" panose="020B0604030504040204" pitchFamily="34" charset="0"/>
                  <a:cs typeface="Open Sans" pitchFamily="34" charset="0"/>
                </a:rPr>
                <a:t>La perspectiva laboral se enfoca en la implementación de políticas, procesos y procedimientos adecuados con el fin de prevenir y gestionar los riesgos asociados a un incumplimiento en el ámbito laboral, tanto como a la normativa interna que se haya establecido para la existencia de un buen clima laboral.</a:t>
              </a:r>
            </a:p>
          </p:txBody>
        </p:sp>
        <p:sp>
          <p:nvSpPr>
            <p:cNvPr id="75" name="Rectangle 28">
              <a:extLst>
                <a:ext uri="{FF2B5EF4-FFF2-40B4-BE49-F238E27FC236}">
                  <a16:creationId xmlns:a16="http://schemas.microsoft.com/office/drawing/2014/main" id="{E84E9897-68F1-4F13-9D3F-FCD869B9BC9E}"/>
                </a:ext>
              </a:extLst>
            </p:cNvPr>
            <p:cNvSpPr/>
            <p:nvPr/>
          </p:nvSpPr>
          <p:spPr>
            <a:xfrm>
              <a:off x="9950997" y="2561495"/>
              <a:ext cx="1467330" cy="467536"/>
            </a:xfrm>
            <a:prstGeom prst="round1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50" b="1" dirty="0">
                  <a:latin typeface="Verdana" panose="020B0604030504040204" pitchFamily="34" charset="0"/>
                  <a:ea typeface="Verdana" panose="020B0604030504040204" pitchFamily="34" charset="0"/>
                  <a:cs typeface="Open Sans" pitchFamily="34" charset="0"/>
                </a:rPr>
                <a:t>4. Laboral</a:t>
              </a:r>
            </a:p>
          </p:txBody>
        </p:sp>
        <p:sp>
          <p:nvSpPr>
            <p:cNvPr id="76" name="Text Box 10">
              <a:extLst>
                <a:ext uri="{FF2B5EF4-FFF2-40B4-BE49-F238E27FC236}">
                  <a16:creationId xmlns:a16="http://schemas.microsoft.com/office/drawing/2014/main" id="{5609B2C3-5E04-4CB6-B4A0-F50E68B0AA7A}"/>
                </a:ext>
              </a:extLst>
            </p:cNvPr>
            <p:cNvSpPr txBox="1">
              <a:spLocks noChangeArrowheads="1"/>
            </p:cNvSpPr>
            <p:nvPr/>
          </p:nvSpPr>
          <p:spPr bwMode="auto">
            <a:xfrm>
              <a:off x="646389" y="3143795"/>
              <a:ext cx="2457967" cy="1392689"/>
            </a:xfrm>
            <a:prstGeom prst="rect">
              <a:avLst/>
            </a:prstGeom>
            <a:noFill/>
            <a:ln w="9525">
              <a:noFill/>
              <a:miter lim="800000"/>
              <a:headEnd/>
              <a:tailEnd/>
            </a:ln>
          </p:spPr>
          <p:txBody>
            <a:bodyPr wrap="square" lIns="45720" tIns="22860" rIns="45720" bIns="22860">
              <a:spAutoFit/>
            </a:bodyPr>
            <a:lstStyle/>
            <a:p>
              <a:pPr algn="ctr"/>
              <a:r>
                <a:rPr lang="es-MX" sz="1250" b="1" dirty="0">
                  <a:solidFill>
                    <a:srgbClr val="000000"/>
                  </a:solidFill>
                  <a:latin typeface="Verdana" panose="020B0604030504040204" pitchFamily="34" charset="0"/>
                  <a:ea typeface="Verdana" panose="020B0604030504040204" pitchFamily="34" charset="0"/>
                </a:rPr>
                <a:t>Las empresas participantes del Piloto de Empresa Cumplida en Comercio Exterior deberán cumplir con los siguientes elementos y criterios</a:t>
              </a:r>
              <a:endParaRPr lang="en-US" sz="1250" dirty="0">
                <a:solidFill>
                  <a:srgbClr val="000000"/>
                </a:solidFill>
                <a:latin typeface="Verdana" panose="020B0604030504040204" pitchFamily="34" charset="0"/>
                <a:ea typeface="Verdana" panose="020B0604030504040204" pitchFamily="34" charset="0"/>
                <a:cs typeface="Open Sans" pitchFamily="34" charset="0"/>
              </a:endParaRPr>
            </a:p>
          </p:txBody>
        </p:sp>
        <p:grpSp>
          <p:nvGrpSpPr>
            <p:cNvPr id="77" name="Group 57">
              <a:extLst>
                <a:ext uri="{FF2B5EF4-FFF2-40B4-BE49-F238E27FC236}">
                  <a16:creationId xmlns:a16="http://schemas.microsoft.com/office/drawing/2014/main" id="{29EC3040-D1BB-49A1-8E32-62353F0E1810}"/>
                </a:ext>
              </a:extLst>
            </p:cNvPr>
            <p:cNvGrpSpPr>
              <a:grpSpLocks noChangeAspect="1"/>
            </p:cNvGrpSpPr>
            <p:nvPr/>
          </p:nvGrpSpPr>
          <p:grpSpPr bwMode="auto">
            <a:xfrm>
              <a:off x="2681504" y="1795126"/>
              <a:ext cx="696826" cy="696826"/>
              <a:chOff x="3880" y="2160"/>
              <a:chExt cx="340" cy="340"/>
            </a:xfrm>
            <a:solidFill>
              <a:schemeClr val="bg1"/>
            </a:solidFill>
          </p:grpSpPr>
          <p:sp>
            <p:nvSpPr>
              <p:cNvPr id="78" name="Freeform 58">
                <a:extLst>
                  <a:ext uri="{FF2B5EF4-FFF2-40B4-BE49-F238E27FC236}">
                    <a16:creationId xmlns:a16="http://schemas.microsoft.com/office/drawing/2014/main" id="{AB3C1D88-CBD6-46B0-A43D-E061FCD923FF}"/>
                  </a:ext>
                </a:extLst>
              </p:cNvPr>
              <p:cNvSpPr>
                <a:spLocks noEditPoints="1"/>
              </p:cNvSpPr>
              <p:nvPr/>
            </p:nvSpPr>
            <p:spPr bwMode="auto">
              <a:xfrm>
                <a:off x="3880" y="21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79" name="Freeform 59">
                <a:extLst>
                  <a:ext uri="{FF2B5EF4-FFF2-40B4-BE49-F238E27FC236}">
                    <a16:creationId xmlns:a16="http://schemas.microsoft.com/office/drawing/2014/main" id="{19DE5B96-F4C8-421A-8221-49322D3371A3}"/>
                  </a:ext>
                </a:extLst>
              </p:cNvPr>
              <p:cNvSpPr>
                <a:spLocks noEditPoints="1"/>
              </p:cNvSpPr>
              <p:nvPr/>
            </p:nvSpPr>
            <p:spPr bwMode="auto">
              <a:xfrm>
                <a:off x="3944" y="2252"/>
                <a:ext cx="212" cy="184"/>
              </a:xfrm>
              <a:custGeom>
                <a:avLst/>
                <a:gdLst>
                  <a:gd name="T0" fmla="*/ 64 w 320"/>
                  <a:gd name="T1" fmla="*/ 278 h 278"/>
                  <a:gd name="T2" fmla="*/ 60 w 320"/>
                  <a:gd name="T3" fmla="*/ 277 h 278"/>
                  <a:gd name="T4" fmla="*/ 53 w 320"/>
                  <a:gd name="T5" fmla="*/ 267 h 278"/>
                  <a:gd name="T6" fmla="*/ 53 w 320"/>
                  <a:gd name="T7" fmla="*/ 214 h 278"/>
                  <a:gd name="T8" fmla="*/ 10 w 320"/>
                  <a:gd name="T9" fmla="*/ 214 h 278"/>
                  <a:gd name="T10" fmla="*/ 0 w 320"/>
                  <a:gd name="T11" fmla="*/ 203 h 278"/>
                  <a:gd name="T12" fmla="*/ 0 w 320"/>
                  <a:gd name="T13" fmla="*/ 11 h 278"/>
                  <a:gd name="T14" fmla="*/ 10 w 320"/>
                  <a:gd name="T15" fmla="*/ 0 h 278"/>
                  <a:gd name="T16" fmla="*/ 309 w 320"/>
                  <a:gd name="T17" fmla="*/ 0 h 278"/>
                  <a:gd name="T18" fmla="*/ 320 w 320"/>
                  <a:gd name="T19" fmla="*/ 11 h 278"/>
                  <a:gd name="T20" fmla="*/ 320 w 320"/>
                  <a:gd name="T21" fmla="*/ 203 h 278"/>
                  <a:gd name="T22" fmla="*/ 309 w 320"/>
                  <a:gd name="T23" fmla="*/ 214 h 278"/>
                  <a:gd name="T24" fmla="*/ 122 w 320"/>
                  <a:gd name="T25" fmla="*/ 214 h 278"/>
                  <a:gd name="T26" fmla="*/ 72 w 320"/>
                  <a:gd name="T27" fmla="*/ 274 h 278"/>
                  <a:gd name="T28" fmla="*/ 64 w 320"/>
                  <a:gd name="T29" fmla="*/ 278 h 278"/>
                  <a:gd name="T30" fmla="*/ 21 w 320"/>
                  <a:gd name="T31" fmla="*/ 192 h 278"/>
                  <a:gd name="T32" fmla="*/ 64 w 320"/>
                  <a:gd name="T33" fmla="*/ 192 h 278"/>
                  <a:gd name="T34" fmla="*/ 74 w 320"/>
                  <a:gd name="T35" fmla="*/ 203 h 278"/>
                  <a:gd name="T36" fmla="*/ 74 w 320"/>
                  <a:gd name="T37" fmla="*/ 238 h 278"/>
                  <a:gd name="T38" fmla="*/ 109 w 320"/>
                  <a:gd name="T39" fmla="*/ 196 h 278"/>
                  <a:gd name="T40" fmla="*/ 117 w 320"/>
                  <a:gd name="T41" fmla="*/ 192 h 278"/>
                  <a:gd name="T42" fmla="*/ 298 w 320"/>
                  <a:gd name="T43" fmla="*/ 192 h 278"/>
                  <a:gd name="T44" fmla="*/ 298 w 320"/>
                  <a:gd name="T45" fmla="*/ 22 h 278"/>
                  <a:gd name="T46" fmla="*/ 21 w 320"/>
                  <a:gd name="T47" fmla="*/ 22 h 278"/>
                  <a:gd name="T48" fmla="*/ 21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64" y="278"/>
                    </a:moveTo>
                    <a:cubicBezTo>
                      <a:pt x="62" y="278"/>
                      <a:pt x="61" y="277"/>
                      <a:pt x="60" y="277"/>
                    </a:cubicBezTo>
                    <a:cubicBezTo>
                      <a:pt x="56" y="276"/>
                      <a:pt x="53" y="271"/>
                      <a:pt x="53" y="267"/>
                    </a:cubicBezTo>
                    <a:cubicBezTo>
                      <a:pt x="53" y="214"/>
                      <a:pt x="53" y="214"/>
                      <a:pt x="53" y="214"/>
                    </a:cubicBezTo>
                    <a:cubicBezTo>
                      <a:pt x="10" y="214"/>
                      <a:pt x="10" y="214"/>
                      <a:pt x="10" y="214"/>
                    </a:cubicBezTo>
                    <a:cubicBezTo>
                      <a:pt x="4" y="214"/>
                      <a:pt x="0" y="209"/>
                      <a:pt x="0" y="203"/>
                    </a:cubicBezTo>
                    <a:cubicBezTo>
                      <a:pt x="0" y="11"/>
                      <a:pt x="0" y="11"/>
                      <a:pt x="0" y="11"/>
                    </a:cubicBezTo>
                    <a:cubicBezTo>
                      <a:pt x="0" y="5"/>
                      <a:pt x="4" y="0"/>
                      <a:pt x="10" y="0"/>
                    </a:cubicBezTo>
                    <a:cubicBezTo>
                      <a:pt x="309" y="0"/>
                      <a:pt x="309" y="0"/>
                      <a:pt x="309" y="0"/>
                    </a:cubicBezTo>
                    <a:cubicBezTo>
                      <a:pt x="315" y="0"/>
                      <a:pt x="320" y="5"/>
                      <a:pt x="320" y="11"/>
                    </a:cubicBezTo>
                    <a:cubicBezTo>
                      <a:pt x="320" y="203"/>
                      <a:pt x="320" y="203"/>
                      <a:pt x="320" y="203"/>
                    </a:cubicBezTo>
                    <a:cubicBezTo>
                      <a:pt x="320" y="209"/>
                      <a:pt x="315" y="214"/>
                      <a:pt x="309" y="214"/>
                    </a:cubicBezTo>
                    <a:cubicBezTo>
                      <a:pt x="122" y="214"/>
                      <a:pt x="122" y="214"/>
                      <a:pt x="122" y="214"/>
                    </a:cubicBezTo>
                    <a:cubicBezTo>
                      <a:pt x="72" y="274"/>
                      <a:pt x="72" y="274"/>
                      <a:pt x="72" y="274"/>
                    </a:cubicBezTo>
                    <a:cubicBezTo>
                      <a:pt x="70" y="276"/>
                      <a:pt x="67" y="278"/>
                      <a:pt x="64" y="278"/>
                    </a:cubicBezTo>
                    <a:close/>
                    <a:moveTo>
                      <a:pt x="21" y="192"/>
                    </a:moveTo>
                    <a:cubicBezTo>
                      <a:pt x="64" y="192"/>
                      <a:pt x="64" y="192"/>
                      <a:pt x="64" y="192"/>
                    </a:cubicBezTo>
                    <a:cubicBezTo>
                      <a:pt x="70" y="192"/>
                      <a:pt x="74" y="197"/>
                      <a:pt x="74" y="203"/>
                    </a:cubicBezTo>
                    <a:cubicBezTo>
                      <a:pt x="74" y="238"/>
                      <a:pt x="74" y="238"/>
                      <a:pt x="74" y="238"/>
                    </a:cubicBezTo>
                    <a:cubicBezTo>
                      <a:pt x="109" y="196"/>
                      <a:pt x="109" y="196"/>
                      <a:pt x="109" y="196"/>
                    </a:cubicBezTo>
                    <a:cubicBezTo>
                      <a:pt x="111" y="194"/>
                      <a:pt x="114" y="192"/>
                      <a:pt x="117" y="192"/>
                    </a:cubicBezTo>
                    <a:cubicBezTo>
                      <a:pt x="298" y="192"/>
                      <a:pt x="298" y="192"/>
                      <a:pt x="298" y="192"/>
                    </a:cubicBezTo>
                    <a:cubicBezTo>
                      <a:pt x="298" y="22"/>
                      <a:pt x="298" y="22"/>
                      <a:pt x="298" y="22"/>
                    </a:cubicBezTo>
                    <a:cubicBezTo>
                      <a:pt x="21" y="22"/>
                      <a:pt x="21" y="22"/>
                      <a:pt x="21" y="22"/>
                    </a:cubicBezTo>
                    <a:lnTo>
                      <a:pt x="21"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80" name="Oval 60">
                <a:extLst>
                  <a:ext uri="{FF2B5EF4-FFF2-40B4-BE49-F238E27FC236}">
                    <a16:creationId xmlns:a16="http://schemas.microsoft.com/office/drawing/2014/main" id="{3DD57C47-5CC4-41A7-BBF1-F060BD8F3FDA}"/>
                  </a:ext>
                </a:extLst>
              </p:cNvPr>
              <p:cNvSpPr>
                <a:spLocks noChangeArrowheads="1"/>
              </p:cNvSpPr>
              <p:nvPr/>
            </p:nvSpPr>
            <p:spPr bwMode="auto">
              <a:xfrm>
                <a:off x="4014" y="2315"/>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81" name="Oval 61">
                <a:extLst>
                  <a:ext uri="{FF2B5EF4-FFF2-40B4-BE49-F238E27FC236}">
                    <a16:creationId xmlns:a16="http://schemas.microsoft.com/office/drawing/2014/main" id="{B5027BF4-9468-4793-AFD5-63E21682C1C2}"/>
                  </a:ext>
                </a:extLst>
              </p:cNvPr>
              <p:cNvSpPr>
                <a:spLocks noChangeArrowheads="1"/>
              </p:cNvSpPr>
              <p:nvPr/>
            </p:nvSpPr>
            <p:spPr bwMode="auto">
              <a:xfrm>
                <a:off x="4043"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82" name="Oval 62">
                <a:extLst>
                  <a:ext uri="{FF2B5EF4-FFF2-40B4-BE49-F238E27FC236}">
                    <a16:creationId xmlns:a16="http://schemas.microsoft.com/office/drawing/2014/main" id="{675D7D37-CF71-46C9-95CA-D3D51CF530B3}"/>
                  </a:ext>
                </a:extLst>
              </p:cNvPr>
              <p:cNvSpPr>
                <a:spLocks noChangeArrowheads="1"/>
              </p:cNvSpPr>
              <p:nvPr/>
            </p:nvSpPr>
            <p:spPr bwMode="auto">
              <a:xfrm>
                <a:off x="4071" y="2315"/>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83" name="Group 503">
              <a:extLst>
                <a:ext uri="{FF2B5EF4-FFF2-40B4-BE49-F238E27FC236}">
                  <a16:creationId xmlns:a16="http://schemas.microsoft.com/office/drawing/2014/main" id="{0915A08C-0ACF-4538-93E8-F2A4749A28BF}"/>
                </a:ext>
              </a:extLst>
            </p:cNvPr>
            <p:cNvGrpSpPr>
              <a:grpSpLocks noChangeAspect="1"/>
            </p:cNvGrpSpPr>
            <p:nvPr/>
          </p:nvGrpSpPr>
          <p:grpSpPr bwMode="auto">
            <a:xfrm>
              <a:off x="3303354" y="3001290"/>
              <a:ext cx="696826" cy="696826"/>
              <a:chOff x="1920" y="2027"/>
              <a:chExt cx="340" cy="340"/>
            </a:xfrm>
            <a:solidFill>
              <a:schemeClr val="bg1"/>
            </a:solidFill>
          </p:grpSpPr>
          <p:sp>
            <p:nvSpPr>
              <p:cNvPr id="84" name="Freeform 504">
                <a:extLst>
                  <a:ext uri="{FF2B5EF4-FFF2-40B4-BE49-F238E27FC236}">
                    <a16:creationId xmlns:a16="http://schemas.microsoft.com/office/drawing/2014/main" id="{3F35710C-BB92-44F3-BA91-811DF9ED5A3E}"/>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85" name="Freeform 505">
                <a:extLst>
                  <a:ext uri="{FF2B5EF4-FFF2-40B4-BE49-F238E27FC236}">
                    <a16:creationId xmlns:a16="http://schemas.microsoft.com/office/drawing/2014/main" id="{733C0CE4-F702-4BC6-9D38-35858E7691DB}"/>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nvGrpSpPr>
            <p:cNvPr id="86" name="Group 1014">
              <a:extLst>
                <a:ext uri="{FF2B5EF4-FFF2-40B4-BE49-F238E27FC236}">
                  <a16:creationId xmlns:a16="http://schemas.microsoft.com/office/drawing/2014/main" id="{5A2E9089-9526-48A9-90C2-D9179A32FD49}"/>
                </a:ext>
              </a:extLst>
            </p:cNvPr>
            <p:cNvGrpSpPr>
              <a:grpSpLocks noChangeAspect="1"/>
            </p:cNvGrpSpPr>
            <p:nvPr/>
          </p:nvGrpSpPr>
          <p:grpSpPr bwMode="auto">
            <a:xfrm>
              <a:off x="3047441" y="4296862"/>
              <a:ext cx="695710" cy="695706"/>
              <a:chOff x="5069" y="3987"/>
              <a:chExt cx="340" cy="340"/>
            </a:xfrm>
            <a:solidFill>
              <a:schemeClr val="bg1"/>
            </a:solidFill>
          </p:grpSpPr>
          <p:sp>
            <p:nvSpPr>
              <p:cNvPr id="87" name="Freeform 1015">
                <a:extLst>
                  <a:ext uri="{FF2B5EF4-FFF2-40B4-BE49-F238E27FC236}">
                    <a16:creationId xmlns:a16="http://schemas.microsoft.com/office/drawing/2014/main" id="{FA9E18B7-D0D0-493A-8951-1EB4455FC21A}"/>
                  </a:ext>
                </a:extLst>
              </p:cNvPr>
              <p:cNvSpPr>
                <a:spLocks noEditPoints="1"/>
              </p:cNvSpPr>
              <p:nvPr/>
            </p:nvSpPr>
            <p:spPr bwMode="auto">
              <a:xfrm>
                <a:off x="5069" y="39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sp>
            <p:nvSpPr>
              <p:cNvPr id="88" name="Freeform 1016">
                <a:extLst>
                  <a:ext uri="{FF2B5EF4-FFF2-40B4-BE49-F238E27FC236}">
                    <a16:creationId xmlns:a16="http://schemas.microsoft.com/office/drawing/2014/main" id="{9556E8FC-E5DA-4580-A2CA-DD19F74AD3D8}"/>
                  </a:ext>
                </a:extLst>
              </p:cNvPr>
              <p:cNvSpPr>
                <a:spLocks noEditPoints="1"/>
              </p:cNvSpPr>
              <p:nvPr/>
            </p:nvSpPr>
            <p:spPr bwMode="auto">
              <a:xfrm>
                <a:off x="5134" y="4071"/>
                <a:ext cx="211" cy="171"/>
              </a:xfrm>
              <a:custGeom>
                <a:avLst/>
                <a:gdLst>
                  <a:gd name="T0" fmla="*/ 316 w 318"/>
                  <a:gd name="T1" fmla="*/ 123 h 257"/>
                  <a:gd name="T2" fmla="*/ 245 w 318"/>
                  <a:gd name="T3" fmla="*/ 57 h 257"/>
                  <a:gd name="T4" fmla="*/ 283 w 318"/>
                  <a:gd name="T5" fmla="*/ 19 h 257"/>
                  <a:gd name="T6" fmla="*/ 283 w 318"/>
                  <a:gd name="T7" fmla="*/ 4 h 257"/>
                  <a:gd name="T8" fmla="*/ 267 w 318"/>
                  <a:gd name="T9" fmla="*/ 4 h 257"/>
                  <a:gd name="T10" fmla="*/ 225 w 318"/>
                  <a:gd name="T11" fmla="*/ 47 h 257"/>
                  <a:gd name="T12" fmla="*/ 159 w 318"/>
                  <a:gd name="T13" fmla="*/ 33 h 257"/>
                  <a:gd name="T14" fmla="*/ 1 w 318"/>
                  <a:gd name="T15" fmla="*/ 122 h 257"/>
                  <a:gd name="T16" fmla="*/ 0 w 318"/>
                  <a:gd name="T17" fmla="*/ 129 h 257"/>
                  <a:gd name="T18" fmla="*/ 1 w 318"/>
                  <a:gd name="T19" fmla="*/ 134 h 257"/>
                  <a:gd name="T20" fmla="*/ 71 w 318"/>
                  <a:gd name="T21" fmla="*/ 200 h 257"/>
                  <a:gd name="T22" fmla="*/ 33 w 318"/>
                  <a:gd name="T23" fmla="*/ 238 h 257"/>
                  <a:gd name="T24" fmla="*/ 33 w 318"/>
                  <a:gd name="T25" fmla="*/ 254 h 257"/>
                  <a:gd name="T26" fmla="*/ 40 w 318"/>
                  <a:gd name="T27" fmla="*/ 257 h 257"/>
                  <a:gd name="T28" fmla="*/ 48 w 318"/>
                  <a:gd name="T29" fmla="*/ 254 h 257"/>
                  <a:gd name="T30" fmla="*/ 91 w 318"/>
                  <a:gd name="T31" fmla="*/ 210 h 257"/>
                  <a:gd name="T32" fmla="*/ 159 w 318"/>
                  <a:gd name="T33" fmla="*/ 225 h 257"/>
                  <a:gd name="T34" fmla="*/ 316 w 318"/>
                  <a:gd name="T35" fmla="*/ 135 h 257"/>
                  <a:gd name="T36" fmla="*/ 317 w 318"/>
                  <a:gd name="T37" fmla="*/ 128 h 257"/>
                  <a:gd name="T38" fmla="*/ 316 w 318"/>
                  <a:gd name="T39" fmla="*/ 123 h 257"/>
                  <a:gd name="T40" fmla="*/ 23 w 318"/>
                  <a:gd name="T41" fmla="*/ 129 h 257"/>
                  <a:gd name="T42" fmla="*/ 159 w 318"/>
                  <a:gd name="T43" fmla="*/ 54 h 257"/>
                  <a:gd name="T44" fmla="*/ 208 w 318"/>
                  <a:gd name="T45" fmla="*/ 63 h 257"/>
                  <a:gd name="T46" fmla="*/ 187 w 318"/>
                  <a:gd name="T47" fmla="*/ 84 h 257"/>
                  <a:gd name="T48" fmla="*/ 158 w 318"/>
                  <a:gd name="T49" fmla="*/ 75 h 257"/>
                  <a:gd name="T50" fmla="*/ 104 w 318"/>
                  <a:gd name="T51" fmla="*/ 129 h 257"/>
                  <a:gd name="T52" fmla="*/ 113 w 318"/>
                  <a:gd name="T53" fmla="*/ 158 h 257"/>
                  <a:gd name="T54" fmla="*/ 87 w 318"/>
                  <a:gd name="T55" fmla="*/ 184 h 257"/>
                  <a:gd name="T56" fmla="*/ 23 w 318"/>
                  <a:gd name="T57" fmla="*/ 129 h 257"/>
                  <a:gd name="T58" fmla="*/ 190 w 318"/>
                  <a:gd name="T59" fmla="*/ 129 h 257"/>
                  <a:gd name="T60" fmla="*/ 158 w 318"/>
                  <a:gd name="T61" fmla="*/ 161 h 257"/>
                  <a:gd name="T62" fmla="*/ 144 w 318"/>
                  <a:gd name="T63" fmla="*/ 157 h 257"/>
                  <a:gd name="T64" fmla="*/ 186 w 318"/>
                  <a:gd name="T65" fmla="*/ 115 h 257"/>
                  <a:gd name="T66" fmla="*/ 190 w 318"/>
                  <a:gd name="T67" fmla="*/ 129 h 257"/>
                  <a:gd name="T68" fmla="*/ 126 w 318"/>
                  <a:gd name="T69" fmla="*/ 129 h 257"/>
                  <a:gd name="T70" fmla="*/ 158 w 318"/>
                  <a:gd name="T71" fmla="*/ 97 h 257"/>
                  <a:gd name="T72" fmla="*/ 171 w 318"/>
                  <a:gd name="T73" fmla="*/ 100 h 257"/>
                  <a:gd name="T74" fmla="*/ 129 w 318"/>
                  <a:gd name="T75" fmla="*/ 142 h 257"/>
                  <a:gd name="T76" fmla="*/ 126 w 318"/>
                  <a:gd name="T77" fmla="*/ 129 h 257"/>
                  <a:gd name="T78" fmla="*/ 159 w 318"/>
                  <a:gd name="T79" fmla="*/ 203 h 257"/>
                  <a:gd name="T80" fmla="*/ 108 w 318"/>
                  <a:gd name="T81" fmla="*/ 194 h 257"/>
                  <a:gd name="T82" fmla="*/ 128 w 318"/>
                  <a:gd name="T83" fmla="*/ 173 h 257"/>
                  <a:gd name="T84" fmla="*/ 158 w 318"/>
                  <a:gd name="T85" fmla="*/ 182 h 257"/>
                  <a:gd name="T86" fmla="*/ 211 w 318"/>
                  <a:gd name="T87" fmla="*/ 129 h 257"/>
                  <a:gd name="T88" fmla="*/ 202 w 318"/>
                  <a:gd name="T89" fmla="*/ 99 h 257"/>
                  <a:gd name="T90" fmla="*/ 229 w 318"/>
                  <a:gd name="T91" fmla="*/ 72 h 257"/>
                  <a:gd name="T92" fmla="*/ 294 w 318"/>
                  <a:gd name="T93" fmla="*/ 129 h 257"/>
                  <a:gd name="T94" fmla="*/ 159 w 318"/>
                  <a:gd name="T95" fmla="*/ 20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8" h="257">
                    <a:moveTo>
                      <a:pt x="316" y="123"/>
                    </a:moveTo>
                    <a:cubicBezTo>
                      <a:pt x="303" y="103"/>
                      <a:pt x="278" y="76"/>
                      <a:pt x="245" y="57"/>
                    </a:cubicBezTo>
                    <a:cubicBezTo>
                      <a:pt x="283" y="19"/>
                      <a:pt x="283" y="19"/>
                      <a:pt x="283" y="19"/>
                    </a:cubicBezTo>
                    <a:cubicBezTo>
                      <a:pt x="287" y="15"/>
                      <a:pt x="287" y="8"/>
                      <a:pt x="283" y="4"/>
                    </a:cubicBezTo>
                    <a:cubicBezTo>
                      <a:pt x="278" y="0"/>
                      <a:pt x="272" y="0"/>
                      <a:pt x="267" y="4"/>
                    </a:cubicBezTo>
                    <a:cubicBezTo>
                      <a:pt x="225" y="47"/>
                      <a:pt x="225" y="47"/>
                      <a:pt x="225" y="47"/>
                    </a:cubicBezTo>
                    <a:cubicBezTo>
                      <a:pt x="205" y="38"/>
                      <a:pt x="183" y="33"/>
                      <a:pt x="159" y="33"/>
                    </a:cubicBezTo>
                    <a:cubicBezTo>
                      <a:pt x="88" y="33"/>
                      <a:pt x="31" y="79"/>
                      <a:pt x="1" y="122"/>
                    </a:cubicBezTo>
                    <a:cubicBezTo>
                      <a:pt x="0" y="124"/>
                      <a:pt x="0" y="127"/>
                      <a:pt x="0" y="129"/>
                    </a:cubicBezTo>
                    <a:cubicBezTo>
                      <a:pt x="0" y="131"/>
                      <a:pt x="0" y="133"/>
                      <a:pt x="1" y="134"/>
                    </a:cubicBezTo>
                    <a:cubicBezTo>
                      <a:pt x="14" y="154"/>
                      <a:pt x="38" y="181"/>
                      <a:pt x="71" y="200"/>
                    </a:cubicBezTo>
                    <a:cubicBezTo>
                      <a:pt x="33" y="238"/>
                      <a:pt x="33" y="238"/>
                      <a:pt x="33" y="238"/>
                    </a:cubicBezTo>
                    <a:cubicBezTo>
                      <a:pt x="29" y="243"/>
                      <a:pt x="29" y="249"/>
                      <a:pt x="33" y="254"/>
                    </a:cubicBezTo>
                    <a:cubicBezTo>
                      <a:pt x="35" y="256"/>
                      <a:pt x="38" y="257"/>
                      <a:pt x="40" y="257"/>
                    </a:cubicBezTo>
                    <a:cubicBezTo>
                      <a:pt x="43" y="257"/>
                      <a:pt x="46" y="256"/>
                      <a:pt x="48" y="254"/>
                    </a:cubicBezTo>
                    <a:cubicBezTo>
                      <a:pt x="91" y="210"/>
                      <a:pt x="91" y="210"/>
                      <a:pt x="91" y="210"/>
                    </a:cubicBezTo>
                    <a:cubicBezTo>
                      <a:pt x="111" y="219"/>
                      <a:pt x="134" y="225"/>
                      <a:pt x="159" y="225"/>
                    </a:cubicBezTo>
                    <a:cubicBezTo>
                      <a:pt x="229" y="225"/>
                      <a:pt x="286" y="178"/>
                      <a:pt x="316" y="135"/>
                    </a:cubicBezTo>
                    <a:cubicBezTo>
                      <a:pt x="317" y="133"/>
                      <a:pt x="318" y="131"/>
                      <a:pt x="317" y="128"/>
                    </a:cubicBezTo>
                    <a:cubicBezTo>
                      <a:pt x="317" y="127"/>
                      <a:pt x="317" y="125"/>
                      <a:pt x="316" y="123"/>
                    </a:cubicBezTo>
                    <a:close/>
                    <a:moveTo>
                      <a:pt x="23" y="129"/>
                    </a:moveTo>
                    <a:cubicBezTo>
                      <a:pt x="50" y="91"/>
                      <a:pt x="99" y="54"/>
                      <a:pt x="159" y="54"/>
                    </a:cubicBezTo>
                    <a:cubicBezTo>
                      <a:pt x="176" y="54"/>
                      <a:pt x="193" y="57"/>
                      <a:pt x="208" y="63"/>
                    </a:cubicBezTo>
                    <a:cubicBezTo>
                      <a:pt x="187" y="84"/>
                      <a:pt x="187" y="84"/>
                      <a:pt x="187" y="84"/>
                    </a:cubicBezTo>
                    <a:cubicBezTo>
                      <a:pt x="179" y="79"/>
                      <a:pt x="169" y="75"/>
                      <a:pt x="158" y="75"/>
                    </a:cubicBezTo>
                    <a:cubicBezTo>
                      <a:pt x="128" y="75"/>
                      <a:pt x="104" y="99"/>
                      <a:pt x="104" y="129"/>
                    </a:cubicBezTo>
                    <a:cubicBezTo>
                      <a:pt x="104" y="140"/>
                      <a:pt x="108" y="150"/>
                      <a:pt x="113" y="158"/>
                    </a:cubicBezTo>
                    <a:cubicBezTo>
                      <a:pt x="87" y="184"/>
                      <a:pt x="87" y="184"/>
                      <a:pt x="87" y="184"/>
                    </a:cubicBezTo>
                    <a:cubicBezTo>
                      <a:pt x="58" y="169"/>
                      <a:pt x="36" y="146"/>
                      <a:pt x="23" y="129"/>
                    </a:cubicBezTo>
                    <a:close/>
                    <a:moveTo>
                      <a:pt x="190" y="129"/>
                    </a:moveTo>
                    <a:cubicBezTo>
                      <a:pt x="190" y="146"/>
                      <a:pt x="175" y="161"/>
                      <a:pt x="158" y="161"/>
                    </a:cubicBezTo>
                    <a:cubicBezTo>
                      <a:pt x="153" y="161"/>
                      <a:pt x="148" y="159"/>
                      <a:pt x="144" y="157"/>
                    </a:cubicBezTo>
                    <a:cubicBezTo>
                      <a:pt x="186" y="115"/>
                      <a:pt x="186" y="115"/>
                      <a:pt x="186" y="115"/>
                    </a:cubicBezTo>
                    <a:cubicBezTo>
                      <a:pt x="188" y="119"/>
                      <a:pt x="190" y="124"/>
                      <a:pt x="190" y="129"/>
                    </a:cubicBezTo>
                    <a:close/>
                    <a:moveTo>
                      <a:pt x="126" y="129"/>
                    </a:moveTo>
                    <a:cubicBezTo>
                      <a:pt x="126" y="111"/>
                      <a:pt x="140" y="97"/>
                      <a:pt x="158" y="97"/>
                    </a:cubicBezTo>
                    <a:cubicBezTo>
                      <a:pt x="163" y="97"/>
                      <a:pt x="167" y="98"/>
                      <a:pt x="171" y="100"/>
                    </a:cubicBezTo>
                    <a:cubicBezTo>
                      <a:pt x="129" y="142"/>
                      <a:pt x="129" y="142"/>
                      <a:pt x="129" y="142"/>
                    </a:cubicBezTo>
                    <a:cubicBezTo>
                      <a:pt x="127" y="138"/>
                      <a:pt x="126" y="134"/>
                      <a:pt x="126" y="129"/>
                    </a:cubicBezTo>
                    <a:close/>
                    <a:moveTo>
                      <a:pt x="159" y="203"/>
                    </a:moveTo>
                    <a:cubicBezTo>
                      <a:pt x="140" y="203"/>
                      <a:pt x="123" y="200"/>
                      <a:pt x="108" y="194"/>
                    </a:cubicBezTo>
                    <a:cubicBezTo>
                      <a:pt x="128" y="173"/>
                      <a:pt x="128" y="173"/>
                      <a:pt x="128" y="173"/>
                    </a:cubicBezTo>
                    <a:cubicBezTo>
                      <a:pt x="137" y="179"/>
                      <a:pt x="147" y="182"/>
                      <a:pt x="158" y="182"/>
                    </a:cubicBezTo>
                    <a:cubicBezTo>
                      <a:pt x="187" y="182"/>
                      <a:pt x="211" y="158"/>
                      <a:pt x="211" y="129"/>
                    </a:cubicBezTo>
                    <a:cubicBezTo>
                      <a:pt x="211" y="118"/>
                      <a:pt x="208" y="108"/>
                      <a:pt x="202" y="99"/>
                    </a:cubicBezTo>
                    <a:cubicBezTo>
                      <a:pt x="229" y="72"/>
                      <a:pt x="229" y="72"/>
                      <a:pt x="229" y="72"/>
                    </a:cubicBezTo>
                    <a:cubicBezTo>
                      <a:pt x="259" y="88"/>
                      <a:pt x="281" y="111"/>
                      <a:pt x="294" y="129"/>
                    </a:cubicBezTo>
                    <a:cubicBezTo>
                      <a:pt x="267" y="166"/>
                      <a:pt x="218" y="203"/>
                      <a:pt x="159"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solidFill>
                    <a:schemeClr val="bg1"/>
                  </a:solidFill>
                </a:endParaRPr>
              </a:p>
            </p:txBody>
          </p:sp>
        </p:grpSp>
      </p:grpSp>
      <p:sp>
        <p:nvSpPr>
          <p:cNvPr id="32" name="Rectangle 31">
            <a:extLst>
              <a:ext uri="{FF2B5EF4-FFF2-40B4-BE49-F238E27FC236}">
                <a16:creationId xmlns:a16="http://schemas.microsoft.com/office/drawing/2014/main" id="{359E8443-6CDF-48A7-ABE6-6889AC927122}"/>
              </a:ext>
            </a:extLst>
          </p:cNvPr>
          <p:cNvSpPr/>
          <p:nvPr/>
        </p:nvSpPr>
        <p:spPr bwMode="gray">
          <a:xfrm>
            <a:off x="184636" y="6499213"/>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3" name="Rectangle 32">
            <a:extLst>
              <a:ext uri="{FF2B5EF4-FFF2-40B4-BE49-F238E27FC236}">
                <a16:creationId xmlns:a16="http://schemas.microsoft.com/office/drawing/2014/main" id="{9E5FAC74-6BCB-474D-A442-0D64F5C8A658}"/>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226107225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8536311"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omercio Exterior - Elementos y criterios de revisión</a:t>
            </a:r>
          </a:p>
        </p:txBody>
      </p:sp>
      <p:sp>
        <p:nvSpPr>
          <p:cNvPr id="32" name="Snip Diagonal Corner Rectangle 156">
            <a:extLst>
              <a:ext uri="{FF2B5EF4-FFF2-40B4-BE49-F238E27FC236}">
                <a16:creationId xmlns:a16="http://schemas.microsoft.com/office/drawing/2014/main" id="{F3134462-546B-4D6E-A489-9B758FB4E9A9}"/>
              </a:ext>
            </a:extLst>
          </p:cNvPr>
          <p:cNvSpPr/>
          <p:nvPr/>
        </p:nvSpPr>
        <p:spPr bwMode="gray">
          <a:xfrm>
            <a:off x="300443" y="1412116"/>
            <a:ext cx="2692312"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250" b="1" dirty="0">
                <a:solidFill>
                  <a:prstClr val="white"/>
                </a:solidFill>
                <a:latin typeface="Verdana" panose="020B0604030504040204" pitchFamily="34" charset="0"/>
                <a:ea typeface="Verdana" panose="020B0604030504040204" pitchFamily="34" charset="0"/>
              </a:rPr>
              <a:t>Clasificación arancelaria</a:t>
            </a:r>
          </a:p>
        </p:txBody>
      </p:sp>
      <p:sp>
        <p:nvSpPr>
          <p:cNvPr id="33" name="Text Placeholder 3">
            <a:extLst>
              <a:ext uri="{FF2B5EF4-FFF2-40B4-BE49-F238E27FC236}">
                <a16:creationId xmlns:a16="http://schemas.microsoft.com/office/drawing/2014/main" id="{07E18978-2B25-4E1D-8AAD-D3D0524EDC22}"/>
              </a:ext>
            </a:extLst>
          </p:cNvPr>
          <p:cNvSpPr txBox="1">
            <a:spLocks/>
          </p:cNvSpPr>
          <p:nvPr/>
        </p:nvSpPr>
        <p:spPr bwMode="gray">
          <a:xfrm>
            <a:off x="300442" y="2163168"/>
            <a:ext cx="2600377" cy="423192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La </a:t>
            </a:r>
            <a:r>
              <a:rPr lang="es-MX" sz="1250" b="1" dirty="0">
                <a:solidFill>
                  <a:prstClr val="black"/>
                </a:solidFill>
                <a:latin typeface="Verdana" panose="020B0604030504040204" pitchFamily="34" charset="0"/>
                <a:ea typeface="Verdana" panose="020B0604030504040204" pitchFamily="34" charset="0"/>
              </a:rPr>
              <a:t>indebida clasificación arancelaria </a:t>
            </a:r>
            <a:r>
              <a:rPr lang="es-MX" sz="1250" dirty="0">
                <a:solidFill>
                  <a:prstClr val="black"/>
                </a:solidFill>
                <a:latin typeface="Verdana" panose="020B0604030504040204" pitchFamily="34" charset="0"/>
                <a:ea typeface="Verdana" panose="020B0604030504040204" pitchFamily="34" charset="0"/>
              </a:rPr>
              <a:t>de los productos de importación y/o exportación es causa determinante </a:t>
            </a:r>
            <a:r>
              <a:rPr lang="es-MX" sz="1250" b="1" dirty="0">
                <a:solidFill>
                  <a:prstClr val="black"/>
                </a:solidFill>
                <a:latin typeface="Verdana" panose="020B0604030504040204" pitchFamily="34" charset="0"/>
                <a:ea typeface="Verdana" panose="020B0604030504040204" pitchFamily="34" charset="0"/>
              </a:rPr>
              <a:t>para no cumplir con el pago de los impuestos aplicables</a:t>
            </a:r>
            <a:r>
              <a:rPr lang="es-MX" sz="1250" dirty="0">
                <a:solidFill>
                  <a:prstClr val="black"/>
                </a:solidFill>
                <a:latin typeface="Verdana" panose="020B0604030504040204" pitchFamily="34" charset="0"/>
                <a:ea typeface="Verdana" panose="020B0604030504040204" pitchFamily="34" charset="0"/>
              </a:rPr>
              <a:t>, así como la falta de </a:t>
            </a:r>
            <a:r>
              <a:rPr lang="es-MX" sz="1250" b="1" dirty="0">
                <a:solidFill>
                  <a:prstClr val="black"/>
                </a:solidFill>
                <a:latin typeface="Verdana" panose="020B0604030504040204" pitchFamily="34" charset="0"/>
                <a:ea typeface="Verdana" panose="020B0604030504040204" pitchFamily="34" charset="0"/>
              </a:rPr>
              <a:t>cumplimiento de regulaciones y restricciones no arancelarias.</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a:t>
            </a:r>
            <a:r>
              <a:rPr lang="es-MX" sz="1250" b="1" dirty="0">
                <a:solidFill>
                  <a:prstClr val="black"/>
                </a:solidFill>
                <a:latin typeface="Verdana" panose="020B0604030504040204" pitchFamily="34" charset="0"/>
                <a:ea typeface="Verdana" panose="020B0604030504040204" pitchFamily="34" charset="0"/>
              </a:rPr>
              <a:t>debe contar con políticas y procedimientos</a:t>
            </a:r>
            <a:r>
              <a:rPr lang="es-MX" sz="1250" dirty="0">
                <a:solidFill>
                  <a:prstClr val="black"/>
                </a:solidFill>
                <a:latin typeface="Verdana" panose="020B0604030504040204" pitchFamily="34" charset="0"/>
                <a:ea typeface="Verdana" panose="020B0604030504040204" pitchFamily="34" charset="0"/>
              </a:rPr>
              <a:t> asociados al control para </a:t>
            </a:r>
            <a:r>
              <a:rPr lang="es-MX" sz="1250" b="1" dirty="0">
                <a:solidFill>
                  <a:prstClr val="black"/>
                </a:solidFill>
                <a:latin typeface="Verdana" panose="020B0604030504040204" pitchFamily="34" charset="0"/>
                <a:ea typeface="Verdana" panose="020B0604030504040204" pitchFamily="34" charset="0"/>
              </a:rPr>
              <a:t>garantizar la clasificación arancelaria correcta.</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a:t>
            </a:r>
            <a:r>
              <a:rPr lang="es-MX" sz="1250" b="1" dirty="0">
                <a:solidFill>
                  <a:prstClr val="black"/>
                </a:solidFill>
                <a:latin typeface="Verdana" panose="020B0604030504040204" pitchFamily="34" charset="0"/>
                <a:ea typeface="Verdana" panose="020B0604030504040204" pitchFamily="34" charset="0"/>
              </a:rPr>
              <a:t>debe contar con diversos mecanismos</a:t>
            </a:r>
            <a:r>
              <a:rPr lang="es-MX" sz="1250" dirty="0">
                <a:solidFill>
                  <a:prstClr val="black"/>
                </a:solidFill>
                <a:latin typeface="Verdana" panose="020B0604030504040204" pitchFamily="34" charset="0"/>
                <a:ea typeface="Verdana" panose="020B0604030504040204" pitchFamily="34" charset="0"/>
              </a:rPr>
              <a:t> para garantizar la </a:t>
            </a:r>
            <a:r>
              <a:rPr lang="es-MX" sz="1250" b="1" dirty="0">
                <a:solidFill>
                  <a:prstClr val="black"/>
                </a:solidFill>
                <a:latin typeface="Verdana" panose="020B0604030504040204" pitchFamily="34" charset="0"/>
                <a:ea typeface="Verdana" panose="020B0604030504040204" pitchFamily="34" charset="0"/>
              </a:rPr>
              <a:t>adecuada clasificación arancelaria.</a:t>
            </a:r>
          </a:p>
          <a:p>
            <a:pPr marL="85725" lvl="1" indent="-85725">
              <a:buSzPct val="100000"/>
              <a:buFont typeface="Arial" panose="020B0604020202020204" pitchFamily="34" charset="0"/>
              <a:buChar char="•"/>
              <a:defRPr/>
            </a:pPr>
            <a:endParaRPr lang="en-US" sz="1250" dirty="0">
              <a:solidFill>
                <a:prstClr val="black"/>
              </a:solidFill>
              <a:latin typeface="Verdana" panose="020B0604030504040204" pitchFamily="34" charset="0"/>
              <a:ea typeface="Verdana" panose="020B0604030504040204" pitchFamily="34" charset="0"/>
            </a:endParaRPr>
          </a:p>
        </p:txBody>
      </p:sp>
      <p:sp>
        <p:nvSpPr>
          <p:cNvPr id="34" name="Isosceles Triangle 13">
            <a:extLst>
              <a:ext uri="{FF2B5EF4-FFF2-40B4-BE49-F238E27FC236}">
                <a16:creationId xmlns:a16="http://schemas.microsoft.com/office/drawing/2014/main" id="{614C1117-49A6-4521-B9F4-A158BD2F2EB7}"/>
              </a:ext>
            </a:extLst>
          </p:cNvPr>
          <p:cNvSpPr/>
          <p:nvPr/>
        </p:nvSpPr>
        <p:spPr bwMode="gray">
          <a:xfrm>
            <a:off x="1346815"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35" name="Oval 34">
            <a:extLst>
              <a:ext uri="{FF2B5EF4-FFF2-40B4-BE49-F238E27FC236}">
                <a16:creationId xmlns:a16="http://schemas.microsoft.com/office/drawing/2014/main" id="{3259543F-5F0D-448D-AD5E-47D9EB635118}"/>
              </a:ext>
            </a:extLst>
          </p:cNvPr>
          <p:cNvSpPr/>
          <p:nvPr/>
        </p:nvSpPr>
        <p:spPr bwMode="gray">
          <a:xfrm rot="5400000">
            <a:off x="1099974" y="730647"/>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36" name="Straight Connector 35">
            <a:extLst>
              <a:ext uri="{FF2B5EF4-FFF2-40B4-BE49-F238E27FC236}">
                <a16:creationId xmlns:a16="http://schemas.microsoft.com/office/drawing/2014/main" id="{E522E787-75D7-4FFD-AD42-FB09943783E7}"/>
              </a:ext>
            </a:extLst>
          </p:cNvPr>
          <p:cNvCxnSpPr/>
          <p:nvPr/>
        </p:nvCxnSpPr>
        <p:spPr>
          <a:xfrm>
            <a:off x="2987298" y="1744771"/>
            <a:ext cx="0" cy="4458664"/>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144">
            <a:extLst>
              <a:ext uri="{FF2B5EF4-FFF2-40B4-BE49-F238E27FC236}">
                <a16:creationId xmlns:a16="http://schemas.microsoft.com/office/drawing/2014/main" id="{2C1E8138-AE6F-40D1-AB79-A0E54B749399}"/>
              </a:ext>
            </a:extLst>
          </p:cNvPr>
          <p:cNvGrpSpPr>
            <a:grpSpLocks noChangeAspect="1"/>
          </p:cNvGrpSpPr>
          <p:nvPr/>
        </p:nvGrpSpPr>
        <p:grpSpPr bwMode="auto">
          <a:xfrm>
            <a:off x="1181790" y="804576"/>
            <a:ext cx="490985" cy="490985"/>
            <a:chOff x="2963" y="1300"/>
            <a:chExt cx="340" cy="340"/>
          </a:xfrm>
          <a:solidFill>
            <a:schemeClr val="bg1"/>
          </a:solidFill>
        </p:grpSpPr>
        <p:sp>
          <p:nvSpPr>
            <p:cNvPr id="39" name="Freeform 145">
              <a:extLst>
                <a:ext uri="{FF2B5EF4-FFF2-40B4-BE49-F238E27FC236}">
                  <a16:creationId xmlns:a16="http://schemas.microsoft.com/office/drawing/2014/main" id="{CBE5423B-6F4D-4A3F-9CA6-B9A2F2CE3C16}"/>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0" name="Freeform 146">
              <a:extLst>
                <a:ext uri="{FF2B5EF4-FFF2-40B4-BE49-F238E27FC236}">
                  <a16:creationId xmlns:a16="http://schemas.microsoft.com/office/drawing/2014/main" id="{BF0495C0-6C76-4025-A203-7F262304369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1" name="Snip Diagonal Corner Rectangle 162">
            <a:extLst>
              <a:ext uri="{FF2B5EF4-FFF2-40B4-BE49-F238E27FC236}">
                <a16:creationId xmlns:a16="http://schemas.microsoft.com/office/drawing/2014/main" id="{75EADFB2-28B3-4BF8-B4EE-EC71457CF1B6}"/>
              </a:ext>
            </a:extLst>
          </p:cNvPr>
          <p:cNvSpPr/>
          <p:nvPr/>
        </p:nvSpPr>
        <p:spPr bwMode="gray">
          <a:xfrm>
            <a:off x="3221147" y="1412116"/>
            <a:ext cx="2583982"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Valoración Aduanera</a:t>
            </a:r>
          </a:p>
        </p:txBody>
      </p:sp>
      <p:sp>
        <p:nvSpPr>
          <p:cNvPr id="42" name="Text Placeholder 3">
            <a:extLst>
              <a:ext uri="{FF2B5EF4-FFF2-40B4-BE49-F238E27FC236}">
                <a16:creationId xmlns:a16="http://schemas.microsoft.com/office/drawing/2014/main" id="{767F6F6E-9796-437D-8AF5-F0CC217073F6}"/>
              </a:ext>
            </a:extLst>
          </p:cNvPr>
          <p:cNvSpPr txBox="1">
            <a:spLocks/>
          </p:cNvSpPr>
          <p:nvPr/>
        </p:nvSpPr>
        <p:spPr bwMode="gray">
          <a:xfrm>
            <a:off x="3221146" y="2163168"/>
            <a:ext cx="2479622" cy="4424288"/>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En nuestro país es importante </a:t>
            </a:r>
            <a:r>
              <a:rPr lang="es-MX" b="1" dirty="0"/>
              <a:t>combatir la subvaluación,</a:t>
            </a:r>
            <a:r>
              <a:rPr lang="es-MX" dirty="0"/>
              <a:t> </a:t>
            </a:r>
            <a:r>
              <a:rPr lang="es-MX" b="1" dirty="0"/>
              <a:t>sobrevaloración</a:t>
            </a:r>
            <a:r>
              <a:rPr lang="es-MX" dirty="0"/>
              <a:t> así como la </a:t>
            </a:r>
            <a:r>
              <a:rPr lang="es-MX" b="1" dirty="0"/>
              <a:t>afectación del valor derivado de vinculación entre empresas. </a:t>
            </a:r>
          </a:p>
          <a:p>
            <a:pPr lvl="1"/>
            <a:endParaRPr lang="es-MX" b="1" dirty="0"/>
          </a:p>
          <a:p>
            <a:pPr lvl="1"/>
            <a:r>
              <a:rPr lang="es-MX" dirty="0"/>
              <a:t>Se debe tener </a:t>
            </a:r>
            <a:r>
              <a:rPr lang="es-MX" b="1" dirty="0"/>
              <a:t>procedimientos, medidas de control,</a:t>
            </a:r>
            <a:r>
              <a:rPr lang="es-MX" dirty="0"/>
              <a:t> así como contar con los documentos de prueba </a:t>
            </a:r>
            <a:r>
              <a:rPr lang="es-MX" b="1" dirty="0"/>
              <a:t>para garantizar que se determina la valoración aduanera.</a:t>
            </a:r>
          </a:p>
          <a:p>
            <a:pPr lvl="1"/>
            <a:endParaRPr lang="es-MX" dirty="0"/>
          </a:p>
          <a:p>
            <a:pPr lvl="1"/>
            <a:r>
              <a:rPr lang="es-MX" dirty="0"/>
              <a:t>Se debe tener la </a:t>
            </a:r>
            <a:r>
              <a:rPr lang="es-MX" b="1" dirty="0"/>
              <a:t>información de los gastos incrementables y </a:t>
            </a:r>
            <a:r>
              <a:rPr lang="es-MX" b="1" dirty="0" err="1"/>
              <a:t>decrementables</a:t>
            </a:r>
            <a:r>
              <a:rPr lang="es-MX" b="1" dirty="0"/>
              <a:t> </a:t>
            </a:r>
            <a:r>
              <a:rPr lang="es-MX" dirty="0"/>
              <a:t>correspondientes, </a:t>
            </a:r>
            <a:r>
              <a:rPr lang="es-MX" b="1" dirty="0"/>
              <a:t>así como los documentos que los soporten.</a:t>
            </a:r>
            <a:endParaRPr lang="en-US" b="1" dirty="0"/>
          </a:p>
        </p:txBody>
      </p:sp>
      <p:sp>
        <p:nvSpPr>
          <p:cNvPr id="43" name="Isosceles Triangle 14">
            <a:extLst>
              <a:ext uri="{FF2B5EF4-FFF2-40B4-BE49-F238E27FC236}">
                <a16:creationId xmlns:a16="http://schemas.microsoft.com/office/drawing/2014/main" id="{2FF065FE-C3F6-4CE4-94E2-9D75B53AFC39}"/>
              </a:ext>
            </a:extLst>
          </p:cNvPr>
          <p:cNvSpPr/>
          <p:nvPr/>
        </p:nvSpPr>
        <p:spPr bwMode="gray">
          <a:xfrm>
            <a:off x="4246160"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44" name="Oval 43">
            <a:extLst>
              <a:ext uri="{FF2B5EF4-FFF2-40B4-BE49-F238E27FC236}">
                <a16:creationId xmlns:a16="http://schemas.microsoft.com/office/drawing/2014/main" id="{6340A41D-F9D7-4E60-9F23-5E5545E286E5}"/>
              </a:ext>
            </a:extLst>
          </p:cNvPr>
          <p:cNvSpPr/>
          <p:nvPr/>
        </p:nvSpPr>
        <p:spPr bwMode="gray">
          <a:xfrm rot="5400000">
            <a:off x="3999319" y="730647"/>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45" name="Straight Connector 44">
            <a:extLst>
              <a:ext uri="{FF2B5EF4-FFF2-40B4-BE49-F238E27FC236}">
                <a16:creationId xmlns:a16="http://schemas.microsoft.com/office/drawing/2014/main" id="{A3E2E6B4-89BB-478C-B7AC-D3EB62553285}"/>
              </a:ext>
            </a:extLst>
          </p:cNvPr>
          <p:cNvCxnSpPr/>
          <p:nvPr/>
        </p:nvCxnSpPr>
        <p:spPr>
          <a:xfrm>
            <a:off x="5792704" y="1744765"/>
            <a:ext cx="0" cy="4458664"/>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46" name="Group 726">
            <a:extLst>
              <a:ext uri="{FF2B5EF4-FFF2-40B4-BE49-F238E27FC236}">
                <a16:creationId xmlns:a16="http://schemas.microsoft.com/office/drawing/2014/main" id="{AD5721FA-6143-427D-BA08-1625CCD27DB6}"/>
              </a:ext>
            </a:extLst>
          </p:cNvPr>
          <p:cNvGrpSpPr>
            <a:grpSpLocks noChangeAspect="1"/>
          </p:cNvGrpSpPr>
          <p:nvPr/>
        </p:nvGrpSpPr>
        <p:grpSpPr bwMode="auto">
          <a:xfrm>
            <a:off x="4083257" y="811396"/>
            <a:ext cx="490985" cy="490985"/>
            <a:chOff x="5022" y="3403"/>
            <a:chExt cx="340" cy="340"/>
          </a:xfrm>
          <a:solidFill>
            <a:schemeClr val="bg1"/>
          </a:solidFill>
        </p:grpSpPr>
        <p:sp>
          <p:nvSpPr>
            <p:cNvPr id="47" name="Freeform 727">
              <a:extLst>
                <a:ext uri="{FF2B5EF4-FFF2-40B4-BE49-F238E27FC236}">
                  <a16:creationId xmlns:a16="http://schemas.microsoft.com/office/drawing/2014/main" id="{F4AE27C9-0369-414F-A73A-AADD91A4D47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8" name="Freeform 728">
              <a:extLst>
                <a:ext uri="{FF2B5EF4-FFF2-40B4-BE49-F238E27FC236}">
                  <a16:creationId xmlns:a16="http://schemas.microsoft.com/office/drawing/2014/main" id="{C6EA0A6F-03DF-451D-88D1-847BCC156EE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9" name="Text Placeholder 3">
            <a:extLst>
              <a:ext uri="{FF2B5EF4-FFF2-40B4-BE49-F238E27FC236}">
                <a16:creationId xmlns:a16="http://schemas.microsoft.com/office/drawing/2014/main" id="{5D9861DE-6054-4702-8209-7A59ADCD529B}"/>
              </a:ext>
            </a:extLst>
          </p:cNvPr>
          <p:cNvSpPr txBox="1">
            <a:spLocks/>
          </p:cNvSpPr>
          <p:nvPr/>
        </p:nvSpPr>
        <p:spPr bwMode="gray">
          <a:xfrm>
            <a:off x="6035587" y="2163168"/>
            <a:ext cx="2608261" cy="4424288"/>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a:t>
            </a:r>
            <a:r>
              <a:rPr lang="es-MX" b="1" dirty="0"/>
              <a:t>operaciones de Comercio Exterior </a:t>
            </a:r>
            <a:r>
              <a:rPr lang="es-MX" dirty="0"/>
              <a:t>tienen la </a:t>
            </a:r>
            <a:r>
              <a:rPr lang="es-MX" b="1" dirty="0"/>
              <a:t>posibilidad de acceder a las preferencias arancelarias </a:t>
            </a:r>
            <a:r>
              <a:rPr lang="es-MX" dirty="0"/>
              <a:t>establecidas por los  </a:t>
            </a:r>
            <a:r>
              <a:rPr lang="es-MX" b="1" dirty="0"/>
              <a:t>acuerdos comerciales suscritos</a:t>
            </a:r>
            <a:r>
              <a:rPr lang="es-MX" dirty="0"/>
              <a:t>. </a:t>
            </a:r>
          </a:p>
          <a:p>
            <a:pPr lvl="1"/>
            <a:endParaRPr lang="es-MX" dirty="0"/>
          </a:p>
          <a:p>
            <a:pPr lvl="1"/>
            <a:r>
              <a:rPr lang="es-MX" dirty="0"/>
              <a:t>Se debe contar </a:t>
            </a:r>
            <a:r>
              <a:rPr lang="es-MX" b="1" dirty="0"/>
              <a:t>con procedimientos, medidas de control, </a:t>
            </a:r>
            <a:r>
              <a:rPr lang="es-MX" dirty="0"/>
              <a:t>así como contar con los documentos de prueba </a:t>
            </a:r>
            <a:r>
              <a:rPr lang="es-MX" b="1" dirty="0"/>
              <a:t>para garantizar que se determina el origen correctamente.</a:t>
            </a:r>
          </a:p>
          <a:p>
            <a:pPr lvl="1"/>
            <a:endParaRPr lang="es-MX" b="1" dirty="0"/>
          </a:p>
          <a:p>
            <a:pPr lvl="1"/>
            <a:r>
              <a:rPr lang="es-MX" dirty="0"/>
              <a:t>Se debe tener la información de cada importación, para </a:t>
            </a:r>
            <a:r>
              <a:rPr lang="es-MX" b="1" dirty="0"/>
              <a:t>acreditar que las mercancías cumplen con las reglas de origen </a:t>
            </a:r>
            <a:r>
              <a:rPr lang="es-MX" dirty="0"/>
              <a:t>y provienen del país con el cual se ha acordado un </a:t>
            </a:r>
            <a:r>
              <a:rPr lang="es-MX" b="1" dirty="0"/>
              <a:t>trato arancelario preferencial. </a:t>
            </a:r>
          </a:p>
        </p:txBody>
      </p:sp>
      <p:sp>
        <p:nvSpPr>
          <p:cNvPr id="50" name="Snip Diagonal Corner Rectangle 158">
            <a:extLst>
              <a:ext uri="{FF2B5EF4-FFF2-40B4-BE49-F238E27FC236}">
                <a16:creationId xmlns:a16="http://schemas.microsoft.com/office/drawing/2014/main" id="{08BEE219-92F8-4AB2-A949-5633755CD8BF}"/>
              </a:ext>
            </a:extLst>
          </p:cNvPr>
          <p:cNvSpPr/>
          <p:nvPr/>
        </p:nvSpPr>
        <p:spPr bwMode="gray">
          <a:xfrm>
            <a:off x="6096001" y="1412116"/>
            <a:ext cx="2648824"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Certificación de Origen</a:t>
            </a:r>
          </a:p>
        </p:txBody>
      </p:sp>
      <p:sp>
        <p:nvSpPr>
          <p:cNvPr id="51" name="Isosceles Triangle 16">
            <a:extLst>
              <a:ext uri="{FF2B5EF4-FFF2-40B4-BE49-F238E27FC236}">
                <a16:creationId xmlns:a16="http://schemas.microsoft.com/office/drawing/2014/main" id="{8FE2F7ED-A72F-4C17-AE15-1F2DD7247C81}"/>
              </a:ext>
            </a:extLst>
          </p:cNvPr>
          <p:cNvSpPr/>
          <p:nvPr/>
        </p:nvSpPr>
        <p:spPr bwMode="gray">
          <a:xfrm>
            <a:off x="7174066"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52" name="Oval 51">
            <a:extLst>
              <a:ext uri="{FF2B5EF4-FFF2-40B4-BE49-F238E27FC236}">
                <a16:creationId xmlns:a16="http://schemas.microsoft.com/office/drawing/2014/main" id="{F3CEFCE2-3696-49DD-829C-57FB9A9012DE}"/>
              </a:ext>
            </a:extLst>
          </p:cNvPr>
          <p:cNvSpPr/>
          <p:nvPr/>
        </p:nvSpPr>
        <p:spPr bwMode="gray">
          <a:xfrm rot="5400000">
            <a:off x="6927225" y="730647"/>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53" name="Straight Connector 52">
            <a:extLst>
              <a:ext uri="{FF2B5EF4-FFF2-40B4-BE49-F238E27FC236}">
                <a16:creationId xmlns:a16="http://schemas.microsoft.com/office/drawing/2014/main" id="{807F6870-F46D-4983-B42A-0962580E3C6D}"/>
              </a:ext>
            </a:extLst>
          </p:cNvPr>
          <p:cNvCxnSpPr/>
          <p:nvPr/>
        </p:nvCxnSpPr>
        <p:spPr>
          <a:xfrm>
            <a:off x="8735789" y="1733194"/>
            <a:ext cx="0" cy="4458664"/>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986">
            <a:extLst>
              <a:ext uri="{FF2B5EF4-FFF2-40B4-BE49-F238E27FC236}">
                <a16:creationId xmlns:a16="http://schemas.microsoft.com/office/drawing/2014/main" id="{C0B690DE-4B15-4BC3-A0AB-105E3776D984}"/>
              </a:ext>
            </a:extLst>
          </p:cNvPr>
          <p:cNvGrpSpPr>
            <a:grpSpLocks noChangeAspect="1"/>
          </p:cNvGrpSpPr>
          <p:nvPr/>
        </p:nvGrpSpPr>
        <p:grpSpPr bwMode="auto">
          <a:xfrm>
            <a:off x="7012231" y="811396"/>
            <a:ext cx="490985" cy="490985"/>
            <a:chOff x="4274" y="3998"/>
            <a:chExt cx="340" cy="340"/>
          </a:xfrm>
          <a:solidFill>
            <a:schemeClr val="bg1"/>
          </a:solidFill>
        </p:grpSpPr>
        <p:sp>
          <p:nvSpPr>
            <p:cNvPr id="55" name="Freeform 987">
              <a:extLst>
                <a:ext uri="{FF2B5EF4-FFF2-40B4-BE49-F238E27FC236}">
                  <a16:creationId xmlns:a16="http://schemas.microsoft.com/office/drawing/2014/main" id="{5307A8DB-4056-44C0-8128-D24AF47A3E1B}"/>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56" name="Freeform 988">
              <a:extLst>
                <a:ext uri="{FF2B5EF4-FFF2-40B4-BE49-F238E27FC236}">
                  <a16:creationId xmlns:a16="http://schemas.microsoft.com/office/drawing/2014/main" id="{D2918CA9-4FC1-4B87-967D-EFE0E9234FE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57" name="Text Placeholder 3">
            <a:extLst>
              <a:ext uri="{FF2B5EF4-FFF2-40B4-BE49-F238E27FC236}">
                <a16:creationId xmlns:a16="http://schemas.microsoft.com/office/drawing/2014/main" id="{4670EBA9-A2D4-4D3C-84E0-35386D502073}"/>
              </a:ext>
            </a:extLst>
          </p:cNvPr>
          <p:cNvSpPr txBox="1">
            <a:spLocks/>
          </p:cNvSpPr>
          <p:nvPr/>
        </p:nvSpPr>
        <p:spPr bwMode="gray">
          <a:xfrm>
            <a:off x="8978672" y="2163168"/>
            <a:ext cx="2462969" cy="3077766"/>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empresas deben de </a:t>
            </a:r>
            <a:r>
              <a:rPr lang="es-MX" b="1" dirty="0"/>
              <a:t>identificar los requisitos y obligaciones </a:t>
            </a:r>
            <a:r>
              <a:rPr lang="es-MX" dirty="0"/>
              <a:t>que habrán de </a:t>
            </a:r>
            <a:r>
              <a:rPr lang="es-MX" b="1" dirty="0"/>
              <a:t>cumplir cabalmente en todo momento. </a:t>
            </a:r>
          </a:p>
          <a:p>
            <a:pPr lvl="1"/>
            <a:endParaRPr lang="es-MX" dirty="0"/>
          </a:p>
          <a:p>
            <a:pPr lvl="1"/>
            <a:r>
              <a:rPr lang="es-MX" dirty="0"/>
              <a:t>Se debe tener </a:t>
            </a:r>
            <a:r>
              <a:rPr lang="es-MX" b="1" dirty="0"/>
              <a:t>procedimientos, medidas de control</a:t>
            </a:r>
            <a:r>
              <a:rPr lang="es-MX" dirty="0"/>
              <a:t>, así como contar con los documentos de prueba para </a:t>
            </a:r>
            <a:r>
              <a:rPr lang="es-MX" b="1" dirty="0"/>
              <a:t>garantizar que se cumplen  los requisitos y obligaciones</a:t>
            </a:r>
            <a:r>
              <a:rPr lang="es-MX" dirty="0"/>
              <a:t> en todo momento </a:t>
            </a:r>
            <a:r>
              <a:rPr lang="es-MX" b="1" dirty="0"/>
              <a:t>para mantener el registro del padrón de importadores. </a:t>
            </a:r>
            <a:endParaRPr lang="en-US" b="1" dirty="0"/>
          </a:p>
        </p:txBody>
      </p:sp>
      <p:sp>
        <p:nvSpPr>
          <p:cNvPr id="58" name="Snip Diagonal Corner Rectangle 160">
            <a:extLst>
              <a:ext uri="{FF2B5EF4-FFF2-40B4-BE49-F238E27FC236}">
                <a16:creationId xmlns:a16="http://schemas.microsoft.com/office/drawing/2014/main" id="{0DCA5390-C147-4797-A94D-B868BA87E302}"/>
              </a:ext>
            </a:extLst>
          </p:cNvPr>
          <p:cNvSpPr/>
          <p:nvPr/>
        </p:nvSpPr>
        <p:spPr bwMode="gray">
          <a:xfrm>
            <a:off x="8978672" y="1418991"/>
            <a:ext cx="2705851"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Padrón de Importadores</a:t>
            </a:r>
          </a:p>
        </p:txBody>
      </p:sp>
      <p:sp>
        <p:nvSpPr>
          <p:cNvPr id="59" name="Isosceles Triangle 18">
            <a:extLst>
              <a:ext uri="{FF2B5EF4-FFF2-40B4-BE49-F238E27FC236}">
                <a16:creationId xmlns:a16="http://schemas.microsoft.com/office/drawing/2014/main" id="{845517DC-237F-4930-9B93-34C0D8655B82}"/>
              </a:ext>
            </a:extLst>
          </p:cNvPr>
          <p:cNvSpPr/>
          <p:nvPr/>
        </p:nvSpPr>
        <p:spPr bwMode="gray">
          <a:xfrm>
            <a:off x="10130192"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60" name="Oval 59">
            <a:extLst>
              <a:ext uri="{FF2B5EF4-FFF2-40B4-BE49-F238E27FC236}">
                <a16:creationId xmlns:a16="http://schemas.microsoft.com/office/drawing/2014/main" id="{F7B7522B-E67F-4CAC-B672-EC1436B5C216}"/>
              </a:ext>
            </a:extLst>
          </p:cNvPr>
          <p:cNvSpPr/>
          <p:nvPr/>
        </p:nvSpPr>
        <p:spPr bwMode="gray">
          <a:xfrm rot="5400000">
            <a:off x="9883352" y="730647"/>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89" name="Straight Connector 88">
            <a:extLst>
              <a:ext uri="{FF2B5EF4-FFF2-40B4-BE49-F238E27FC236}">
                <a16:creationId xmlns:a16="http://schemas.microsoft.com/office/drawing/2014/main" id="{08330B26-E992-4C71-8C52-F48D464F450A}"/>
              </a:ext>
            </a:extLst>
          </p:cNvPr>
          <p:cNvCxnSpPr/>
          <p:nvPr/>
        </p:nvCxnSpPr>
        <p:spPr>
          <a:xfrm>
            <a:off x="11667493" y="1744765"/>
            <a:ext cx="0" cy="4458664"/>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90" name="Group 913">
            <a:extLst>
              <a:ext uri="{FF2B5EF4-FFF2-40B4-BE49-F238E27FC236}">
                <a16:creationId xmlns:a16="http://schemas.microsoft.com/office/drawing/2014/main" id="{BEB37045-831C-493B-9496-FDDEC2FCFFBC}"/>
              </a:ext>
            </a:extLst>
          </p:cNvPr>
          <p:cNvGrpSpPr>
            <a:grpSpLocks noChangeAspect="1"/>
          </p:cNvGrpSpPr>
          <p:nvPr/>
        </p:nvGrpSpPr>
        <p:grpSpPr bwMode="auto">
          <a:xfrm>
            <a:off x="9962227" y="811822"/>
            <a:ext cx="490985" cy="490985"/>
            <a:chOff x="4563" y="3912"/>
            <a:chExt cx="340" cy="340"/>
          </a:xfrm>
          <a:solidFill>
            <a:schemeClr val="bg1"/>
          </a:solidFill>
        </p:grpSpPr>
        <p:sp>
          <p:nvSpPr>
            <p:cNvPr id="91" name="Freeform 914">
              <a:extLst>
                <a:ext uri="{FF2B5EF4-FFF2-40B4-BE49-F238E27FC236}">
                  <a16:creationId xmlns:a16="http://schemas.microsoft.com/office/drawing/2014/main" id="{C2A8908C-BC56-4CC9-8EB2-C0F4D6DBC40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92" name="Freeform 915">
              <a:extLst>
                <a:ext uri="{FF2B5EF4-FFF2-40B4-BE49-F238E27FC236}">
                  <a16:creationId xmlns:a16="http://schemas.microsoft.com/office/drawing/2014/main" id="{2B7B4F62-2A26-4F72-8643-2915D23A8014}"/>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37" name="Rectangle 36">
            <a:extLst>
              <a:ext uri="{FF2B5EF4-FFF2-40B4-BE49-F238E27FC236}">
                <a16:creationId xmlns:a16="http://schemas.microsoft.com/office/drawing/2014/main" id="{CBF12B5F-3D0C-40FD-9851-15DFD9E26868}"/>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97CF5C12-A873-4C8B-B752-072F36195B62}"/>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2" name="Rectangle 61">
            <a:extLst>
              <a:ext uri="{FF2B5EF4-FFF2-40B4-BE49-F238E27FC236}">
                <a16:creationId xmlns:a16="http://schemas.microsoft.com/office/drawing/2014/main" id="{2F00508A-FB9B-4C0F-B463-7BEC181D568A}"/>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215904810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9315371" cy="461665"/>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omercio Exterior - Elementos y criterios de revisión</a:t>
            </a:r>
          </a:p>
        </p:txBody>
      </p:sp>
      <p:sp>
        <p:nvSpPr>
          <p:cNvPr id="32" name="Snip Diagonal Corner Rectangle 156">
            <a:extLst>
              <a:ext uri="{FF2B5EF4-FFF2-40B4-BE49-F238E27FC236}">
                <a16:creationId xmlns:a16="http://schemas.microsoft.com/office/drawing/2014/main" id="{F3134462-546B-4D6E-A489-9B758FB4E9A9}"/>
              </a:ext>
            </a:extLst>
          </p:cNvPr>
          <p:cNvSpPr/>
          <p:nvPr/>
        </p:nvSpPr>
        <p:spPr bwMode="gray">
          <a:xfrm>
            <a:off x="300443" y="1412116"/>
            <a:ext cx="2692312"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250" b="1" dirty="0">
                <a:solidFill>
                  <a:prstClr val="white"/>
                </a:solidFill>
                <a:latin typeface="Verdana" panose="020B0604030504040204" pitchFamily="34" charset="0"/>
                <a:ea typeface="Verdana" panose="020B0604030504040204" pitchFamily="34" charset="0"/>
              </a:rPr>
              <a:t>Prácticas Desleales</a:t>
            </a:r>
          </a:p>
        </p:txBody>
      </p:sp>
      <p:sp>
        <p:nvSpPr>
          <p:cNvPr id="33" name="Text Placeholder 3">
            <a:extLst>
              <a:ext uri="{FF2B5EF4-FFF2-40B4-BE49-F238E27FC236}">
                <a16:creationId xmlns:a16="http://schemas.microsoft.com/office/drawing/2014/main" id="{07E18978-2B25-4E1D-8AAD-D3D0524EDC22}"/>
              </a:ext>
            </a:extLst>
          </p:cNvPr>
          <p:cNvSpPr txBox="1">
            <a:spLocks/>
          </p:cNvSpPr>
          <p:nvPr/>
        </p:nvSpPr>
        <p:spPr bwMode="gray">
          <a:xfrm>
            <a:off x="300442" y="2163168"/>
            <a:ext cx="2600377" cy="461664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Este criterio tiene como finalidad el </a:t>
            </a:r>
            <a:r>
              <a:rPr lang="es-MX" sz="1250" b="1" dirty="0">
                <a:solidFill>
                  <a:prstClr val="black"/>
                </a:solidFill>
                <a:latin typeface="Verdana" panose="020B0604030504040204" pitchFamily="34" charset="0"/>
                <a:ea typeface="Verdana" panose="020B0604030504040204" pitchFamily="34" charset="0"/>
              </a:rPr>
              <a:t>evitar malas prácticas internacionales </a:t>
            </a:r>
            <a:r>
              <a:rPr lang="es-MX" sz="1250" dirty="0">
                <a:solidFill>
                  <a:prstClr val="black"/>
                </a:solidFill>
                <a:latin typeface="Verdana" panose="020B0604030504040204" pitchFamily="34" charset="0"/>
                <a:ea typeface="Verdana" panose="020B0604030504040204" pitchFamily="34" charset="0"/>
              </a:rPr>
              <a:t>de empresas o de gobiernos de otros países que incurren en </a:t>
            </a:r>
            <a:r>
              <a:rPr lang="es-MX" sz="1250" b="1" dirty="0">
                <a:solidFill>
                  <a:prstClr val="black"/>
                </a:solidFill>
                <a:latin typeface="Verdana" panose="020B0604030504040204" pitchFamily="34" charset="0"/>
                <a:ea typeface="Verdana" panose="020B0604030504040204" pitchFamily="34" charset="0"/>
              </a:rPr>
              <a:t>prácticas desleales de comercio internacional</a:t>
            </a:r>
            <a:r>
              <a:rPr lang="es-MX" sz="1250" dirty="0">
                <a:solidFill>
                  <a:prstClr val="black"/>
                </a:solidFill>
                <a:latin typeface="Verdana" panose="020B0604030504040204" pitchFamily="34" charset="0"/>
                <a:ea typeface="Verdana" panose="020B0604030504040204" pitchFamily="34" charset="0"/>
              </a:rPr>
              <a:t>, como son las prácticas de </a:t>
            </a:r>
            <a:r>
              <a:rPr lang="es-MX" sz="1250" b="1" dirty="0">
                <a:solidFill>
                  <a:prstClr val="black"/>
                </a:solidFill>
                <a:latin typeface="Verdana" panose="020B0604030504040204" pitchFamily="34" charset="0"/>
                <a:ea typeface="Verdana" panose="020B0604030504040204" pitchFamily="34" charset="0"/>
              </a:rPr>
              <a:t>dumping o de subsidios</a:t>
            </a:r>
            <a:r>
              <a:rPr lang="es-MX" sz="1250" dirty="0">
                <a:solidFill>
                  <a:prstClr val="black"/>
                </a:solidFill>
                <a:latin typeface="Verdana" panose="020B0604030504040204" pitchFamily="34" charset="0"/>
                <a:ea typeface="Verdana" panose="020B0604030504040204" pitchFamily="34" charset="0"/>
              </a:rPr>
              <a:t>. </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debe </a:t>
            </a:r>
            <a:r>
              <a:rPr lang="es-MX" sz="1250" b="1" dirty="0">
                <a:solidFill>
                  <a:prstClr val="black"/>
                </a:solidFill>
                <a:latin typeface="Verdana" panose="020B0604030504040204" pitchFamily="34" charset="0"/>
                <a:ea typeface="Verdana" panose="020B0604030504040204" pitchFamily="34" charset="0"/>
              </a:rPr>
              <a:t>identificar las fracciones arancelarias </a:t>
            </a:r>
            <a:r>
              <a:rPr lang="es-MX" sz="1250" dirty="0">
                <a:solidFill>
                  <a:prstClr val="black"/>
                </a:solidFill>
                <a:latin typeface="Verdana" panose="020B0604030504040204" pitchFamily="34" charset="0"/>
                <a:ea typeface="Verdana" panose="020B0604030504040204" pitchFamily="34" charset="0"/>
              </a:rPr>
              <a:t>utilizadas </a:t>
            </a:r>
            <a:r>
              <a:rPr lang="es-MX" sz="1250" b="1" dirty="0">
                <a:solidFill>
                  <a:prstClr val="black"/>
                </a:solidFill>
                <a:latin typeface="Verdana" panose="020B0604030504040204" pitchFamily="34" charset="0"/>
                <a:ea typeface="Verdana" panose="020B0604030504040204" pitchFamily="34" charset="0"/>
              </a:rPr>
              <a:t>sujetas a cuotas compensatorias con el país</a:t>
            </a:r>
            <a:r>
              <a:rPr lang="es-MX" sz="1250" dirty="0">
                <a:solidFill>
                  <a:prstClr val="black"/>
                </a:solidFill>
                <a:latin typeface="Verdana" panose="020B0604030504040204" pitchFamily="34" charset="0"/>
                <a:ea typeface="Verdana" panose="020B0604030504040204" pitchFamily="34" charset="0"/>
              </a:rPr>
              <a:t> de </a:t>
            </a:r>
            <a:r>
              <a:rPr lang="es-MX" sz="1250" b="1" dirty="0">
                <a:solidFill>
                  <a:prstClr val="black"/>
                </a:solidFill>
                <a:latin typeface="Verdana" panose="020B0604030504040204" pitchFamily="34" charset="0"/>
                <a:ea typeface="Verdana" panose="020B0604030504040204" pitchFamily="34" charset="0"/>
              </a:rPr>
              <a:t>origen</a:t>
            </a:r>
            <a:r>
              <a:rPr lang="es-MX" sz="1250" dirty="0">
                <a:solidFill>
                  <a:prstClr val="black"/>
                </a:solidFill>
                <a:latin typeface="Verdana" panose="020B0604030504040204" pitchFamily="34" charset="0"/>
                <a:ea typeface="Verdana" panose="020B0604030504040204" pitchFamily="34" charset="0"/>
              </a:rPr>
              <a:t>.</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Las mercancías a las cuales no les aplique cubrir las cuotas compensatorias, </a:t>
            </a:r>
            <a:r>
              <a:rPr lang="es-MX" sz="1250" b="1" dirty="0">
                <a:solidFill>
                  <a:prstClr val="black"/>
                </a:solidFill>
                <a:latin typeface="Verdana" panose="020B0604030504040204" pitchFamily="34" charset="0"/>
                <a:ea typeface="Verdana" panose="020B0604030504040204" pitchFamily="34" charset="0"/>
              </a:rPr>
              <a:t>debe cumplir con la normatividad aplicable</a:t>
            </a:r>
            <a:r>
              <a:rPr lang="es-MX" sz="1250" dirty="0">
                <a:solidFill>
                  <a:prstClr val="black"/>
                </a:solidFill>
                <a:latin typeface="Verdana" panose="020B0604030504040204" pitchFamily="34" charset="0"/>
                <a:ea typeface="Verdana" panose="020B0604030504040204" pitchFamily="34" charset="0"/>
              </a:rPr>
              <a:t>, a su vez se debe tener plenamente identificados a los fabricantes de las mismas. </a:t>
            </a:r>
            <a:endParaRPr lang="en-US" sz="1250" dirty="0">
              <a:solidFill>
                <a:prstClr val="black"/>
              </a:solidFill>
              <a:latin typeface="Verdana" panose="020B0604030504040204" pitchFamily="34" charset="0"/>
              <a:ea typeface="Verdana" panose="020B0604030504040204" pitchFamily="34" charset="0"/>
            </a:endParaRPr>
          </a:p>
        </p:txBody>
      </p:sp>
      <p:sp>
        <p:nvSpPr>
          <p:cNvPr id="34" name="Isosceles Triangle 13">
            <a:extLst>
              <a:ext uri="{FF2B5EF4-FFF2-40B4-BE49-F238E27FC236}">
                <a16:creationId xmlns:a16="http://schemas.microsoft.com/office/drawing/2014/main" id="{614C1117-49A6-4521-B9F4-A158BD2F2EB7}"/>
              </a:ext>
            </a:extLst>
          </p:cNvPr>
          <p:cNvSpPr/>
          <p:nvPr/>
        </p:nvSpPr>
        <p:spPr bwMode="gray">
          <a:xfrm>
            <a:off x="1346815"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35" name="Oval 34">
            <a:extLst>
              <a:ext uri="{FF2B5EF4-FFF2-40B4-BE49-F238E27FC236}">
                <a16:creationId xmlns:a16="http://schemas.microsoft.com/office/drawing/2014/main" id="{3259543F-5F0D-448D-AD5E-47D9EB635118}"/>
              </a:ext>
            </a:extLst>
          </p:cNvPr>
          <p:cNvSpPr/>
          <p:nvPr/>
        </p:nvSpPr>
        <p:spPr bwMode="gray">
          <a:xfrm rot="5400000">
            <a:off x="1099974" y="730647"/>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36" name="Straight Connector 35">
            <a:extLst>
              <a:ext uri="{FF2B5EF4-FFF2-40B4-BE49-F238E27FC236}">
                <a16:creationId xmlns:a16="http://schemas.microsoft.com/office/drawing/2014/main" id="{E522E787-75D7-4FFD-AD42-FB09943783E7}"/>
              </a:ext>
            </a:extLst>
          </p:cNvPr>
          <p:cNvCxnSpPr/>
          <p:nvPr/>
        </p:nvCxnSpPr>
        <p:spPr>
          <a:xfrm>
            <a:off x="2987298" y="1744771"/>
            <a:ext cx="0" cy="4458664"/>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144">
            <a:extLst>
              <a:ext uri="{FF2B5EF4-FFF2-40B4-BE49-F238E27FC236}">
                <a16:creationId xmlns:a16="http://schemas.microsoft.com/office/drawing/2014/main" id="{2C1E8138-AE6F-40D1-AB79-A0E54B749399}"/>
              </a:ext>
            </a:extLst>
          </p:cNvPr>
          <p:cNvGrpSpPr>
            <a:grpSpLocks noChangeAspect="1"/>
          </p:cNvGrpSpPr>
          <p:nvPr/>
        </p:nvGrpSpPr>
        <p:grpSpPr bwMode="auto">
          <a:xfrm>
            <a:off x="1181790" y="804576"/>
            <a:ext cx="490985" cy="490985"/>
            <a:chOff x="2963" y="1300"/>
            <a:chExt cx="340" cy="340"/>
          </a:xfrm>
          <a:solidFill>
            <a:schemeClr val="bg1"/>
          </a:solidFill>
        </p:grpSpPr>
        <p:sp>
          <p:nvSpPr>
            <p:cNvPr id="39" name="Freeform 145">
              <a:extLst>
                <a:ext uri="{FF2B5EF4-FFF2-40B4-BE49-F238E27FC236}">
                  <a16:creationId xmlns:a16="http://schemas.microsoft.com/office/drawing/2014/main" id="{CBE5423B-6F4D-4A3F-9CA6-B9A2F2CE3C16}"/>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0" name="Freeform 146">
              <a:extLst>
                <a:ext uri="{FF2B5EF4-FFF2-40B4-BE49-F238E27FC236}">
                  <a16:creationId xmlns:a16="http://schemas.microsoft.com/office/drawing/2014/main" id="{BF0495C0-6C76-4025-A203-7F262304369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1" name="Snip Diagonal Corner Rectangle 162">
            <a:extLst>
              <a:ext uri="{FF2B5EF4-FFF2-40B4-BE49-F238E27FC236}">
                <a16:creationId xmlns:a16="http://schemas.microsoft.com/office/drawing/2014/main" id="{75EADFB2-28B3-4BF8-B4EE-EC71457CF1B6}"/>
              </a:ext>
            </a:extLst>
          </p:cNvPr>
          <p:cNvSpPr/>
          <p:nvPr/>
        </p:nvSpPr>
        <p:spPr bwMode="gray">
          <a:xfrm>
            <a:off x="3221147" y="1412116"/>
            <a:ext cx="2583982"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Normas Oficiales Mexicanas</a:t>
            </a:r>
          </a:p>
        </p:txBody>
      </p:sp>
      <p:sp>
        <p:nvSpPr>
          <p:cNvPr id="42" name="Text Placeholder 3">
            <a:extLst>
              <a:ext uri="{FF2B5EF4-FFF2-40B4-BE49-F238E27FC236}">
                <a16:creationId xmlns:a16="http://schemas.microsoft.com/office/drawing/2014/main" id="{767F6F6E-9796-437D-8AF5-F0CC217073F6}"/>
              </a:ext>
            </a:extLst>
          </p:cNvPr>
          <p:cNvSpPr txBox="1">
            <a:spLocks/>
          </p:cNvSpPr>
          <p:nvPr/>
        </p:nvSpPr>
        <p:spPr bwMode="gray">
          <a:xfrm>
            <a:off x="3221146" y="2163168"/>
            <a:ext cx="2479622" cy="4616648"/>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Normas Oficiales Mexicanas (NOM) </a:t>
            </a:r>
            <a:r>
              <a:rPr lang="es-MX" b="1" dirty="0"/>
              <a:t>establecen las característica</a:t>
            </a:r>
            <a:r>
              <a:rPr lang="es-MX" dirty="0"/>
              <a:t>s que deben reunir los productos </a:t>
            </a:r>
            <a:r>
              <a:rPr lang="es-MX" b="1" dirty="0"/>
              <a:t>cuando éstos puedan constituir un riesgo para la seguridad de las personas o dañar la salud humana, animal, vegetal o del medio ambiente.</a:t>
            </a:r>
          </a:p>
          <a:p>
            <a:pPr lvl="1"/>
            <a:endParaRPr lang="es-MX" dirty="0"/>
          </a:p>
          <a:p>
            <a:pPr lvl="1"/>
            <a:r>
              <a:rPr lang="es-MX" dirty="0"/>
              <a:t>Se debe </a:t>
            </a:r>
            <a:r>
              <a:rPr lang="es-MX" b="1" dirty="0"/>
              <a:t>identificar las fracciones arancelarias </a:t>
            </a:r>
            <a:r>
              <a:rPr lang="es-MX" dirty="0"/>
              <a:t>utilizadas </a:t>
            </a:r>
            <a:r>
              <a:rPr lang="es-MX" b="1" dirty="0"/>
              <a:t>sujetas</a:t>
            </a:r>
            <a:r>
              <a:rPr lang="es-MX" dirty="0"/>
              <a:t> al cumplimiento de las </a:t>
            </a:r>
            <a:r>
              <a:rPr lang="es-MX" b="1" dirty="0"/>
              <a:t>Normas Oficiales Mexicanas. </a:t>
            </a:r>
          </a:p>
          <a:p>
            <a:pPr lvl="1"/>
            <a:endParaRPr lang="es-MX" b="1" dirty="0"/>
          </a:p>
          <a:p>
            <a:pPr lvl="1"/>
            <a:r>
              <a:rPr lang="es-MX" dirty="0"/>
              <a:t>Se debe tener mecanismos de control a fin de </a:t>
            </a:r>
            <a:r>
              <a:rPr lang="es-MX" b="1" dirty="0"/>
              <a:t>garantizar el cumplimiento de </a:t>
            </a:r>
            <a:r>
              <a:rPr lang="es-MX" b="1" dirty="0" err="1"/>
              <a:t>NOM's</a:t>
            </a:r>
            <a:r>
              <a:rPr lang="es-MX" b="1" dirty="0"/>
              <a:t>, </a:t>
            </a:r>
            <a:r>
              <a:rPr lang="es-MX" dirty="0"/>
              <a:t>con el soporte documental que lo acredite.</a:t>
            </a:r>
            <a:endParaRPr lang="en-US" dirty="0"/>
          </a:p>
        </p:txBody>
      </p:sp>
      <p:sp>
        <p:nvSpPr>
          <p:cNvPr id="43" name="Isosceles Triangle 14">
            <a:extLst>
              <a:ext uri="{FF2B5EF4-FFF2-40B4-BE49-F238E27FC236}">
                <a16:creationId xmlns:a16="http://schemas.microsoft.com/office/drawing/2014/main" id="{2FF065FE-C3F6-4CE4-94E2-9D75B53AFC39}"/>
              </a:ext>
            </a:extLst>
          </p:cNvPr>
          <p:cNvSpPr/>
          <p:nvPr/>
        </p:nvSpPr>
        <p:spPr bwMode="gray">
          <a:xfrm>
            <a:off x="4246160"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44" name="Oval 43">
            <a:extLst>
              <a:ext uri="{FF2B5EF4-FFF2-40B4-BE49-F238E27FC236}">
                <a16:creationId xmlns:a16="http://schemas.microsoft.com/office/drawing/2014/main" id="{6340A41D-F9D7-4E60-9F23-5E5545E286E5}"/>
              </a:ext>
            </a:extLst>
          </p:cNvPr>
          <p:cNvSpPr/>
          <p:nvPr/>
        </p:nvSpPr>
        <p:spPr bwMode="gray">
          <a:xfrm rot="5400000">
            <a:off x="3999319" y="730647"/>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45" name="Straight Connector 44">
            <a:extLst>
              <a:ext uri="{FF2B5EF4-FFF2-40B4-BE49-F238E27FC236}">
                <a16:creationId xmlns:a16="http://schemas.microsoft.com/office/drawing/2014/main" id="{A3E2E6B4-89BB-478C-B7AC-D3EB62553285}"/>
              </a:ext>
            </a:extLst>
          </p:cNvPr>
          <p:cNvCxnSpPr/>
          <p:nvPr/>
        </p:nvCxnSpPr>
        <p:spPr>
          <a:xfrm>
            <a:off x="5792704" y="1744765"/>
            <a:ext cx="0" cy="4458664"/>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46" name="Group 726">
            <a:extLst>
              <a:ext uri="{FF2B5EF4-FFF2-40B4-BE49-F238E27FC236}">
                <a16:creationId xmlns:a16="http://schemas.microsoft.com/office/drawing/2014/main" id="{AD5721FA-6143-427D-BA08-1625CCD27DB6}"/>
              </a:ext>
            </a:extLst>
          </p:cNvPr>
          <p:cNvGrpSpPr>
            <a:grpSpLocks noChangeAspect="1"/>
          </p:cNvGrpSpPr>
          <p:nvPr/>
        </p:nvGrpSpPr>
        <p:grpSpPr bwMode="auto">
          <a:xfrm>
            <a:off x="4083257" y="811396"/>
            <a:ext cx="490985" cy="490985"/>
            <a:chOff x="5022" y="3403"/>
            <a:chExt cx="340" cy="340"/>
          </a:xfrm>
          <a:solidFill>
            <a:schemeClr val="bg1"/>
          </a:solidFill>
        </p:grpSpPr>
        <p:sp>
          <p:nvSpPr>
            <p:cNvPr id="47" name="Freeform 727">
              <a:extLst>
                <a:ext uri="{FF2B5EF4-FFF2-40B4-BE49-F238E27FC236}">
                  <a16:creationId xmlns:a16="http://schemas.microsoft.com/office/drawing/2014/main" id="{F4AE27C9-0369-414F-A73A-AADD91A4D47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8" name="Freeform 728">
              <a:extLst>
                <a:ext uri="{FF2B5EF4-FFF2-40B4-BE49-F238E27FC236}">
                  <a16:creationId xmlns:a16="http://schemas.microsoft.com/office/drawing/2014/main" id="{C6EA0A6F-03DF-451D-88D1-847BCC156EE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9" name="Text Placeholder 3">
            <a:extLst>
              <a:ext uri="{FF2B5EF4-FFF2-40B4-BE49-F238E27FC236}">
                <a16:creationId xmlns:a16="http://schemas.microsoft.com/office/drawing/2014/main" id="{5D9861DE-6054-4702-8209-7A59ADCD529B}"/>
              </a:ext>
            </a:extLst>
          </p:cNvPr>
          <p:cNvSpPr txBox="1">
            <a:spLocks/>
          </p:cNvSpPr>
          <p:nvPr/>
        </p:nvSpPr>
        <p:spPr bwMode="gray">
          <a:xfrm>
            <a:off x="6035587" y="2163168"/>
            <a:ext cx="2608261" cy="384720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os INCOTERMS establecen las </a:t>
            </a:r>
            <a:r>
              <a:rPr lang="es-MX" b="1" dirty="0"/>
              <a:t>responsabilidades, costos y riesgos</a:t>
            </a:r>
            <a:r>
              <a:rPr lang="es-MX" dirty="0"/>
              <a:t> que se deben establecer </a:t>
            </a:r>
            <a:r>
              <a:rPr lang="es-MX" b="1" dirty="0"/>
              <a:t>para todas las partes implicadas.</a:t>
            </a:r>
          </a:p>
          <a:p>
            <a:pPr marL="0" lvl="1" indent="0">
              <a:buNone/>
            </a:pPr>
            <a:endParaRPr lang="es-MX" dirty="0"/>
          </a:p>
          <a:p>
            <a:pPr lvl="1"/>
            <a:r>
              <a:rPr lang="es-MX" dirty="0"/>
              <a:t>Se debe </a:t>
            </a:r>
            <a:r>
              <a:rPr lang="es-MX" b="1" dirty="0"/>
              <a:t>identificar por cada socio comercial </a:t>
            </a:r>
            <a:r>
              <a:rPr lang="es-MX" dirty="0"/>
              <a:t>las reglas de los INCOTERMS utilizadas, así como </a:t>
            </a:r>
            <a:r>
              <a:rPr lang="es-MX" b="1" dirty="0"/>
              <a:t>las responsabilidades, costos y riesgos inherentes a cada una de las partes. </a:t>
            </a:r>
          </a:p>
          <a:p>
            <a:pPr lvl="1"/>
            <a:endParaRPr lang="es-MX" dirty="0"/>
          </a:p>
          <a:p>
            <a:pPr lvl="1"/>
            <a:r>
              <a:rPr lang="es-MX" dirty="0"/>
              <a:t>Se debe tener </a:t>
            </a:r>
            <a:r>
              <a:rPr lang="es-MX" b="1" dirty="0"/>
              <a:t>soporte documental que establezca las reglas utilizadas con cada socio comercia</a:t>
            </a:r>
            <a:r>
              <a:rPr lang="es-MX" dirty="0"/>
              <a:t>l a fin de determinar las </a:t>
            </a:r>
            <a:r>
              <a:rPr lang="es-MX" b="1" dirty="0"/>
              <a:t>responsabilidades</a:t>
            </a:r>
            <a:r>
              <a:rPr lang="es-MX" dirty="0"/>
              <a:t> de cada parte. </a:t>
            </a:r>
          </a:p>
        </p:txBody>
      </p:sp>
      <p:sp>
        <p:nvSpPr>
          <p:cNvPr id="50" name="Snip Diagonal Corner Rectangle 158">
            <a:extLst>
              <a:ext uri="{FF2B5EF4-FFF2-40B4-BE49-F238E27FC236}">
                <a16:creationId xmlns:a16="http://schemas.microsoft.com/office/drawing/2014/main" id="{08BEE219-92F8-4AB2-A949-5633755CD8BF}"/>
              </a:ext>
            </a:extLst>
          </p:cNvPr>
          <p:cNvSpPr/>
          <p:nvPr/>
        </p:nvSpPr>
        <p:spPr bwMode="gray">
          <a:xfrm>
            <a:off x="6096001" y="1412116"/>
            <a:ext cx="2648824"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INCOTERMS</a:t>
            </a:r>
          </a:p>
        </p:txBody>
      </p:sp>
      <p:sp>
        <p:nvSpPr>
          <p:cNvPr id="51" name="Isosceles Triangle 16">
            <a:extLst>
              <a:ext uri="{FF2B5EF4-FFF2-40B4-BE49-F238E27FC236}">
                <a16:creationId xmlns:a16="http://schemas.microsoft.com/office/drawing/2014/main" id="{8FE2F7ED-A72F-4C17-AE15-1F2DD7247C81}"/>
              </a:ext>
            </a:extLst>
          </p:cNvPr>
          <p:cNvSpPr/>
          <p:nvPr/>
        </p:nvSpPr>
        <p:spPr bwMode="gray">
          <a:xfrm>
            <a:off x="7174066"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52" name="Oval 51">
            <a:extLst>
              <a:ext uri="{FF2B5EF4-FFF2-40B4-BE49-F238E27FC236}">
                <a16:creationId xmlns:a16="http://schemas.microsoft.com/office/drawing/2014/main" id="{F3CEFCE2-3696-49DD-829C-57FB9A9012DE}"/>
              </a:ext>
            </a:extLst>
          </p:cNvPr>
          <p:cNvSpPr/>
          <p:nvPr/>
        </p:nvSpPr>
        <p:spPr bwMode="gray">
          <a:xfrm rot="5400000">
            <a:off x="6927225" y="730647"/>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53" name="Straight Connector 52">
            <a:extLst>
              <a:ext uri="{FF2B5EF4-FFF2-40B4-BE49-F238E27FC236}">
                <a16:creationId xmlns:a16="http://schemas.microsoft.com/office/drawing/2014/main" id="{807F6870-F46D-4983-B42A-0962580E3C6D}"/>
              </a:ext>
            </a:extLst>
          </p:cNvPr>
          <p:cNvCxnSpPr/>
          <p:nvPr/>
        </p:nvCxnSpPr>
        <p:spPr>
          <a:xfrm>
            <a:off x="8735789" y="1733194"/>
            <a:ext cx="0" cy="4458664"/>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986">
            <a:extLst>
              <a:ext uri="{FF2B5EF4-FFF2-40B4-BE49-F238E27FC236}">
                <a16:creationId xmlns:a16="http://schemas.microsoft.com/office/drawing/2014/main" id="{C0B690DE-4B15-4BC3-A0AB-105E3776D984}"/>
              </a:ext>
            </a:extLst>
          </p:cNvPr>
          <p:cNvGrpSpPr>
            <a:grpSpLocks noChangeAspect="1"/>
          </p:cNvGrpSpPr>
          <p:nvPr/>
        </p:nvGrpSpPr>
        <p:grpSpPr bwMode="auto">
          <a:xfrm>
            <a:off x="7012231" y="811396"/>
            <a:ext cx="490985" cy="490985"/>
            <a:chOff x="4274" y="3998"/>
            <a:chExt cx="340" cy="340"/>
          </a:xfrm>
          <a:solidFill>
            <a:schemeClr val="bg1"/>
          </a:solidFill>
        </p:grpSpPr>
        <p:sp>
          <p:nvSpPr>
            <p:cNvPr id="55" name="Freeform 987">
              <a:extLst>
                <a:ext uri="{FF2B5EF4-FFF2-40B4-BE49-F238E27FC236}">
                  <a16:creationId xmlns:a16="http://schemas.microsoft.com/office/drawing/2014/main" id="{5307A8DB-4056-44C0-8128-D24AF47A3E1B}"/>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56" name="Freeform 988">
              <a:extLst>
                <a:ext uri="{FF2B5EF4-FFF2-40B4-BE49-F238E27FC236}">
                  <a16:creationId xmlns:a16="http://schemas.microsoft.com/office/drawing/2014/main" id="{D2918CA9-4FC1-4B87-967D-EFE0E9234FE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57" name="Text Placeholder 3">
            <a:extLst>
              <a:ext uri="{FF2B5EF4-FFF2-40B4-BE49-F238E27FC236}">
                <a16:creationId xmlns:a16="http://schemas.microsoft.com/office/drawing/2014/main" id="{4670EBA9-A2D4-4D3C-84E0-35386D502073}"/>
              </a:ext>
            </a:extLst>
          </p:cNvPr>
          <p:cNvSpPr txBox="1">
            <a:spLocks/>
          </p:cNvSpPr>
          <p:nvPr/>
        </p:nvSpPr>
        <p:spPr bwMode="gray">
          <a:xfrm>
            <a:off x="8978672" y="2163168"/>
            <a:ext cx="2462969" cy="4616648"/>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 Ley Aduanera y demás ordenamientos establecen que es </a:t>
            </a:r>
            <a:r>
              <a:rPr lang="es-MX" b="1" dirty="0"/>
              <a:t>obligación de los importadores y exportadores integrar un expediente electrónico </a:t>
            </a:r>
            <a:r>
              <a:rPr lang="es-MX" dirty="0"/>
              <a:t>de cada una de las operaciones que </a:t>
            </a:r>
            <a:r>
              <a:rPr lang="es-MX" b="1" dirty="0"/>
              <a:t>contenga el pedimento que ampare la operación</a:t>
            </a:r>
            <a:r>
              <a:rPr lang="es-MX" dirty="0"/>
              <a:t>, así como toda la información transmitida o presentada </a:t>
            </a:r>
            <a:r>
              <a:rPr lang="es-MX" b="1" dirty="0"/>
              <a:t>como anexo al mismo. </a:t>
            </a:r>
          </a:p>
          <a:p>
            <a:pPr lvl="1"/>
            <a:endParaRPr lang="es-MX" b="1" dirty="0"/>
          </a:p>
          <a:p>
            <a:pPr lvl="1"/>
            <a:r>
              <a:rPr lang="es-MX" dirty="0"/>
              <a:t>Se debe tener los archivos </a:t>
            </a:r>
            <a:r>
              <a:rPr lang="es-MX" b="1" dirty="0"/>
              <a:t>digitales por cada pedimento de importación y exportación</a:t>
            </a:r>
            <a:r>
              <a:rPr lang="es-MX" dirty="0"/>
              <a:t>.</a:t>
            </a:r>
          </a:p>
          <a:p>
            <a:pPr lvl="1"/>
            <a:endParaRPr lang="es-MX" dirty="0"/>
          </a:p>
          <a:p>
            <a:pPr lvl="1"/>
            <a:r>
              <a:rPr lang="es-MX" dirty="0"/>
              <a:t>Se debe tener </a:t>
            </a:r>
            <a:r>
              <a:rPr lang="es-MX" b="1" dirty="0"/>
              <a:t>procedimientos y soporte documental de la planeación </a:t>
            </a:r>
            <a:r>
              <a:rPr lang="es-MX" dirty="0"/>
              <a:t>de sus operaciones </a:t>
            </a:r>
            <a:r>
              <a:rPr lang="es-MX" b="1" dirty="0"/>
              <a:t>aduaneras</a:t>
            </a:r>
            <a:r>
              <a:rPr lang="es-MX" dirty="0"/>
              <a:t>.</a:t>
            </a:r>
            <a:endParaRPr lang="en-US" dirty="0"/>
          </a:p>
        </p:txBody>
      </p:sp>
      <p:sp>
        <p:nvSpPr>
          <p:cNvPr id="58" name="Snip Diagonal Corner Rectangle 160">
            <a:extLst>
              <a:ext uri="{FF2B5EF4-FFF2-40B4-BE49-F238E27FC236}">
                <a16:creationId xmlns:a16="http://schemas.microsoft.com/office/drawing/2014/main" id="{0DCA5390-C147-4797-A94D-B868BA87E302}"/>
              </a:ext>
            </a:extLst>
          </p:cNvPr>
          <p:cNvSpPr/>
          <p:nvPr/>
        </p:nvSpPr>
        <p:spPr bwMode="gray">
          <a:xfrm>
            <a:off x="8978672" y="1418991"/>
            <a:ext cx="2705851"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Expedientes Electrónicos</a:t>
            </a:r>
          </a:p>
        </p:txBody>
      </p:sp>
      <p:sp>
        <p:nvSpPr>
          <p:cNvPr id="59" name="Isosceles Triangle 18">
            <a:extLst>
              <a:ext uri="{FF2B5EF4-FFF2-40B4-BE49-F238E27FC236}">
                <a16:creationId xmlns:a16="http://schemas.microsoft.com/office/drawing/2014/main" id="{845517DC-237F-4930-9B93-34C0D8655B82}"/>
              </a:ext>
            </a:extLst>
          </p:cNvPr>
          <p:cNvSpPr/>
          <p:nvPr/>
        </p:nvSpPr>
        <p:spPr bwMode="gray">
          <a:xfrm>
            <a:off x="10130192"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60" name="Oval 59">
            <a:extLst>
              <a:ext uri="{FF2B5EF4-FFF2-40B4-BE49-F238E27FC236}">
                <a16:creationId xmlns:a16="http://schemas.microsoft.com/office/drawing/2014/main" id="{F7B7522B-E67F-4CAC-B672-EC1436B5C216}"/>
              </a:ext>
            </a:extLst>
          </p:cNvPr>
          <p:cNvSpPr/>
          <p:nvPr/>
        </p:nvSpPr>
        <p:spPr bwMode="gray">
          <a:xfrm rot="5400000">
            <a:off x="9883352" y="730647"/>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89" name="Straight Connector 88">
            <a:extLst>
              <a:ext uri="{FF2B5EF4-FFF2-40B4-BE49-F238E27FC236}">
                <a16:creationId xmlns:a16="http://schemas.microsoft.com/office/drawing/2014/main" id="{08330B26-E992-4C71-8C52-F48D464F450A}"/>
              </a:ext>
            </a:extLst>
          </p:cNvPr>
          <p:cNvCxnSpPr/>
          <p:nvPr/>
        </p:nvCxnSpPr>
        <p:spPr>
          <a:xfrm>
            <a:off x="11667493" y="1744765"/>
            <a:ext cx="0" cy="4458664"/>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90" name="Group 913">
            <a:extLst>
              <a:ext uri="{FF2B5EF4-FFF2-40B4-BE49-F238E27FC236}">
                <a16:creationId xmlns:a16="http://schemas.microsoft.com/office/drawing/2014/main" id="{BEB37045-831C-493B-9496-FDDEC2FCFFBC}"/>
              </a:ext>
            </a:extLst>
          </p:cNvPr>
          <p:cNvGrpSpPr>
            <a:grpSpLocks noChangeAspect="1"/>
          </p:cNvGrpSpPr>
          <p:nvPr/>
        </p:nvGrpSpPr>
        <p:grpSpPr bwMode="auto">
          <a:xfrm>
            <a:off x="9962227" y="811822"/>
            <a:ext cx="490985" cy="490985"/>
            <a:chOff x="4563" y="3912"/>
            <a:chExt cx="340" cy="340"/>
          </a:xfrm>
          <a:solidFill>
            <a:schemeClr val="bg1"/>
          </a:solidFill>
        </p:grpSpPr>
        <p:sp>
          <p:nvSpPr>
            <p:cNvPr id="91" name="Freeform 914">
              <a:extLst>
                <a:ext uri="{FF2B5EF4-FFF2-40B4-BE49-F238E27FC236}">
                  <a16:creationId xmlns:a16="http://schemas.microsoft.com/office/drawing/2014/main" id="{C2A8908C-BC56-4CC9-8EB2-C0F4D6DBC40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92" name="Freeform 915">
              <a:extLst>
                <a:ext uri="{FF2B5EF4-FFF2-40B4-BE49-F238E27FC236}">
                  <a16:creationId xmlns:a16="http://schemas.microsoft.com/office/drawing/2014/main" id="{2B7B4F62-2A26-4F72-8643-2915D23A8014}"/>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37" name="Rectangle 36">
            <a:extLst>
              <a:ext uri="{FF2B5EF4-FFF2-40B4-BE49-F238E27FC236}">
                <a16:creationId xmlns:a16="http://schemas.microsoft.com/office/drawing/2014/main" id="{BE9BBAE8-72C8-4113-80ED-7E044A40F375}"/>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DBBDC16A-AFBA-46D5-A68D-E142D0D2A7F7}"/>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2" name="Rectangle 61">
            <a:extLst>
              <a:ext uri="{FF2B5EF4-FFF2-40B4-BE49-F238E27FC236}">
                <a16:creationId xmlns:a16="http://schemas.microsoft.com/office/drawing/2014/main" id="{ED5E4499-F3EB-49F6-9DFC-D7FFC2F2B6FC}"/>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4137226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9315371" cy="461665"/>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omercio Exterior - Elementos y criterios de revisión</a:t>
            </a:r>
          </a:p>
        </p:txBody>
      </p:sp>
      <p:sp>
        <p:nvSpPr>
          <p:cNvPr id="32" name="Snip Diagonal Corner Rectangle 156">
            <a:extLst>
              <a:ext uri="{FF2B5EF4-FFF2-40B4-BE49-F238E27FC236}">
                <a16:creationId xmlns:a16="http://schemas.microsoft.com/office/drawing/2014/main" id="{F3134462-546B-4D6E-A489-9B758FB4E9A9}"/>
              </a:ext>
            </a:extLst>
          </p:cNvPr>
          <p:cNvSpPr/>
          <p:nvPr/>
        </p:nvSpPr>
        <p:spPr bwMode="gray">
          <a:xfrm>
            <a:off x="300443" y="1412116"/>
            <a:ext cx="2692312"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250" b="1" dirty="0">
                <a:solidFill>
                  <a:prstClr val="white"/>
                </a:solidFill>
                <a:latin typeface="Verdana" panose="020B0604030504040204" pitchFamily="34" charset="0"/>
                <a:ea typeface="Verdana" panose="020B0604030504040204" pitchFamily="34" charset="0"/>
              </a:rPr>
              <a:t>Programa PROSEC y Regla Octava</a:t>
            </a:r>
          </a:p>
        </p:txBody>
      </p:sp>
      <p:sp>
        <p:nvSpPr>
          <p:cNvPr id="33" name="Text Placeholder 3">
            <a:extLst>
              <a:ext uri="{FF2B5EF4-FFF2-40B4-BE49-F238E27FC236}">
                <a16:creationId xmlns:a16="http://schemas.microsoft.com/office/drawing/2014/main" id="{07E18978-2B25-4E1D-8AAD-D3D0524EDC22}"/>
              </a:ext>
            </a:extLst>
          </p:cNvPr>
          <p:cNvSpPr txBox="1">
            <a:spLocks/>
          </p:cNvSpPr>
          <p:nvPr/>
        </p:nvSpPr>
        <p:spPr bwMode="gray">
          <a:xfrm>
            <a:off x="300442" y="2163168"/>
            <a:ext cx="2600377" cy="442428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La importancia del programa de promoción sectorial así como de la regla octava radica en </a:t>
            </a:r>
            <a:r>
              <a:rPr lang="es-MX" sz="1250" b="1" dirty="0">
                <a:solidFill>
                  <a:prstClr val="black"/>
                </a:solidFill>
                <a:latin typeface="Verdana" panose="020B0604030504040204" pitchFamily="34" charset="0"/>
                <a:ea typeface="Verdana" panose="020B0604030504040204" pitchFamily="34" charset="0"/>
              </a:rPr>
              <a:t>disminuir la tasa del arancel a pagar por las importaciones</a:t>
            </a:r>
            <a:r>
              <a:rPr lang="es-MX" sz="1250" dirty="0">
                <a:solidFill>
                  <a:prstClr val="black"/>
                </a:solidFill>
                <a:latin typeface="Verdana" panose="020B0604030504040204" pitchFamily="34" charset="0"/>
                <a:ea typeface="Verdana" panose="020B0604030504040204" pitchFamily="34" charset="0"/>
              </a:rPr>
              <a:t>. </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En el caso de contar con un programa de promoción sectorial y/o una autorización de regla octava, se debe </a:t>
            </a:r>
            <a:r>
              <a:rPr lang="es-MX" sz="1250" b="1" dirty="0">
                <a:solidFill>
                  <a:prstClr val="black"/>
                </a:solidFill>
                <a:latin typeface="Verdana" panose="020B0604030504040204" pitchFamily="34" charset="0"/>
                <a:ea typeface="Verdana" panose="020B0604030504040204" pitchFamily="34" charset="0"/>
              </a:rPr>
              <a:t>contar con políticas, procedimientos documentados </a:t>
            </a:r>
            <a:r>
              <a:rPr lang="es-MX" sz="1250" dirty="0">
                <a:solidFill>
                  <a:prstClr val="black"/>
                </a:solidFill>
                <a:latin typeface="Verdana" panose="020B0604030504040204" pitchFamily="34" charset="0"/>
                <a:ea typeface="Verdana" panose="020B0604030504040204" pitchFamily="34" charset="0"/>
              </a:rPr>
              <a:t>y mecanismos de control </a:t>
            </a:r>
            <a:r>
              <a:rPr lang="es-MX" sz="1250" b="1" dirty="0">
                <a:solidFill>
                  <a:prstClr val="black"/>
                </a:solidFill>
                <a:latin typeface="Verdana" panose="020B0604030504040204" pitchFamily="34" charset="0"/>
                <a:ea typeface="Verdana" panose="020B0604030504040204" pitchFamily="34" charset="0"/>
              </a:rPr>
              <a:t>para garantizar el cabal cumplimiento de todas las disposiciones </a:t>
            </a:r>
            <a:r>
              <a:rPr lang="es-MX" sz="1250" dirty="0">
                <a:solidFill>
                  <a:prstClr val="black"/>
                </a:solidFill>
                <a:latin typeface="Verdana" panose="020B0604030504040204" pitchFamily="34" charset="0"/>
                <a:ea typeface="Verdana" panose="020B0604030504040204" pitchFamily="34" charset="0"/>
              </a:rPr>
              <a:t>requeridas en sus operaciones. </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debe realizar revisiones periódicas a los procedimientos y las acciones en caso de existir errores,. </a:t>
            </a:r>
            <a:endParaRPr lang="en-US" sz="1250" dirty="0">
              <a:solidFill>
                <a:prstClr val="black"/>
              </a:solidFill>
              <a:latin typeface="Verdana" panose="020B0604030504040204" pitchFamily="34" charset="0"/>
              <a:ea typeface="Verdana" panose="020B0604030504040204" pitchFamily="34" charset="0"/>
            </a:endParaRPr>
          </a:p>
        </p:txBody>
      </p:sp>
      <p:sp>
        <p:nvSpPr>
          <p:cNvPr id="34" name="Isosceles Triangle 13">
            <a:extLst>
              <a:ext uri="{FF2B5EF4-FFF2-40B4-BE49-F238E27FC236}">
                <a16:creationId xmlns:a16="http://schemas.microsoft.com/office/drawing/2014/main" id="{614C1117-49A6-4521-B9F4-A158BD2F2EB7}"/>
              </a:ext>
            </a:extLst>
          </p:cNvPr>
          <p:cNvSpPr/>
          <p:nvPr/>
        </p:nvSpPr>
        <p:spPr bwMode="gray">
          <a:xfrm>
            <a:off x="1346815"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35" name="Oval 34">
            <a:extLst>
              <a:ext uri="{FF2B5EF4-FFF2-40B4-BE49-F238E27FC236}">
                <a16:creationId xmlns:a16="http://schemas.microsoft.com/office/drawing/2014/main" id="{3259543F-5F0D-448D-AD5E-47D9EB635118}"/>
              </a:ext>
            </a:extLst>
          </p:cNvPr>
          <p:cNvSpPr/>
          <p:nvPr/>
        </p:nvSpPr>
        <p:spPr bwMode="gray">
          <a:xfrm rot="5400000">
            <a:off x="1099974" y="730647"/>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36" name="Straight Connector 35">
            <a:extLst>
              <a:ext uri="{FF2B5EF4-FFF2-40B4-BE49-F238E27FC236}">
                <a16:creationId xmlns:a16="http://schemas.microsoft.com/office/drawing/2014/main" id="{E522E787-75D7-4FFD-AD42-FB09943783E7}"/>
              </a:ext>
            </a:extLst>
          </p:cNvPr>
          <p:cNvCxnSpPr/>
          <p:nvPr/>
        </p:nvCxnSpPr>
        <p:spPr>
          <a:xfrm>
            <a:off x="2987298" y="1744771"/>
            <a:ext cx="0" cy="4458664"/>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144">
            <a:extLst>
              <a:ext uri="{FF2B5EF4-FFF2-40B4-BE49-F238E27FC236}">
                <a16:creationId xmlns:a16="http://schemas.microsoft.com/office/drawing/2014/main" id="{2C1E8138-AE6F-40D1-AB79-A0E54B749399}"/>
              </a:ext>
            </a:extLst>
          </p:cNvPr>
          <p:cNvGrpSpPr>
            <a:grpSpLocks noChangeAspect="1"/>
          </p:cNvGrpSpPr>
          <p:nvPr/>
        </p:nvGrpSpPr>
        <p:grpSpPr bwMode="auto">
          <a:xfrm>
            <a:off x="1181790" y="804576"/>
            <a:ext cx="490985" cy="490985"/>
            <a:chOff x="2963" y="1300"/>
            <a:chExt cx="340" cy="340"/>
          </a:xfrm>
          <a:solidFill>
            <a:schemeClr val="bg1"/>
          </a:solidFill>
        </p:grpSpPr>
        <p:sp>
          <p:nvSpPr>
            <p:cNvPr id="39" name="Freeform 145">
              <a:extLst>
                <a:ext uri="{FF2B5EF4-FFF2-40B4-BE49-F238E27FC236}">
                  <a16:creationId xmlns:a16="http://schemas.microsoft.com/office/drawing/2014/main" id="{CBE5423B-6F4D-4A3F-9CA6-B9A2F2CE3C16}"/>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0" name="Freeform 146">
              <a:extLst>
                <a:ext uri="{FF2B5EF4-FFF2-40B4-BE49-F238E27FC236}">
                  <a16:creationId xmlns:a16="http://schemas.microsoft.com/office/drawing/2014/main" id="{BF0495C0-6C76-4025-A203-7F262304369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1" name="Snip Diagonal Corner Rectangle 162">
            <a:extLst>
              <a:ext uri="{FF2B5EF4-FFF2-40B4-BE49-F238E27FC236}">
                <a16:creationId xmlns:a16="http://schemas.microsoft.com/office/drawing/2014/main" id="{75EADFB2-28B3-4BF8-B4EE-EC71457CF1B6}"/>
              </a:ext>
            </a:extLst>
          </p:cNvPr>
          <p:cNvSpPr/>
          <p:nvPr/>
        </p:nvSpPr>
        <p:spPr bwMode="gray">
          <a:xfrm>
            <a:off x="3221147" y="1412116"/>
            <a:ext cx="2583982"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Complemento de Carta Porte </a:t>
            </a:r>
          </a:p>
        </p:txBody>
      </p:sp>
      <p:sp>
        <p:nvSpPr>
          <p:cNvPr id="42" name="Text Placeholder 3">
            <a:extLst>
              <a:ext uri="{FF2B5EF4-FFF2-40B4-BE49-F238E27FC236}">
                <a16:creationId xmlns:a16="http://schemas.microsoft.com/office/drawing/2014/main" id="{767F6F6E-9796-437D-8AF5-F0CC217073F6}"/>
              </a:ext>
            </a:extLst>
          </p:cNvPr>
          <p:cNvSpPr txBox="1">
            <a:spLocks/>
          </p:cNvSpPr>
          <p:nvPr/>
        </p:nvSpPr>
        <p:spPr bwMode="gray">
          <a:xfrm>
            <a:off x="3221146" y="2163168"/>
            <a:ext cx="2479622" cy="403956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Este documento </a:t>
            </a:r>
            <a:r>
              <a:rPr lang="es-MX" sz="1250" b="1" dirty="0">
                <a:solidFill>
                  <a:prstClr val="black"/>
                </a:solidFill>
                <a:latin typeface="Verdana" panose="020B0604030504040204" pitchFamily="34" charset="0"/>
                <a:ea typeface="Verdana" panose="020B0604030504040204" pitchFamily="34" charset="0"/>
              </a:rPr>
              <a:t>sirve para acreditar la legal </a:t>
            </a:r>
            <a:r>
              <a:rPr lang="es-MX" sz="1250" dirty="0">
                <a:solidFill>
                  <a:prstClr val="black"/>
                </a:solidFill>
                <a:latin typeface="Verdana" panose="020B0604030504040204" pitchFamily="34" charset="0"/>
                <a:ea typeface="Verdana" panose="020B0604030504040204" pitchFamily="34" charset="0"/>
              </a:rPr>
              <a:t>estancia</a:t>
            </a:r>
            <a:r>
              <a:rPr lang="es-MX" sz="1250" b="1" dirty="0">
                <a:solidFill>
                  <a:prstClr val="black"/>
                </a:solidFill>
                <a:latin typeface="Verdana" panose="020B0604030504040204" pitchFamily="34" charset="0"/>
                <a:ea typeface="Verdana" panose="020B0604030504040204" pitchFamily="34" charset="0"/>
              </a:rPr>
              <a:t> </a:t>
            </a:r>
            <a:r>
              <a:rPr lang="es-MX" sz="1250" dirty="0">
                <a:solidFill>
                  <a:prstClr val="black"/>
                </a:solidFill>
                <a:latin typeface="Verdana" panose="020B0604030504040204" pitchFamily="34" charset="0"/>
                <a:ea typeface="Verdana" panose="020B0604030504040204" pitchFamily="34" charset="0"/>
              </a:rPr>
              <a:t>y </a:t>
            </a:r>
            <a:r>
              <a:rPr lang="es-MX" sz="1250" b="1" dirty="0">
                <a:solidFill>
                  <a:prstClr val="black"/>
                </a:solidFill>
                <a:latin typeface="Verdana" panose="020B0604030504040204" pitchFamily="34" charset="0"/>
                <a:ea typeface="Verdana" panose="020B0604030504040204" pitchFamily="34" charset="0"/>
              </a:rPr>
              <a:t>tenencia</a:t>
            </a:r>
            <a:r>
              <a:rPr lang="es-MX" sz="1250" dirty="0">
                <a:solidFill>
                  <a:prstClr val="black"/>
                </a:solidFill>
                <a:latin typeface="Verdana" panose="020B0604030504040204" pitchFamily="34" charset="0"/>
                <a:ea typeface="Verdana" panose="020B0604030504040204" pitchFamily="34" charset="0"/>
              </a:rPr>
              <a:t> de los bienes o mercancías </a:t>
            </a:r>
            <a:r>
              <a:rPr lang="es-MX" sz="1250" b="1" dirty="0">
                <a:solidFill>
                  <a:prstClr val="black"/>
                </a:solidFill>
                <a:latin typeface="Verdana" panose="020B0604030504040204" pitchFamily="34" charset="0"/>
                <a:ea typeface="Verdana" panose="020B0604030504040204" pitchFamily="34" charset="0"/>
              </a:rPr>
              <a:t>durante su traslado en territorio nacional,</a:t>
            </a:r>
            <a:r>
              <a:rPr lang="es-MX" sz="1250" dirty="0">
                <a:solidFill>
                  <a:prstClr val="black"/>
                </a:solidFill>
                <a:latin typeface="Verdana" panose="020B0604030504040204" pitchFamily="34" charset="0"/>
                <a:ea typeface="Verdana" panose="020B0604030504040204" pitchFamily="34" charset="0"/>
              </a:rPr>
              <a:t> así como identificar el origen y destino de las mismas. </a:t>
            </a:r>
          </a:p>
          <a:p>
            <a:pPr marL="85725" lvl="1" indent="-85725">
              <a:buSzPct val="100000"/>
              <a:buFont typeface="Arial" panose="020B0604020202020204" pitchFamily="34" charset="0"/>
              <a:buChar char="•"/>
              <a:defRPr/>
            </a:pPr>
            <a:endParaRPr lang="es-MX" sz="1250" b="1"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Quienes requieran el traslado de bienes o mercancías en territorio nacional, por sus propios medios de un lugar a otro, </a:t>
            </a:r>
            <a:r>
              <a:rPr lang="es-MX" sz="1250" b="1" dirty="0">
                <a:solidFill>
                  <a:prstClr val="black"/>
                </a:solidFill>
                <a:latin typeface="Verdana" panose="020B0604030504040204" pitchFamily="34" charset="0"/>
                <a:ea typeface="Verdana" panose="020B0604030504040204" pitchFamily="34" charset="0"/>
              </a:rPr>
              <a:t>están obligadas a emitir el complemento de carta de porte, con el cual se acredita la posesión de las mercancías</a:t>
            </a:r>
            <a:r>
              <a:rPr lang="es-MX" sz="1250" dirty="0">
                <a:solidFill>
                  <a:prstClr val="black"/>
                </a:solidFill>
                <a:latin typeface="Verdana" panose="020B0604030504040204" pitchFamily="34" charset="0"/>
                <a:ea typeface="Verdana" panose="020B0604030504040204" pitchFamily="34" charset="0"/>
              </a:rPr>
              <a:t>, además de la información sobre su procedencia y destino.</a:t>
            </a:r>
          </a:p>
          <a:p>
            <a:pPr marL="85725" lvl="1" indent="-85725">
              <a:buSzPct val="100000"/>
              <a:buFont typeface="Arial" panose="020B0604020202020204" pitchFamily="34" charset="0"/>
              <a:buChar char="•"/>
              <a:defRPr/>
            </a:pPr>
            <a:endParaRPr lang="en-US" sz="1250" dirty="0">
              <a:solidFill>
                <a:prstClr val="black"/>
              </a:solidFill>
              <a:latin typeface="Verdana" panose="020B0604030504040204" pitchFamily="34" charset="0"/>
              <a:ea typeface="Verdana" panose="020B0604030504040204" pitchFamily="34" charset="0"/>
            </a:endParaRPr>
          </a:p>
        </p:txBody>
      </p:sp>
      <p:sp>
        <p:nvSpPr>
          <p:cNvPr id="43" name="Isosceles Triangle 14">
            <a:extLst>
              <a:ext uri="{FF2B5EF4-FFF2-40B4-BE49-F238E27FC236}">
                <a16:creationId xmlns:a16="http://schemas.microsoft.com/office/drawing/2014/main" id="{2FF065FE-C3F6-4CE4-94E2-9D75B53AFC39}"/>
              </a:ext>
            </a:extLst>
          </p:cNvPr>
          <p:cNvSpPr/>
          <p:nvPr/>
        </p:nvSpPr>
        <p:spPr bwMode="gray">
          <a:xfrm>
            <a:off x="4246160"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44" name="Oval 43">
            <a:extLst>
              <a:ext uri="{FF2B5EF4-FFF2-40B4-BE49-F238E27FC236}">
                <a16:creationId xmlns:a16="http://schemas.microsoft.com/office/drawing/2014/main" id="{6340A41D-F9D7-4E60-9F23-5E5545E286E5}"/>
              </a:ext>
            </a:extLst>
          </p:cNvPr>
          <p:cNvSpPr/>
          <p:nvPr/>
        </p:nvSpPr>
        <p:spPr bwMode="gray">
          <a:xfrm rot="5400000">
            <a:off x="3999319" y="730647"/>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45" name="Straight Connector 44">
            <a:extLst>
              <a:ext uri="{FF2B5EF4-FFF2-40B4-BE49-F238E27FC236}">
                <a16:creationId xmlns:a16="http://schemas.microsoft.com/office/drawing/2014/main" id="{A3E2E6B4-89BB-478C-B7AC-D3EB62553285}"/>
              </a:ext>
            </a:extLst>
          </p:cNvPr>
          <p:cNvCxnSpPr/>
          <p:nvPr/>
        </p:nvCxnSpPr>
        <p:spPr>
          <a:xfrm>
            <a:off x="5792704" y="1744765"/>
            <a:ext cx="0" cy="4458664"/>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46" name="Group 726">
            <a:extLst>
              <a:ext uri="{FF2B5EF4-FFF2-40B4-BE49-F238E27FC236}">
                <a16:creationId xmlns:a16="http://schemas.microsoft.com/office/drawing/2014/main" id="{AD5721FA-6143-427D-BA08-1625CCD27DB6}"/>
              </a:ext>
            </a:extLst>
          </p:cNvPr>
          <p:cNvGrpSpPr>
            <a:grpSpLocks noChangeAspect="1"/>
          </p:cNvGrpSpPr>
          <p:nvPr/>
        </p:nvGrpSpPr>
        <p:grpSpPr bwMode="auto">
          <a:xfrm>
            <a:off x="4083257" y="811396"/>
            <a:ext cx="490985" cy="490985"/>
            <a:chOff x="5022" y="3403"/>
            <a:chExt cx="340" cy="340"/>
          </a:xfrm>
          <a:solidFill>
            <a:schemeClr val="bg1"/>
          </a:solidFill>
        </p:grpSpPr>
        <p:sp>
          <p:nvSpPr>
            <p:cNvPr id="47" name="Freeform 727">
              <a:extLst>
                <a:ext uri="{FF2B5EF4-FFF2-40B4-BE49-F238E27FC236}">
                  <a16:creationId xmlns:a16="http://schemas.microsoft.com/office/drawing/2014/main" id="{F4AE27C9-0369-414F-A73A-AADD91A4D47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8" name="Freeform 728">
              <a:extLst>
                <a:ext uri="{FF2B5EF4-FFF2-40B4-BE49-F238E27FC236}">
                  <a16:creationId xmlns:a16="http://schemas.microsoft.com/office/drawing/2014/main" id="{C6EA0A6F-03DF-451D-88D1-847BCC156EE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9" name="Text Placeholder 3">
            <a:extLst>
              <a:ext uri="{FF2B5EF4-FFF2-40B4-BE49-F238E27FC236}">
                <a16:creationId xmlns:a16="http://schemas.microsoft.com/office/drawing/2014/main" id="{5D9861DE-6054-4702-8209-7A59ADCD529B}"/>
              </a:ext>
            </a:extLst>
          </p:cNvPr>
          <p:cNvSpPr txBox="1">
            <a:spLocks/>
          </p:cNvSpPr>
          <p:nvPr/>
        </p:nvSpPr>
        <p:spPr bwMode="gray">
          <a:xfrm>
            <a:off x="6035587" y="2163168"/>
            <a:ext cx="2608261" cy="3270126"/>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regulaciones y restricciones no arancelarias </a:t>
            </a:r>
            <a:r>
              <a:rPr lang="es-MX" b="1" dirty="0"/>
              <a:t>son medidas que regulan o restringen la entrada o salida del país de las mercancías.</a:t>
            </a:r>
          </a:p>
          <a:p>
            <a:pPr lvl="1"/>
            <a:endParaRPr lang="es-MX" b="1" dirty="0"/>
          </a:p>
          <a:p>
            <a:pPr lvl="1"/>
            <a:r>
              <a:rPr lang="es-MX" dirty="0"/>
              <a:t>Se debe </a:t>
            </a:r>
            <a:r>
              <a:rPr lang="es-MX" b="1" dirty="0"/>
              <a:t>identificar las fracciones arancelarias </a:t>
            </a:r>
            <a:r>
              <a:rPr lang="es-MX" dirty="0"/>
              <a:t>utilizadas </a:t>
            </a:r>
            <a:r>
              <a:rPr lang="es-MX" b="1" dirty="0"/>
              <a:t>sujetas a regulaciones y restricciones </a:t>
            </a:r>
            <a:r>
              <a:rPr lang="es-MX" dirty="0"/>
              <a:t>no arancelarias.</a:t>
            </a:r>
          </a:p>
          <a:p>
            <a:pPr lvl="1"/>
            <a:endParaRPr lang="es-MX" dirty="0"/>
          </a:p>
          <a:p>
            <a:pPr lvl="1"/>
            <a:r>
              <a:rPr lang="es-MX" dirty="0"/>
              <a:t>Se debe contar con los </a:t>
            </a:r>
            <a:r>
              <a:rPr lang="es-MX" b="1" dirty="0"/>
              <a:t>procedimientos escritos para cumplir con la normatividad </a:t>
            </a:r>
            <a:r>
              <a:rPr lang="es-MX" dirty="0"/>
              <a:t>aplicable.</a:t>
            </a:r>
          </a:p>
        </p:txBody>
      </p:sp>
      <p:sp>
        <p:nvSpPr>
          <p:cNvPr id="50" name="Snip Diagonal Corner Rectangle 158">
            <a:extLst>
              <a:ext uri="{FF2B5EF4-FFF2-40B4-BE49-F238E27FC236}">
                <a16:creationId xmlns:a16="http://schemas.microsoft.com/office/drawing/2014/main" id="{08BEE219-92F8-4AB2-A949-5633755CD8BF}"/>
              </a:ext>
            </a:extLst>
          </p:cNvPr>
          <p:cNvSpPr/>
          <p:nvPr/>
        </p:nvSpPr>
        <p:spPr bwMode="gray">
          <a:xfrm>
            <a:off x="6096001" y="1412116"/>
            <a:ext cx="2648824"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Regulaciones y Restricciones No Arancelarias</a:t>
            </a:r>
          </a:p>
        </p:txBody>
      </p:sp>
      <p:sp>
        <p:nvSpPr>
          <p:cNvPr id="51" name="Isosceles Triangle 16">
            <a:extLst>
              <a:ext uri="{FF2B5EF4-FFF2-40B4-BE49-F238E27FC236}">
                <a16:creationId xmlns:a16="http://schemas.microsoft.com/office/drawing/2014/main" id="{8FE2F7ED-A72F-4C17-AE15-1F2DD7247C81}"/>
              </a:ext>
            </a:extLst>
          </p:cNvPr>
          <p:cNvSpPr/>
          <p:nvPr/>
        </p:nvSpPr>
        <p:spPr bwMode="gray">
          <a:xfrm>
            <a:off x="7174066"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52" name="Oval 51">
            <a:extLst>
              <a:ext uri="{FF2B5EF4-FFF2-40B4-BE49-F238E27FC236}">
                <a16:creationId xmlns:a16="http://schemas.microsoft.com/office/drawing/2014/main" id="{F3CEFCE2-3696-49DD-829C-57FB9A9012DE}"/>
              </a:ext>
            </a:extLst>
          </p:cNvPr>
          <p:cNvSpPr/>
          <p:nvPr/>
        </p:nvSpPr>
        <p:spPr bwMode="gray">
          <a:xfrm rot="5400000">
            <a:off x="6927225" y="730647"/>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53" name="Straight Connector 52">
            <a:extLst>
              <a:ext uri="{FF2B5EF4-FFF2-40B4-BE49-F238E27FC236}">
                <a16:creationId xmlns:a16="http://schemas.microsoft.com/office/drawing/2014/main" id="{807F6870-F46D-4983-B42A-0962580E3C6D}"/>
              </a:ext>
            </a:extLst>
          </p:cNvPr>
          <p:cNvCxnSpPr/>
          <p:nvPr/>
        </p:nvCxnSpPr>
        <p:spPr>
          <a:xfrm>
            <a:off x="8735789" y="1733194"/>
            <a:ext cx="0" cy="4458664"/>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986">
            <a:extLst>
              <a:ext uri="{FF2B5EF4-FFF2-40B4-BE49-F238E27FC236}">
                <a16:creationId xmlns:a16="http://schemas.microsoft.com/office/drawing/2014/main" id="{C0B690DE-4B15-4BC3-A0AB-105E3776D984}"/>
              </a:ext>
            </a:extLst>
          </p:cNvPr>
          <p:cNvGrpSpPr>
            <a:grpSpLocks noChangeAspect="1"/>
          </p:cNvGrpSpPr>
          <p:nvPr/>
        </p:nvGrpSpPr>
        <p:grpSpPr bwMode="auto">
          <a:xfrm>
            <a:off x="7012231" y="811396"/>
            <a:ext cx="490985" cy="490985"/>
            <a:chOff x="4274" y="3998"/>
            <a:chExt cx="340" cy="340"/>
          </a:xfrm>
          <a:solidFill>
            <a:schemeClr val="bg1"/>
          </a:solidFill>
        </p:grpSpPr>
        <p:sp>
          <p:nvSpPr>
            <p:cNvPr id="55" name="Freeform 987">
              <a:extLst>
                <a:ext uri="{FF2B5EF4-FFF2-40B4-BE49-F238E27FC236}">
                  <a16:creationId xmlns:a16="http://schemas.microsoft.com/office/drawing/2014/main" id="{5307A8DB-4056-44C0-8128-D24AF47A3E1B}"/>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56" name="Freeform 988">
              <a:extLst>
                <a:ext uri="{FF2B5EF4-FFF2-40B4-BE49-F238E27FC236}">
                  <a16:creationId xmlns:a16="http://schemas.microsoft.com/office/drawing/2014/main" id="{D2918CA9-4FC1-4B87-967D-EFE0E9234FE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57" name="Text Placeholder 3">
            <a:extLst>
              <a:ext uri="{FF2B5EF4-FFF2-40B4-BE49-F238E27FC236}">
                <a16:creationId xmlns:a16="http://schemas.microsoft.com/office/drawing/2014/main" id="{4670EBA9-A2D4-4D3C-84E0-35386D502073}"/>
              </a:ext>
            </a:extLst>
          </p:cNvPr>
          <p:cNvSpPr txBox="1">
            <a:spLocks/>
          </p:cNvSpPr>
          <p:nvPr/>
        </p:nvSpPr>
        <p:spPr bwMode="gray">
          <a:xfrm>
            <a:off x="8978672" y="2163168"/>
            <a:ext cx="2462969" cy="365484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Actividades Vulnerables” son una serie de actividades derivadas de diversos estudios en la materia son consideradas de alto riesgo por ser utilizadas como un vehículo para blanquear capitales provenientes de la realización de algún delito, y de esta forma integrar dichos recursos a la economía formal; por ello de conformidad con la Ley Federal para la Prevención e Identificación de Operaciones con Recursos de Procedencia Ilícita (Ley Federal PIORPI) y demás ordenamientos se debe dar cabal cumplimiento.</a:t>
            </a:r>
            <a:endParaRPr lang="en-US" dirty="0"/>
          </a:p>
        </p:txBody>
      </p:sp>
      <p:sp>
        <p:nvSpPr>
          <p:cNvPr id="58" name="Snip Diagonal Corner Rectangle 160">
            <a:extLst>
              <a:ext uri="{FF2B5EF4-FFF2-40B4-BE49-F238E27FC236}">
                <a16:creationId xmlns:a16="http://schemas.microsoft.com/office/drawing/2014/main" id="{0DCA5390-C147-4797-A94D-B868BA87E302}"/>
              </a:ext>
            </a:extLst>
          </p:cNvPr>
          <p:cNvSpPr/>
          <p:nvPr/>
        </p:nvSpPr>
        <p:spPr bwMode="gray">
          <a:xfrm>
            <a:off x="8978672" y="1418991"/>
            <a:ext cx="2705851"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Actividades Vulnerables</a:t>
            </a:r>
          </a:p>
        </p:txBody>
      </p:sp>
      <p:sp>
        <p:nvSpPr>
          <p:cNvPr id="59" name="Isosceles Triangle 18">
            <a:extLst>
              <a:ext uri="{FF2B5EF4-FFF2-40B4-BE49-F238E27FC236}">
                <a16:creationId xmlns:a16="http://schemas.microsoft.com/office/drawing/2014/main" id="{845517DC-237F-4930-9B93-34C0D8655B82}"/>
              </a:ext>
            </a:extLst>
          </p:cNvPr>
          <p:cNvSpPr/>
          <p:nvPr/>
        </p:nvSpPr>
        <p:spPr bwMode="gray">
          <a:xfrm>
            <a:off x="10130192"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60" name="Oval 59">
            <a:extLst>
              <a:ext uri="{FF2B5EF4-FFF2-40B4-BE49-F238E27FC236}">
                <a16:creationId xmlns:a16="http://schemas.microsoft.com/office/drawing/2014/main" id="{F7B7522B-E67F-4CAC-B672-EC1436B5C216}"/>
              </a:ext>
            </a:extLst>
          </p:cNvPr>
          <p:cNvSpPr/>
          <p:nvPr/>
        </p:nvSpPr>
        <p:spPr bwMode="gray">
          <a:xfrm rot="5400000">
            <a:off x="9883352" y="730647"/>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89" name="Straight Connector 88">
            <a:extLst>
              <a:ext uri="{FF2B5EF4-FFF2-40B4-BE49-F238E27FC236}">
                <a16:creationId xmlns:a16="http://schemas.microsoft.com/office/drawing/2014/main" id="{08330B26-E992-4C71-8C52-F48D464F450A}"/>
              </a:ext>
            </a:extLst>
          </p:cNvPr>
          <p:cNvCxnSpPr/>
          <p:nvPr/>
        </p:nvCxnSpPr>
        <p:spPr>
          <a:xfrm>
            <a:off x="11667493" y="1744765"/>
            <a:ext cx="0" cy="4458664"/>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90" name="Group 913">
            <a:extLst>
              <a:ext uri="{FF2B5EF4-FFF2-40B4-BE49-F238E27FC236}">
                <a16:creationId xmlns:a16="http://schemas.microsoft.com/office/drawing/2014/main" id="{BEB37045-831C-493B-9496-FDDEC2FCFFBC}"/>
              </a:ext>
            </a:extLst>
          </p:cNvPr>
          <p:cNvGrpSpPr>
            <a:grpSpLocks noChangeAspect="1"/>
          </p:cNvGrpSpPr>
          <p:nvPr/>
        </p:nvGrpSpPr>
        <p:grpSpPr bwMode="auto">
          <a:xfrm>
            <a:off x="9962227" y="811822"/>
            <a:ext cx="490985" cy="490985"/>
            <a:chOff x="4563" y="3912"/>
            <a:chExt cx="340" cy="340"/>
          </a:xfrm>
          <a:solidFill>
            <a:schemeClr val="bg1"/>
          </a:solidFill>
        </p:grpSpPr>
        <p:sp>
          <p:nvSpPr>
            <p:cNvPr id="91" name="Freeform 914">
              <a:extLst>
                <a:ext uri="{FF2B5EF4-FFF2-40B4-BE49-F238E27FC236}">
                  <a16:creationId xmlns:a16="http://schemas.microsoft.com/office/drawing/2014/main" id="{C2A8908C-BC56-4CC9-8EB2-C0F4D6DBC40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92" name="Freeform 915">
              <a:extLst>
                <a:ext uri="{FF2B5EF4-FFF2-40B4-BE49-F238E27FC236}">
                  <a16:creationId xmlns:a16="http://schemas.microsoft.com/office/drawing/2014/main" id="{2B7B4F62-2A26-4F72-8643-2915D23A8014}"/>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37" name="Rectangle 36">
            <a:extLst>
              <a:ext uri="{FF2B5EF4-FFF2-40B4-BE49-F238E27FC236}">
                <a16:creationId xmlns:a16="http://schemas.microsoft.com/office/drawing/2014/main" id="{C8F482A9-EF6B-4600-B528-81EF761AAD42}"/>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50EDA796-1886-49C6-B749-CC610F4FAC96}"/>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2" name="Rectangle 61">
            <a:extLst>
              <a:ext uri="{FF2B5EF4-FFF2-40B4-BE49-F238E27FC236}">
                <a16:creationId xmlns:a16="http://schemas.microsoft.com/office/drawing/2014/main" id="{3D82622F-BB45-4BC0-A4EE-D11FC23D02BF}"/>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380338096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9315371" cy="461665"/>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omercio Exterior - Elementos y criterios de revisión</a:t>
            </a:r>
          </a:p>
        </p:txBody>
      </p:sp>
      <p:sp>
        <p:nvSpPr>
          <p:cNvPr id="32" name="Snip Diagonal Corner Rectangle 156">
            <a:extLst>
              <a:ext uri="{FF2B5EF4-FFF2-40B4-BE49-F238E27FC236}">
                <a16:creationId xmlns:a16="http://schemas.microsoft.com/office/drawing/2014/main" id="{F3134462-546B-4D6E-A489-9B758FB4E9A9}"/>
              </a:ext>
            </a:extLst>
          </p:cNvPr>
          <p:cNvSpPr/>
          <p:nvPr/>
        </p:nvSpPr>
        <p:spPr bwMode="gray">
          <a:xfrm>
            <a:off x="300443" y="1412116"/>
            <a:ext cx="2692312" cy="585952"/>
          </a:xfrm>
          <a:prstGeom prst="snip2DiagRect">
            <a:avLst>
              <a:gd name="adj1" fmla="val 0"/>
              <a:gd name="adj2" fmla="val 40745"/>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250" b="1" dirty="0">
                <a:solidFill>
                  <a:prstClr val="white"/>
                </a:solidFill>
                <a:latin typeface="Verdana" panose="020B0604030504040204" pitchFamily="34" charset="0"/>
                <a:ea typeface="Verdana" panose="020B0604030504040204" pitchFamily="34" charset="0"/>
              </a:rPr>
              <a:t>Marcas Registradas</a:t>
            </a:r>
          </a:p>
        </p:txBody>
      </p:sp>
      <p:sp>
        <p:nvSpPr>
          <p:cNvPr id="33" name="Text Placeholder 3">
            <a:extLst>
              <a:ext uri="{FF2B5EF4-FFF2-40B4-BE49-F238E27FC236}">
                <a16:creationId xmlns:a16="http://schemas.microsoft.com/office/drawing/2014/main" id="{07E18978-2B25-4E1D-8AAD-D3D0524EDC22}"/>
              </a:ext>
            </a:extLst>
          </p:cNvPr>
          <p:cNvSpPr txBox="1">
            <a:spLocks/>
          </p:cNvSpPr>
          <p:nvPr/>
        </p:nvSpPr>
        <p:spPr bwMode="gray">
          <a:xfrm>
            <a:off x="300442" y="2163168"/>
            <a:ext cx="2600377" cy="4231928"/>
          </a:xfrm>
          <a:prstGeom prst="rect">
            <a:avLst/>
          </a:prstGeom>
        </p:spPr>
        <p:txBody>
          <a:bodyPr vert="horz" wrap="square" lIns="0" tIns="0" rIns="0" bIns="0" rtlCol="0">
            <a:spAutoFit/>
          </a:bodyPr>
          <a:lstStyle/>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debe identificar las fracciones arancelarias utilizadas en </a:t>
            </a:r>
            <a:r>
              <a:rPr lang="es-MX" sz="1250" b="1" dirty="0">
                <a:solidFill>
                  <a:prstClr val="black"/>
                </a:solidFill>
                <a:latin typeface="Verdana" panose="020B0604030504040204" pitchFamily="34" charset="0"/>
                <a:ea typeface="Verdana" panose="020B0604030504040204" pitchFamily="34" charset="0"/>
              </a:rPr>
              <a:t>la importación y/o exportación sujetas de cumplir </a:t>
            </a:r>
            <a:r>
              <a:rPr lang="es-MX" sz="1250" dirty="0">
                <a:solidFill>
                  <a:prstClr val="black"/>
                </a:solidFill>
                <a:latin typeface="Verdana" panose="020B0604030504040204" pitchFamily="34" charset="0"/>
                <a:ea typeface="Verdana" panose="020B0604030504040204" pitchFamily="34" charset="0"/>
              </a:rPr>
              <a:t>con la normatividad aplicable en materia de </a:t>
            </a:r>
            <a:r>
              <a:rPr lang="es-MX" sz="1250" b="1" dirty="0">
                <a:solidFill>
                  <a:prstClr val="black"/>
                </a:solidFill>
                <a:latin typeface="Verdana" panose="020B0604030504040204" pitchFamily="34" charset="0"/>
                <a:ea typeface="Verdana" panose="020B0604030504040204" pitchFamily="34" charset="0"/>
              </a:rPr>
              <a:t>propiedad intelectual. </a:t>
            </a:r>
          </a:p>
          <a:p>
            <a:pPr marL="85725" lvl="1" indent="-85725">
              <a:buSzPct val="100000"/>
              <a:buFont typeface="Arial" panose="020B0604020202020204" pitchFamily="34" charset="0"/>
              <a:buChar char="•"/>
              <a:defRPr/>
            </a:pPr>
            <a:endParaRPr lang="es-MX" sz="1250" b="1"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Las mercancías a las cuales les aplique, </a:t>
            </a:r>
            <a:r>
              <a:rPr lang="es-MX" sz="1250" b="1" dirty="0">
                <a:solidFill>
                  <a:prstClr val="black"/>
                </a:solidFill>
                <a:latin typeface="Verdana" panose="020B0604030504040204" pitchFamily="34" charset="0"/>
                <a:ea typeface="Verdana" panose="020B0604030504040204" pitchFamily="34" charset="0"/>
              </a:rPr>
              <a:t>deben tener procedimientos escritos para cumplir con la normatividad </a:t>
            </a:r>
            <a:r>
              <a:rPr lang="es-MX" sz="1250" dirty="0">
                <a:solidFill>
                  <a:prstClr val="black"/>
                </a:solidFill>
                <a:latin typeface="Verdana" panose="020B0604030504040204" pitchFamily="34" charset="0"/>
                <a:ea typeface="Verdana" panose="020B0604030504040204" pitchFamily="34" charset="0"/>
              </a:rPr>
              <a:t>aplicable.</a:t>
            </a:r>
          </a:p>
          <a:p>
            <a:pPr marL="85725" lvl="1" indent="-85725">
              <a:buSzPct val="100000"/>
              <a:buFont typeface="Arial" panose="020B0604020202020204" pitchFamily="34" charset="0"/>
              <a:buChar char="•"/>
              <a:defRPr/>
            </a:pPr>
            <a:endParaRPr lang="es-MX" sz="1250" dirty="0">
              <a:solidFill>
                <a:prstClr val="black"/>
              </a:solidFill>
              <a:latin typeface="Verdana" panose="020B0604030504040204" pitchFamily="34" charset="0"/>
              <a:ea typeface="Verdana" panose="020B0604030504040204" pitchFamily="34" charset="0"/>
            </a:endParaRPr>
          </a:p>
          <a:p>
            <a:pPr marL="85725" lvl="1" indent="-85725">
              <a:buSzPct val="100000"/>
              <a:buFont typeface="Arial" panose="020B0604020202020204" pitchFamily="34" charset="0"/>
              <a:buChar char="•"/>
              <a:defRPr/>
            </a:pPr>
            <a:r>
              <a:rPr lang="es-MX" sz="1250" dirty="0">
                <a:solidFill>
                  <a:prstClr val="black"/>
                </a:solidFill>
                <a:latin typeface="Verdana" panose="020B0604030504040204" pitchFamily="34" charset="0"/>
                <a:ea typeface="Verdana" panose="020B0604030504040204" pitchFamily="34" charset="0"/>
              </a:rPr>
              <a:t>Se debe tener el </a:t>
            </a:r>
            <a:r>
              <a:rPr lang="es-MX" sz="1250" b="1" dirty="0">
                <a:solidFill>
                  <a:prstClr val="black"/>
                </a:solidFill>
                <a:latin typeface="Verdana" panose="020B0604030504040204" pitchFamily="34" charset="0"/>
                <a:ea typeface="Verdana" panose="020B0604030504040204" pitchFamily="34" charset="0"/>
              </a:rPr>
              <a:t>soporte documental de la planeación </a:t>
            </a:r>
            <a:r>
              <a:rPr lang="es-MX" sz="1250" dirty="0">
                <a:solidFill>
                  <a:prstClr val="black"/>
                </a:solidFill>
                <a:latin typeface="Verdana" panose="020B0604030504040204" pitchFamily="34" charset="0"/>
                <a:ea typeface="Verdana" panose="020B0604030504040204" pitchFamily="34" charset="0"/>
              </a:rPr>
              <a:t>para su </a:t>
            </a:r>
            <a:r>
              <a:rPr lang="es-MX" sz="1250" b="1" dirty="0">
                <a:solidFill>
                  <a:prstClr val="black"/>
                </a:solidFill>
                <a:latin typeface="Verdana" panose="020B0604030504040204" pitchFamily="34" charset="0"/>
                <a:ea typeface="Verdana" panose="020B0604030504040204" pitchFamily="34" charset="0"/>
              </a:rPr>
              <a:t>importación y/o exportación </a:t>
            </a:r>
            <a:r>
              <a:rPr lang="es-MX" sz="1250" dirty="0">
                <a:solidFill>
                  <a:prstClr val="black"/>
                </a:solidFill>
                <a:latin typeface="Verdana" panose="020B0604030504040204" pitchFamily="34" charset="0"/>
                <a:ea typeface="Verdana" panose="020B0604030504040204" pitchFamily="34" charset="0"/>
              </a:rPr>
              <a:t>para garantizar que cumple con las obligaciones en </a:t>
            </a:r>
            <a:r>
              <a:rPr lang="es-MX" sz="1250" b="1" dirty="0">
                <a:solidFill>
                  <a:prstClr val="black"/>
                </a:solidFill>
                <a:latin typeface="Verdana" panose="020B0604030504040204" pitchFamily="34" charset="0"/>
                <a:ea typeface="Verdana" panose="020B0604030504040204" pitchFamily="34" charset="0"/>
              </a:rPr>
              <a:t>materia de propiedad intelectual. </a:t>
            </a:r>
            <a:endParaRPr lang="en-US" sz="1250" b="1" dirty="0">
              <a:solidFill>
                <a:prstClr val="black"/>
              </a:solidFill>
              <a:latin typeface="Verdana" panose="020B0604030504040204" pitchFamily="34" charset="0"/>
              <a:ea typeface="Verdana" panose="020B0604030504040204" pitchFamily="34" charset="0"/>
            </a:endParaRPr>
          </a:p>
        </p:txBody>
      </p:sp>
      <p:sp>
        <p:nvSpPr>
          <p:cNvPr id="34" name="Isosceles Triangle 13">
            <a:extLst>
              <a:ext uri="{FF2B5EF4-FFF2-40B4-BE49-F238E27FC236}">
                <a16:creationId xmlns:a16="http://schemas.microsoft.com/office/drawing/2014/main" id="{614C1117-49A6-4521-B9F4-A158BD2F2EB7}"/>
              </a:ext>
            </a:extLst>
          </p:cNvPr>
          <p:cNvSpPr/>
          <p:nvPr/>
        </p:nvSpPr>
        <p:spPr bwMode="gray">
          <a:xfrm>
            <a:off x="1346815"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35" name="Oval 34">
            <a:extLst>
              <a:ext uri="{FF2B5EF4-FFF2-40B4-BE49-F238E27FC236}">
                <a16:creationId xmlns:a16="http://schemas.microsoft.com/office/drawing/2014/main" id="{3259543F-5F0D-448D-AD5E-47D9EB635118}"/>
              </a:ext>
            </a:extLst>
          </p:cNvPr>
          <p:cNvSpPr/>
          <p:nvPr/>
        </p:nvSpPr>
        <p:spPr bwMode="gray">
          <a:xfrm rot="5400000">
            <a:off x="1099974" y="730647"/>
            <a:ext cx="648736" cy="648736"/>
          </a:xfrm>
          <a:prstGeom prst="ellipse">
            <a:avLst/>
          </a:prstGeom>
          <a:solidFill>
            <a:srgbClr val="000000"/>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36" name="Straight Connector 35">
            <a:extLst>
              <a:ext uri="{FF2B5EF4-FFF2-40B4-BE49-F238E27FC236}">
                <a16:creationId xmlns:a16="http://schemas.microsoft.com/office/drawing/2014/main" id="{E522E787-75D7-4FFD-AD42-FB09943783E7}"/>
              </a:ext>
            </a:extLst>
          </p:cNvPr>
          <p:cNvCxnSpPr/>
          <p:nvPr/>
        </p:nvCxnSpPr>
        <p:spPr>
          <a:xfrm>
            <a:off x="2987298" y="1744771"/>
            <a:ext cx="0" cy="4458664"/>
          </a:xfrm>
          <a:prstGeom prst="line">
            <a:avLst/>
          </a:prstGeom>
          <a:ln>
            <a:solidFill>
              <a:srgbClr val="000000"/>
            </a:solidFill>
            <a:tailEnd type="oval"/>
          </a:ln>
        </p:spPr>
        <p:style>
          <a:lnRef idx="1">
            <a:schemeClr val="accent1"/>
          </a:lnRef>
          <a:fillRef idx="0">
            <a:schemeClr val="accent1"/>
          </a:fillRef>
          <a:effectRef idx="0">
            <a:schemeClr val="accent1"/>
          </a:effectRef>
          <a:fontRef idx="minor">
            <a:schemeClr val="tx1"/>
          </a:fontRef>
        </p:style>
      </p:cxnSp>
      <p:grpSp>
        <p:nvGrpSpPr>
          <p:cNvPr id="38" name="Group 144">
            <a:extLst>
              <a:ext uri="{FF2B5EF4-FFF2-40B4-BE49-F238E27FC236}">
                <a16:creationId xmlns:a16="http://schemas.microsoft.com/office/drawing/2014/main" id="{2C1E8138-AE6F-40D1-AB79-A0E54B749399}"/>
              </a:ext>
            </a:extLst>
          </p:cNvPr>
          <p:cNvGrpSpPr>
            <a:grpSpLocks noChangeAspect="1"/>
          </p:cNvGrpSpPr>
          <p:nvPr/>
        </p:nvGrpSpPr>
        <p:grpSpPr bwMode="auto">
          <a:xfrm>
            <a:off x="1181790" y="804576"/>
            <a:ext cx="490985" cy="490985"/>
            <a:chOff x="2963" y="1300"/>
            <a:chExt cx="340" cy="340"/>
          </a:xfrm>
          <a:solidFill>
            <a:schemeClr val="bg1"/>
          </a:solidFill>
        </p:grpSpPr>
        <p:sp>
          <p:nvSpPr>
            <p:cNvPr id="39" name="Freeform 145">
              <a:extLst>
                <a:ext uri="{FF2B5EF4-FFF2-40B4-BE49-F238E27FC236}">
                  <a16:creationId xmlns:a16="http://schemas.microsoft.com/office/drawing/2014/main" id="{CBE5423B-6F4D-4A3F-9CA6-B9A2F2CE3C16}"/>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0" name="Freeform 146">
              <a:extLst>
                <a:ext uri="{FF2B5EF4-FFF2-40B4-BE49-F238E27FC236}">
                  <a16:creationId xmlns:a16="http://schemas.microsoft.com/office/drawing/2014/main" id="{BF0495C0-6C76-4025-A203-7F262304369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1" name="Snip Diagonal Corner Rectangle 162">
            <a:extLst>
              <a:ext uri="{FF2B5EF4-FFF2-40B4-BE49-F238E27FC236}">
                <a16:creationId xmlns:a16="http://schemas.microsoft.com/office/drawing/2014/main" id="{75EADFB2-28B3-4BF8-B4EE-EC71457CF1B6}"/>
              </a:ext>
            </a:extLst>
          </p:cNvPr>
          <p:cNvSpPr/>
          <p:nvPr/>
        </p:nvSpPr>
        <p:spPr bwMode="gray">
          <a:xfrm>
            <a:off x="3221147" y="1412116"/>
            <a:ext cx="2583982"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Mercancías de Uso Dual</a:t>
            </a:r>
          </a:p>
        </p:txBody>
      </p:sp>
      <p:sp>
        <p:nvSpPr>
          <p:cNvPr id="42" name="Text Placeholder 3">
            <a:extLst>
              <a:ext uri="{FF2B5EF4-FFF2-40B4-BE49-F238E27FC236}">
                <a16:creationId xmlns:a16="http://schemas.microsoft.com/office/drawing/2014/main" id="{767F6F6E-9796-437D-8AF5-F0CC217073F6}"/>
              </a:ext>
            </a:extLst>
          </p:cNvPr>
          <p:cNvSpPr txBox="1">
            <a:spLocks/>
          </p:cNvSpPr>
          <p:nvPr/>
        </p:nvSpPr>
        <p:spPr bwMode="gray">
          <a:xfrm>
            <a:off x="3221146" y="2163168"/>
            <a:ext cx="2479622" cy="384720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Uso dual se refiere a las mercancías que pueden satisfacer más de un objetivo, es decir, que </a:t>
            </a:r>
            <a:r>
              <a:rPr lang="es-MX" b="1" dirty="0"/>
              <a:t>pueden tener un uso civil, industrial o fines de investigación</a:t>
            </a:r>
            <a:r>
              <a:rPr lang="es-MX" dirty="0"/>
              <a:t>, pero que pueden ser desviados y destinados </a:t>
            </a:r>
            <a:r>
              <a:rPr lang="es-MX" b="1" dirty="0"/>
              <a:t>para otros fines que sean dañinos para la humanidad. </a:t>
            </a:r>
          </a:p>
          <a:p>
            <a:pPr lvl="1"/>
            <a:endParaRPr lang="es-MX" b="1" dirty="0"/>
          </a:p>
          <a:p>
            <a:pPr lvl="1"/>
            <a:r>
              <a:rPr lang="es-MX" dirty="0"/>
              <a:t>Se debe identificar las </a:t>
            </a:r>
            <a:r>
              <a:rPr lang="es-MX" b="1" dirty="0"/>
              <a:t>fracciones arancelarias utilizadas </a:t>
            </a:r>
            <a:r>
              <a:rPr lang="es-MX" dirty="0"/>
              <a:t>en la </a:t>
            </a:r>
            <a:r>
              <a:rPr lang="es-MX" b="1" dirty="0"/>
              <a:t>importación y/o exportación </a:t>
            </a:r>
            <a:r>
              <a:rPr lang="es-MX" dirty="0"/>
              <a:t>sujetas de cumplir con la normatividad </a:t>
            </a:r>
            <a:r>
              <a:rPr lang="es-MX" b="1" dirty="0"/>
              <a:t>aplicable de mercancías de uso dual. </a:t>
            </a:r>
          </a:p>
        </p:txBody>
      </p:sp>
      <p:sp>
        <p:nvSpPr>
          <p:cNvPr id="43" name="Isosceles Triangle 14">
            <a:extLst>
              <a:ext uri="{FF2B5EF4-FFF2-40B4-BE49-F238E27FC236}">
                <a16:creationId xmlns:a16="http://schemas.microsoft.com/office/drawing/2014/main" id="{2FF065FE-C3F6-4CE4-94E2-9D75B53AFC39}"/>
              </a:ext>
            </a:extLst>
          </p:cNvPr>
          <p:cNvSpPr/>
          <p:nvPr/>
        </p:nvSpPr>
        <p:spPr bwMode="gray">
          <a:xfrm>
            <a:off x="4246160"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44" name="Oval 43">
            <a:extLst>
              <a:ext uri="{FF2B5EF4-FFF2-40B4-BE49-F238E27FC236}">
                <a16:creationId xmlns:a16="http://schemas.microsoft.com/office/drawing/2014/main" id="{6340A41D-F9D7-4E60-9F23-5E5545E286E5}"/>
              </a:ext>
            </a:extLst>
          </p:cNvPr>
          <p:cNvSpPr/>
          <p:nvPr/>
        </p:nvSpPr>
        <p:spPr bwMode="gray">
          <a:xfrm rot="5400000">
            <a:off x="3999319" y="730647"/>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45" name="Straight Connector 44">
            <a:extLst>
              <a:ext uri="{FF2B5EF4-FFF2-40B4-BE49-F238E27FC236}">
                <a16:creationId xmlns:a16="http://schemas.microsoft.com/office/drawing/2014/main" id="{A3E2E6B4-89BB-478C-B7AC-D3EB62553285}"/>
              </a:ext>
            </a:extLst>
          </p:cNvPr>
          <p:cNvCxnSpPr/>
          <p:nvPr/>
        </p:nvCxnSpPr>
        <p:spPr>
          <a:xfrm>
            <a:off x="5792704" y="1744765"/>
            <a:ext cx="0" cy="4458664"/>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46" name="Group 726">
            <a:extLst>
              <a:ext uri="{FF2B5EF4-FFF2-40B4-BE49-F238E27FC236}">
                <a16:creationId xmlns:a16="http://schemas.microsoft.com/office/drawing/2014/main" id="{AD5721FA-6143-427D-BA08-1625CCD27DB6}"/>
              </a:ext>
            </a:extLst>
          </p:cNvPr>
          <p:cNvGrpSpPr>
            <a:grpSpLocks noChangeAspect="1"/>
          </p:cNvGrpSpPr>
          <p:nvPr/>
        </p:nvGrpSpPr>
        <p:grpSpPr bwMode="auto">
          <a:xfrm>
            <a:off x="4083257" y="811396"/>
            <a:ext cx="490985" cy="490985"/>
            <a:chOff x="5022" y="3403"/>
            <a:chExt cx="340" cy="340"/>
          </a:xfrm>
          <a:solidFill>
            <a:schemeClr val="bg1"/>
          </a:solidFill>
        </p:grpSpPr>
        <p:sp>
          <p:nvSpPr>
            <p:cNvPr id="47" name="Freeform 727">
              <a:extLst>
                <a:ext uri="{FF2B5EF4-FFF2-40B4-BE49-F238E27FC236}">
                  <a16:creationId xmlns:a16="http://schemas.microsoft.com/office/drawing/2014/main" id="{F4AE27C9-0369-414F-A73A-AADD91A4D47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8" name="Freeform 728">
              <a:extLst>
                <a:ext uri="{FF2B5EF4-FFF2-40B4-BE49-F238E27FC236}">
                  <a16:creationId xmlns:a16="http://schemas.microsoft.com/office/drawing/2014/main" id="{C6EA0A6F-03DF-451D-88D1-847BCC156EE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9" name="Text Placeholder 3">
            <a:extLst>
              <a:ext uri="{FF2B5EF4-FFF2-40B4-BE49-F238E27FC236}">
                <a16:creationId xmlns:a16="http://schemas.microsoft.com/office/drawing/2014/main" id="{5D9861DE-6054-4702-8209-7A59ADCD529B}"/>
              </a:ext>
            </a:extLst>
          </p:cNvPr>
          <p:cNvSpPr txBox="1">
            <a:spLocks/>
          </p:cNvSpPr>
          <p:nvPr/>
        </p:nvSpPr>
        <p:spPr bwMode="gray">
          <a:xfrm>
            <a:off x="6035587" y="2163168"/>
            <a:ext cx="2608261" cy="384720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 revisión en origen busca la </a:t>
            </a:r>
            <a:r>
              <a:rPr lang="es-MX" b="1" dirty="0"/>
              <a:t>manera de hacer más eficiente los tiempos de despacho aduanal para las mercancías importadas</a:t>
            </a:r>
            <a:r>
              <a:rPr lang="es-MX" dirty="0"/>
              <a:t>, evitando el proceso de revisión de mercancías o </a:t>
            </a:r>
            <a:r>
              <a:rPr lang="es-MX" b="1" dirty="0"/>
              <a:t>reconocimiento previo.</a:t>
            </a:r>
          </a:p>
          <a:p>
            <a:pPr lvl="1"/>
            <a:endParaRPr lang="es-MX" b="1" dirty="0"/>
          </a:p>
          <a:p>
            <a:pPr lvl="1"/>
            <a:r>
              <a:rPr lang="es-MX" dirty="0"/>
              <a:t>En el caso de contar con el Registro del procedimiento de Revisión en Origen, </a:t>
            </a:r>
            <a:r>
              <a:rPr lang="es-MX" b="1" dirty="0"/>
              <a:t>se debe tener políticas, procedimientos </a:t>
            </a:r>
            <a:r>
              <a:rPr lang="es-MX" dirty="0"/>
              <a:t>documentados y mecanismos de control </a:t>
            </a:r>
            <a:r>
              <a:rPr lang="es-MX" b="1" dirty="0"/>
              <a:t>para garantizar el cabal cumplimiento de todas las disposiciones requeridas en sus operaciones. </a:t>
            </a:r>
          </a:p>
        </p:txBody>
      </p:sp>
      <p:sp>
        <p:nvSpPr>
          <p:cNvPr id="50" name="Snip Diagonal Corner Rectangle 158">
            <a:extLst>
              <a:ext uri="{FF2B5EF4-FFF2-40B4-BE49-F238E27FC236}">
                <a16:creationId xmlns:a16="http://schemas.microsoft.com/office/drawing/2014/main" id="{08BEE219-92F8-4AB2-A949-5633755CD8BF}"/>
              </a:ext>
            </a:extLst>
          </p:cNvPr>
          <p:cNvSpPr/>
          <p:nvPr/>
        </p:nvSpPr>
        <p:spPr bwMode="gray">
          <a:xfrm>
            <a:off x="6096001" y="1412116"/>
            <a:ext cx="2648824" cy="585952"/>
          </a:xfrm>
          <a:prstGeom prst="snip2DiagRect">
            <a:avLst>
              <a:gd name="adj1" fmla="val 0"/>
              <a:gd name="adj2" fmla="val 383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Procedimiento de Revisión en Origen</a:t>
            </a:r>
          </a:p>
        </p:txBody>
      </p:sp>
      <p:sp>
        <p:nvSpPr>
          <p:cNvPr id="51" name="Isosceles Triangle 16">
            <a:extLst>
              <a:ext uri="{FF2B5EF4-FFF2-40B4-BE49-F238E27FC236}">
                <a16:creationId xmlns:a16="http://schemas.microsoft.com/office/drawing/2014/main" id="{8FE2F7ED-A72F-4C17-AE15-1F2DD7247C81}"/>
              </a:ext>
            </a:extLst>
          </p:cNvPr>
          <p:cNvSpPr/>
          <p:nvPr/>
        </p:nvSpPr>
        <p:spPr bwMode="gray">
          <a:xfrm>
            <a:off x="7174066" y="1083482"/>
            <a:ext cx="747389" cy="289082"/>
          </a:xfrm>
          <a:prstGeom prst="triangle">
            <a:avLst/>
          </a:prstGeom>
          <a:solidFill>
            <a:srgbClr val="A7A8AA"/>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52" name="Oval 51">
            <a:extLst>
              <a:ext uri="{FF2B5EF4-FFF2-40B4-BE49-F238E27FC236}">
                <a16:creationId xmlns:a16="http://schemas.microsoft.com/office/drawing/2014/main" id="{F3CEFCE2-3696-49DD-829C-57FB9A9012DE}"/>
              </a:ext>
            </a:extLst>
          </p:cNvPr>
          <p:cNvSpPr/>
          <p:nvPr/>
        </p:nvSpPr>
        <p:spPr bwMode="gray">
          <a:xfrm rot="5400000">
            <a:off x="6927225" y="730647"/>
            <a:ext cx="648736" cy="648736"/>
          </a:xfrm>
          <a:prstGeom prst="ellipse">
            <a:avLst/>
          </a:prstGeom>
          <a:solidFill>
            <a:schemeClr val="tx2"/>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53" name="Straight Connector 52">
            <a:extLst>
              <a:ext uri="{FF2B5EF4-FFF2-40B4-BE49-F238E27FC236}">
                <a16:creationId xmlns:a16="http://schemas.microsoft.com/office/drawing/2014/main" id="{807F6870-F46D-4983-B42A-0962580E3C6D}"/>
              </a:ext>
            </a:extLst>
          </p:cNvPr>
          <p:cNvCxnSpPr/>
          <p:nvPr/>
        </p:nvCxnSpPr>
        <p:spPr>
          <a:xfrm>
            <a:off x="8735789" y="1733194"/>
            <a:ext cx="0" cy="4458664"/>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986">
            <a:extLst>
              <a:ext uri="{FF2B5EF4-FFF2-40B4-BE49-F238E27FC236}">
                <a16:creationId xmlns:a16="http://schemas.microsoft.com/office/drawing/2014/main" id="{C0B690DE-4B15-4BC3-A0AB-105E3776D984}"/>
              </a:ext>
            </a:extLst>
          </p:cNvPr>
          <p:cNvGrpSpPr>
            <a:grpSpLocks noChangeAspect="1"/>
          </p:cNvGrpSpPr>
          <p:nvPr/>
        </p:nvGrpSpPr>
        <p:grpSpPr bwMode="auto">
          <a:xfrm>
            <a:off x="7012231" y="811396"/>
            <a:ext cx="490985" cy="490985"/>
            <a:chOff x="4274" y="3998"/>
            <a:chExt cx="340" cy="340"/>
          </a:xfrm>
          <a:solidFill>
            <a:schemeClr val="bg1"/>
          </a:solidFill>
        </p:grpSpPr>
        <p:sp>
          <p:nvSpPr>
            <p:cNvPr id="55" name="Freeform 987">
              <a:extLst>
                <a:ext uri="{FF2B5EF4-FFF2-40B4-BE49-F238E27FC236}">
                  <a16:creationId xmlns:a16="http://schemas.microsoft.com/office/drawing/2014/main" id="{5307A8DB-4056-44C0-8128-D24AF47A3E1B}"/>
                </a:ext>
              </a:extLst>
            </p:cNvPr>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56" name="Freeform 988">
              <a:extLst>
                <a:ext uri="{FF2B5EF4-FFF2-40B4-BE49-F238E27FC236}">
                  <a16:creationId xmlns:a16="http://schemas.microsoft.com/office/drawing/2014/main" id="{D2918CA9-4FC1-4B87-967D-EFE0E9234FE9}"/>
                </a:ext>
              </a:extLst>
            </p:cNvPr>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57" name="Text Placeholder 3">
            <a:extLst>
              <a:ext uri="{FF2B5EF4-FFF2-40B4-BE49-F238E27FC236}">
                <a16:creationId xmlns:a16="http://schemas.microsoft.com/office/drawing/2014/main" id="{4670EBA9-A2D4-4D3C-84E0-35386D502073}"/>
              </a:ext>
            </a:extLst>
          </p:cNvPr>
          <p:cNvSpPr txBox="1">
            <a:spLocks/>
          </p:cNvSpPr>
          <p:nvPr/>
        </p:nvSpPr>
        <p:spPr bwMode="gray">
          <a:xfrm>
            <a:off x="8978672" y="2163168"/>
            <a:ext cx="2462969" cy="403956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Las empresas usualmente utilizan para su operación mercancías de procedencia extranjera, la cual debe cumplir con su </a:t>
            </a:r>
            <a:r>
              <a:rPr lang="es-MX" b="1" dirty="0"/>
              <a:t>legal estancia y tenencia en el país.</a:t>
            </a:r>
          </a:p>
          <a:p>
            <a:pPr lvl="1"/>
            <a:endParaRPr lang="es-MX" dirty="0"/>
          </a:p>
          <a:p>
            <a:pPr lvl="1"/>
            <a:r>
              <a:rPr lang="es-MX" dirty="0"/>
              <a:t>Se debe tener plenamente </a:t>
            </a:r>
            <a:r>
              <a:rPr lang="es-MX" b="1" dirty="0"/>
              <a:t>identificadas las mercancías de procedencia extranjera</a:t>
            </a:r>
            <a:r>
              <a:rPr lang="es-MX" dirty="0"/>
              <a:t>, de acuerdo con la normatividad. </a:t>
            </a:r>
          </a:p>
          <a:p>
            <a:pPr lvl="1"/>
            <a:endParaRPr lang="es-MX" dirty="0"/>
          </a:p>
          <a:p>
            <a:pPr lvl="1"/>
            <a:r>
              <a:rPr lang="es-MX" dirty="0"/>
              <a:t>Se </a:t>
            </a:r>
            <a:r>
              <a:rPr lang="es-MX" b="1" dirty="0"/>
              <a:t>debe tener los documentos legales para acreditar la legal estancia y tenencia de las mercancías de procedencia extranjera. </a:t>
            </a:r>
            <a:endParaRPr lang="en-US" b="1" dirty="0"/>
          </a:p>
        </p:txBody>
      </p:sp>
      <p:sp>
        <p:nvSpPr>
          <p:cNvPr id="58" name="Snip Diagonal Corner Rectangle 160">
            <a:extLst>
              <a:ext uri="{FF2B5EF4-FFF2-40B4-BE49-F238E27FC236}">
                <a16:creationId xmlns:a16="http://schemas.microsoft.com/office/drawing/2014/main" id="{0DCA5390-C147-4797-A94D-B868BA87E302}"/>
              </a:ext>
            </a:extLst>
          </p:cNvPr>
          <p:cNvSpPr/>
          <p:nvPr/>
        </p:nvSpPr>
        <p:spPr bwMode="gray">
          <a:xfrm>
            <a:off x="8978672" y="1418991"/>
            <a:ext cx="2705851" cy="585952"/>
          </a:xfrm>
          <a:prstGeom prst="snip2DiagRect">
            <a:avLst>
              <a:gd name="adj1" fmla="val 0"/>
              <a:gd name="adj2" fmla="val 37880"/>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Legal Estancia y/o Tenencia de Mercancías</a:t>
            </a:r>
          </a:p>
        </p:txBody>
      </p:sp>
      <p:sp>
        <p:nvSpPr>
          <p:cNvPr id="59" name="Isosceles Triangle 18">
            <a:extLst>
              <a:ext uri="{FF2B5EF4-FFF2-40B4-BE49-F238E27FC236}">
                <a16:creationId xmlns:a16="http://schemas.microsoft.com/office/drawing/2014/main" id="{845517DC-237F-4930-9B93-34C0D8655B82}"/>
              </a:ext>
            </a:extLst>
          </p:cNvPr>
          <p:cNvSpPr/>
          <p:nvPr/>
        </p:nvSpPr>
        <p:spPr bwMode="gray">
          <a:xfrm>
            <a:off x="10130192"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60" name="Oval 59">
            <a:extLst>
              <a:ext uri="{FF2B5EF4-FFF2-40B4-BE49-F238E27FC236}">
                <a16:creationId xmlns:a16="http://schemas.microsoft.com/office/drawing/2014/main" id="{F7B7522B-E67F-4CAC-B672-EC1436B5C216}"/>
              </a:ext>
            </a:extLst>
          </p:cNvPr>
          <p:cNvSpPr/>
          <p:nvPr/>
        </p:nvSpPr>
        <p:spPr bwMode="gray">
          <a:xfrm rot="5400000">
            <a:off x="9883352" y="730647"/>
            <a:ext cx="648736" cy="648736"/>
          </a:xfrm>
          <a:prstGeom prst="ellipse">
            <a:avLst/>
          </a:prstGeom>
          <a:solidFill>
            <a:srgbClr val="43B02A"/>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89" name="Straight Connector 88">
            <a:extLst>
              <a:ext uri="{FF2B5EF4-FFF2-40B4-BE49-F238E27FC236}">
                <a16:creationId xmlns:a16="http://schemas.microsoft.com/office/drawing/2014/main" id="{08330B26-E992-4C71-8C52-F48D464F450A}"/>
              </a:ext>
            </a:extLst>
          </p:cNvPr>
          <p:cNvCxnSpPr/>
          <p:nvPr/>
        </p:nvCxnSpPr>
        <p:spPr>
          <a:xfrm>
            <a:off x="11667493" y="1744765"/>
            <a:ext cx="0" cy="4458664"/>
          </a:xfrm>
          <a:prstGeom prst="line">
            <a:avLst/>
          </a:prstGeom>
          <a:ln>
            <a:solidFill>
              <a:srgbClr val="43B02A"/>
            </a:solidFill>
            <a:tailEnd type="oval"/>
          </a:ln>
        </p:spPr>
        <p:style>
          <a:lnRef idx="1">
            <a:schemeClr val="accent1"/>
          </a:lnRef>
          <a:fillRef idx="0">
            <a:schemeClr val="accent1"/>
          </a:fillRef>
          <a:effectRef idx="0">
            <a:schemeClr val="accent1"/>
          </a:effectRef>
          <a:fontRef idx="minor">
            <a:schemeClr val="tx1"/>
          </a:fontRef>
        </p:style>
      </p:cxnSp>
      <p:grpSp>
        <p:nvGrpSpPr>
          <p:cNvPr id="90" name="Group 913">
            <a:extLst>
              <a:ext uri="{FF2B5EF4-FFF2-40B4-BE49-F238E27FC236}">
                <a16:creationId xmlns:a16="http://schemas.microsoft.com/office/drawing/2014/main" id="{BEB37045-831C-493B-9496-FDDEC2FCFFBC}"/>
              </a:ext>
            </a:extLst>
          </p:cNvPr>
          <p:cNvGrpSpPr>
            <a:grpSpLocks noChangeAspect="1"/>
          </p:cNvGrpSpPr>
          <p:nvPr/>
        </p:nvGrpSpPr>
        <p:grpSpPr bwMode="auto">
          <a:xfrm>
            <a:off x="9962227" y="811822"/>
            <a:ext cx="490985" cy="490985"/>
            <a:chOff x="4563" y="3912"/>
            <a:chExt cx="340" cy="340"/>
          </a:xfrm>
          <a:solidFill>
            <a:schemeClr val="bg1"/>
          </a:solidFill>
        </p:grpSpPr>
        <p:sp>
          <p:nvSpPr>
            <p:cNvPr id="91" name="Freeform 914">
              <a:extLst>
                <a:ext uri="{FF2B5EF4-FFF2-40B4-BE49-F238E27FC236}">
                  <a16:creationId xmlns:a16="http://schemas.microsoft.com/office/drawing/2014/main" id="{C2A8908C-BC56-4CC9-8EB2-C0F4D6DBC40F}"/>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92" name="Freeform 915">
              <a:extLst>
                <a:ext uri="{FF2B5EF4-FFF2-40B4-BE49-F238E27FC236}">
                  <a16:creationId xmlns:a16="http://schemas.microsoft.com/office/drawing/2014/main" id="{2B7B4F62-2A26-4F72-8643-2915D23A8014}"/>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37" name="Rectangle 36">
            <a:extLst>
              <a:ext uri="{FF2B5EF4-FFF2-40B4-BE49-F238E27FC236}">
                <a16:creationId xmlns:a16="http://schemas.microsoft.com/office/drawing/2014/main" id="{26ED05C3-5373-4DAD-8D8E-DCE97D471FEB}"/>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1" name="Rectangle 60">
            <a:extLst>
              <a:ext uri="{FF2B5EF4-FFF2-40B4-BE49-F238E27FC236}">
                <a16:creationId xmlns:a16="http://schemas.microsoft.com/office/drawing/2014/main" id="{91F5CE4C-E3C6-49FF-9967-4CD64038FC78}"/>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2" name="Rectangle 61">
            <a:extLst>
              <a:ext uri="{FF2B5EF4-FFF2-40B4-BE49-F238E27FC236}">
                <a16:creationId xmlns:a16="http://schemas.microsoft.com/office/drawing/2014/main" id="{291AB0EB-1008-44B8-9EDB-0E230C28AEBE}"/>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367475407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9315371" cy="461665"/>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Comercio Exterior - Elementos y criterios de revisión</a:t>
            </a:r>
          </a:p>
        </p:txBody>
      </p:sp>
      <p:grpSp>
        <p:nvGrpSpPr>
          <p:cNvPr id="38" name="Group 144">
            <a:extLst>
              <a:ext uri="{FF2B5EF4-FFF2-40B4-BE49-F238E27FC236}">
                <a16:creationId xmlns:a16="http://schemas.microsoft.com/office/drawing/2014/main" id="{2C1E8138-AE6F-40D1-AB79-A0E54B749399}"/>
              </a:ext>
            </a:extLst>
          </p:cNvPr>
          <p:cNvGrpSpPr>
            <a:grpSpLocks noChangeAspect="1"/>
          </p:cNvGrpSpPr>
          <p:nvPr/>
        </p:nvGrpSpPr>
        <p:grpSpPr bwMode="auto">
          <a:xfrm>
            <a:off x="4214360" y="804576"/>
            <a:ext cx="490985" cy="490985"/>
            <a:chOff x="2963" y="1300"/>
            <a:chExt cx="340" cy="340"/>
          </a:xfrm>
          <a:solidFill>
            <a:schemeClr val="bg1"/>
          </a:solidFill>
        </p:grpSpPr>
        <p:sp>
          <p:nvSpPr>
            <p:cNvPr id="39" name="Freeform 145">
              <a:extLst>
                <a:ext uri="{FF2B5EF4-FFF2-40B4-BE49-F238E27FC236}">
                  <a16:creationId xmlns:a16="http://schemas.microsoft.com/office/drawing/2014/main" id="{CBE5423B-6F4D-4A3F-9CA6-B9A2F2CE3C16}"/>
                </a:ext>
              </a:extLst>
            </p:cNvPr>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0" name="Freeform 146">
              <a:extLst>
                <a:ext uri="{FF2B5EF4-FFF2-40B4-BE49-F238E27FC236}">
                  <a16:creationId xmlns:a16="http://schemas.microsoft.com/office/drawing/2014/main" id="{BF0495C0-6C76-4025-A203-7F262304369A}"/>
                </a:ext>
              </a:extLst>
            </p:cNvPr>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41" name="Snip Diagonal Corner Rectangle 162">
            <a:extLst>
              <a:ext uri="{FF2B5EF4-FFF2-40B4-BE49-F238E27FC236}">
                <a16:creationId xmlns:a16="http://schemas.microsoft.com/office/drawing/2014/main" id="{75EADFB2-28B3-4BF8-B4EE-EC71457CF1B6}"/>
              </a:ext>
            </a:extLst>
          </p:cNvPr>
          <p:cNvSpPr/>
          <p:nvPr/>
        </p:nvSpPr>
        <p:spPr bwMode="gray">
          <a:xfrm>
            <a:off x="4864755" y="1412116"/>
            <a:ext cx="2583982" cy="585952"/>
          </a:xfrm>
          <a:prstGeom prst="snip2DiagRect">
            <a:avLst>
              <a:gd name="adj1" fmla="val 0"/>
              <a:gd name="adj2" fmla="val 359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66675" rIns="66675" bIns="66675" rtlCol="0" anchor="ctr"/>
          <a:lstStyle/>
          <a:p>
            <a:pPr algn="ctr"/>
            <a:r>
              <a:rPr lang="es-MX" sz="1400" b="1" dirty="0">
                <a:solidFill>
                  <a:prstClr val="white"/>
                </a:solidFill>
                <a:latin typeface="Verdana" panose="020B0604030504040204" pitchFamily="34" charset="0"/>
                <a:ea typeface="Verdana" panose="020B0604030504040204" pitchFamily="34" charset="0"/>
              </a:rPr>
              <a:t>Programa IMMEX / Certificación IVA-IEPS</a:t>
            </a:r>
          </a:p>
        </p:txBody>
      </p:sp>
      <p:sp>
        <p:nvSpPr>
          <p:cNvPr id="42" name="Text Placeholder 3">
            <a:extLst>
              <a:ext uri="{FF2B5EF4-FFF2-40B4-BE49-F238E27FC236}">
                <a16:creationId xmlns:a16="http://schemas.microsoft.com/office/drawing/2014/main" id="{767F6F6E-9796-437D-8AF5-F0CC217073F6}"/>
              </a:ext>
            </a:extLst>
          </p:cNvPr>
          <p:cNvSpPr txBox="1">
            <a:spLocks/>
          </p:cNvSpPr>
          <p:nvPr/>
        </p:nvSpPr>
        <p:spPr bwMode="gray">
          <a:xfrm>
            <a:off x="4864754" y="2163168"/>
            <a:ext cx="2479622" cy="4039567"/>
          </a:xfrm>
          <a:prstGeom prst="rect">
            <a:avLst/>
          </a:prstGeom>
        </p:spPr>
        <p:txBody>
          <a:bodyPr vert="horz" wrap="square" lIns="0" tIns="0" rIns="0" bIns="0" rtlCol="0">
            <a:spAutoFit/>
          </a:bodyPr>
          <a:lstStyle>
            <a:defPPr>
              <a:defRPr lang="es-MX"/>
            </a:defPPr>
            <a:lvl2pPr marL="85725" lvl="1" indent="-85725">
              <a:buSzPct val="100000"/>
              <a:buFont typeface="Arial" panose="020B0604020202020204" pitchFamily="34" charset="0"/>
              <a:buChar char="•"/>
              <a:defRPr sz="1250">
                <a:solidFill>
                  <a:prstClr val="black"/>
                </a:solidFill>
                <a:latin typeface="Verdana" panose="020B0604030504040204" pitchFamily="34" charset="0"/>
                <a:ea typeface="Verdana" panose="020B0604030504040204" pitchFamily="34" charset="0"/>
              </a:defRPr>
            </a:lvl2pPr>
          </a:lstStyle>
          <a:p>
            <a:pPr lvl="1"/>
            <a:r>
              <a:rPr lang="es-MX" dirty="0"/>
              <a:t>En el caso de contar con un </a:t>
            </a:r>
            <a:r>
              <a:rPr lang="es-MX" b="1" dirty="0"/>
              <a:t>programa IMMEX </a:t>
            </a:r>
            <a:r>
              <a:rPr lang="es-MX" dirty="0"/>
              <a:t>autorizado por la Secretaría de Economía; </a:t>
            </a:r>
            <a:r>
              <a:rPr lang="es-MX" b="1" dirty="0"/>
              <a:t>debe contar con políticas, procedimientos documentados </a:t>
            </a:r>
            <a:r>
              <a:rPr lang="es-MX" dirty="0"/>
              <a:t>y mecanismos de control para </a:t>
            </a:r>
            <a:r>
              <a:rPr lang="es-MX" b="1" dirty="0"/>
              <a:t>garantizar el cabal cumplimiento de todas las disposiciones requeridas</a:t>
            </a:r>
            <a:r>
              <a:rPr lang="es-MX" dirty="0"/>
              <a:t> para su operación. </a:t>
            </a:r>
          </a:p>
          <a:p>
            <a:pPr lvl="1"/>
            <a:endParaRPr lang="es-MX" dirty="0"/>
          </a:p>
          <a:p>
            <a:pPr lvl="1"/>
            <a:r>
              <a:rPr lang="es-MX" dirty="0"/>
              <a:t>En caso de contar con la </a:t>
            </a:r>
            <a:r>
              <a:rPr lang="es-MX" b="1" dirty="0"/>
              <a:t>Certificación en materia de IVA-IEPS</a:t>
            </a:r>
            <a:r>
              <a:rPr lang="es-MX" dirty="0"/>
              <a:t>, debe cumplir con las diversas disposiciones vigentes de que es objeto, además de </a:t>
            </a:r>
            <a:r>
              <a:rPr lang="es-MX" b="1" dirty="0"/>
              <a:t>cumplir con los requisitos y obligaciones de manera permanente. </a:t>
            </a:r>
          </a:p>
        </p:txBody>
      </p:sp>
      <p:sp>
        <p:nvSpPr>
          <p:cNvPr id="43" name="Isosceles Triangle 14">
            <a:extLst>
              <a:ext uri="{FF2B5EF4-FFF2-40B4-BE49-F238E27FC236}">
                <a16:creationId xmlns:a16="http://schemas.microsoft.com/office/drawing/2014/main" id="{2FF065FE-C3F6-4CE4-94E2-9D75B53AFC39}"/>
              </a:ext>
            </a:extLst>
          </p:cNvPr>
          <p:cNvSpPr/>
          <p:nvPr/>
        </p:nvSpPr>
        <p:spPr bwMode="gray">
          <a:xfrm>
            <a:off x="5889768" y="1083482"/>
            <a:ext cx="747389" cy="289082"/>
          </a:xfrm>
          <a:prstGeom prst="triangle">
            <a:avLst/>
          </a:prstGeom>
          <a:solidFill>
            <a:srgbClr val="D0D0CE"/>
          </a:solidFill>
          <a:ln w="19050" algn="ctr">
            <a:no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sp>
        <p:nvSpPr>
          <p:cNvPr id="44" name="Oval 43">
            <a:extLst>
              <a:ext uri="{FF2B5EF4-FFF2-40B4-BE49-F238E27FC236}">
                <a16:creationId xmlns:a16="http://schemas.microsoft.com/office/drawing/2014/main" id="{6340A41D-F9D7-4E60-9F23-5E5545E286E5}"/>
              </a:ext>
            </a:extLst>
          </p:cNvPr>
          <p:cNvSpPr/>
          <p:nvPr/>
        </p:nvSpPr>
        <p:spPr bwMode="gray">
          <a:xfrm rot="5400000">
            <a:off x="5642927" y="730647"/>
            <a:ext cx="648736" cy="648736"/>
          </a:xfrm>
          <a:prstGeom prst="ellipse">
            <a:avLst/>
          </a:prstGeom>
          <a:solidFill>
            <a:schemeClr val="accent1"/>
          </a:solidFill>
          <a:ln w="38100" algn="ctr">
            <a:solidFill>
              <a:schemeClr val="bg1"/>
            </a:solidFill>
            <a:miter lim="800000"/>
            <a:headEnd/>
            <a:tailEnd/>
          </a:ln>
        </p:spPr>
        <p:txBody>
          <a:bodyPr wrap="square" lIns="66675" tIns="66675" rIns="66675" bIns="66675" rtlCol="0" anchor="ctr"/>
          <a:lstStyle/>
          <a:p>
            <a:pPr algn="ctr">
              <a:buFont typeface="Wingdings 2" pitchFamily="18" charset="2"/>
              <a:buNone/>
            </a:pPr>
            <a:endParaRPr lang="en-US" sz="1200" b="1" dirty="0">
              <a:solidFill>
                <a:prstClr val="white"/>
              </a:solidFill>
            </a:endParaRPr>
          </a:p>
        </p:txBody>
      </p:sp>
      <p:cxnSp>
        <p:nvCxnSpPr>
          <p:cNvPr id="45" name="Straight Connector 44">
            <a:extLst>
              <a:ext uri="{FF2B5EF4-FFF2-40B4-BE49-F238E27FC236}">
                <a16:creationId xmlns:a16="http://schemas.microsoft.com/office/drawing/2014/main" id="{A3E2E6B4-89BB-478C-B7AC-D3EB62553285}"/>
              </a:ext>
            </a:extLst>
          </p:cNvPr>
          <p:cNvCxnSpPr/>
          <p:nvPr/>
        </p:nvCxnSpPr>
        <p:spPr>
          <a:xfrm>
            <a:off x="7436312" y="1744765"/>
            <a:ext cx="0" cy="4458664"/>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46" name="Group 726">
            <a:extLst>
              <a:ext uri="{FF2B5EF4-FFF2-40B4-BE49-F238E27FC236}">
                <a16:creationId xmlns:a16="http://schemas.microsoft.com/office/drawing/2014/main" id="{AD5721FA-6143-427D-BA08-1625CCD27DB6}"/>
              </a:ext>
            </a:extLst>
          </p:cNvPr>
          <p:cNvGrpSpPr>
            <a:grpSpLocks noChangeAspect="1"/>
          </p:cNvGrpSpPr>
          <p:nvPr/>
        </p:nvGrpSpPr>
        <p:grpSpPr bwMode="auto">
          <a:xfrm>
            <a:off x="5726865" y="811396"/>
            <a:ext cx="490985" cy="490985"/>
            <a:chOff x="5022" y="3403"/>
            <a:chExt cx="340" cy="340"/>
          </a:xfrm>
          <a:solidFill>
            <a:schemeClr val="bg1"/>
          </a:solidFill>
        </p:grpSpPr>
        <p:sp>
          <p:nvSpPr>
            <p:cNvPr id="47" name="Freeform 727">
              <a:extLst>
                <a:ext uri="{FF2B5EF4-FFF2-40B4-BE49-F238E27FC236}">
                  <a16:creationId xmlns:a16="http://schemas.microsoft.com/office/drawing/2014/main" id="{F4AE27C9-0369-414F-A73A-AADD91A4D474}"/>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sp>
          <p:nvSpPr>
            <p:cNvPr id="48" name="Freeform 728">
              <a:extLst>
                <a:ext uri="{FF2B5EF4-FFF2-40B4-BE49-F238E27FC236}">
                  <a16:creationId xmlns:a16="http://schemas.microsoft.com/office/drawing/2014/main" id="{C6EA0A6F-03DF-451D-88D1-847BCC156EE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dirty="0">
                <a:solidFill>
                  <a:prstClr val="black"/>
                </a:solidFill>
              </a:endParaRPr>
            </a:p>
          </p:txBody>
        </p:sp>
      </p:grpSp>
      <p:sp>
        <p:nvSpPr>
          <p:cNvPr id="14" name="Rectangle 13">
            <a:extLst>
              <a:ext uri="{FF2B5EF4-FFF2-40B4-BE49-F238E27FC236}">
                <a16:creationId xmlns:a16="http://schemas.microsoft.com/office/drawing/2014/main" id="{6CE7B56E-4DED-4699-AAD2-2C2F89D4620D}"/>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5" name="Rectangle 14">
            <a:extLst>
              <a:ext uri="{FF2B5EF4-FFF2-40B4-BE49-F238E27FC236}">
                <a16:creationId xmlns:a16="http://schemas.microsoft.com/office/drawing/2014/main" id="{FE502EBB-BC9C-4C53-BEE3-FFF4610E938D}"/>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16" name="Rectangle 15">
            <a:extLst>
              <a:ext uri="{FF2B5EF4-FFF2-40B4-BE49-F238E27FC236}">
                <a16:creationId xmlns:a16="http://schemas.microsoft.com/office/drawing/2014/main" id="{1DBDC917-A715-40AB-BDB0-A857C46F41D5}"/>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221795811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TextBox 623"/>
          <p:cNvSpPr txBox="1"/>
          <p:nvPr/>
        </p:nvSpPr>
        <p:spPr>
          <a:xfrm>
            <a:off x="344414" y="1281640"/>
            <a:ext cx="5737566" cy="1323439"/>
          </a:xfrm>
          <a:prstGeom prst="rect">
            <a:avLst/>
          </a:prstGeom>
          <a:noFill/>
        </p:spPr>
        <p:txBody>
          <a:bodyPr wrap="square" rtlCol="0">
            <a:spAutoFit/>
          </a:bodyPr>
          <a:lstStyle/>
          <a:p>
            <a:r>
              <a:rPr lang="es-MX" sz="4000" b="1" dirty="0">
                <a:latin typeface="Verdana" panose="020B0604030504040204" pitchFamily="34" charset="0"/>
                <a:ea typeface="Verdana" panose="020B0604030504040204" pitchFamily="34" charset="0"/>
              </a:rPr>
              <a:t>Ruta Critica para participar</a:t>
            </a:r>
          </a:p>
        </p:txBody>
      </p:sp>
      <p:sp>
        <p:nvSpPr>
          <p:cNvPr id="263" name="Freeform 5">
            <a:extLst>
              <a:ext uri="{FF2B5EF4-FFF2-40B4-BE49-F238E27FC236}">
                <a16:creationId xmlns:a16="http://schemas.microsoft.com/office/drawing/2014/main" id="{0AC02598-6755-4346-A5F0-954953C07EBB}"/>
              </a:ext>
            </a:extLst>
          </p:cNvPr>
          <p:cNvSpPr>
            <a:spLocks noEditPoints="1"/>
          </p:cNvSpPr>
          <p:nvPr/>
        </p:nvSpPr>
        <p:spPr bwMode="auto">
          <a:xfrm>
            <a:off x="52731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6">
            <a:extLst>
              <a:ext uri="{FF2B5EF4-FFF2-40B4-BE49-F238E27FC236}">
                <a16:creationId xmlns:a16="http://schemas.microsoft.com/office/drawing/2014/main" id="{3DD70A3D-F2A4-4D32-99AA-D181B1EBAB21}"/>
              </a:ext>
            </a:extLst>
          </p:cNvPr>
          <p:cNvSpPr>
            <a:spLocks noEditPoints="1"/>
          </p:cNvSpPr>
          <p:nvPr/>
        </p:nvSpPr>
        <p:spPr bwMode="auto">
          <a:xfrm>
            <a:off x="52711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69BB3C46-033F-4DF7-B3F7-FAC88B275935}"/>
              </a:ext>
            </a:extLst>
          </p:cNvPr>
          <p:cNvSpPr>
            <a:spLocks noEditPoints="1"/>
          </p:cNvSpPr>
          <p:nvPr/>
        </p:nvSpPr>
        <p:spPr bwMode="auto">
          <a:xfrm>
            <a:off x="52013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D116F28F-19BB-4EE7-A9DD-03811F77CF0C}"/>
              </a:ext>
            </a:extLst>
          </p:cNvPr>
          <p:cNvSpPr>
            <a:spLocks noEditPoints="1"/>
          </p:cNvSpPr>
          <p:nvPr/>
        </p:nvSpPr>
        <p:spPr bwMode="auto">
          <a:xfrm>
            <a:off x="51982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9">
            <a:extLst>
              <a:ext uri="{FF2B5EF4-FFF2-40B4-BE49-F238E27FC236}">
                <a16:creationId xmlns:a16="http://schemas.microsoft.com/office/drawing/2014/main" id="{30435FEC-1117-46AE-8CD9-43215089A2D4}"/>
              </a:ext>
            </a:extLst>
          </p:cNvPr>
          <p:cNvSpPr>
            <a:spLocks noEditPoints="1"/>
          </p:cNvSpPr>
          <p:nvPr/>
        </p:nvSpPr>
        <p:spPr bwMode="auto">
          <a:xfrm>
            <a:off x="114893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
            <a:extLst>
              <a:ext uri="{FF2B5EF4-FFF2-40B4-BE49-F238E27FC236}">
                <a16:creationId xmlns:a16="http://schemas.microsoft.com/office/drawing/2014/main" id="{36F06EB5-EE73-4399-AF7F-646358717C4D}"/>
              </a:ext>
            </a:extLst>
          </p:cNvPr>
          <p:cNvSpPr>
            <a:spLocks noEditPoints="1"/>
          </p:cNvSpPr>
          <p:nvPr/>
        </p:nvSpPr>
        <p:spPr bwMode="auto">
          <a:xfrm>
            <a:off x="114863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
            <a:extLst>
              <a:ext uri="{FF2B5EF4-FFF2-40B4-BE49-F238E27FC236}">
                <a16:creationId xmlns:a16="http://schemas.microsoft.com/office/drawing/2014/main" id="{2C5D0E98-4D93-4198-856C-81DF565F80BC}"/>
              </a:ext>
            </a:extLst>
          </p:cNvPr>
          <p:cNvSpPr>
            <a:spLocks noEditPoints="1"/>
          </p:cNvSpPr>
          <p:nvPr/>
        </p:nvSpPr>
        <p:spPr bwMode="auto">
          <a:xfrm>
            <a:off x="114175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2">
            <a:extLst>
              <a:ext uri="{FF2B5EF4-FFF2-40B4-BE49-F238E27FC236}">
                <a16:creationId xmlns:a16="http://schemas.microsoft.com/office/drawing/2014/main" id="{3D50FB71-85C5-46B6-97BA-ACE562D9F287}"/>
              </a:ext>
            </a:extLst>
          </p:cNvPr>
          <p:cNvSpPr>
            <a:spLocks noEditPoints="1"/>
          </p:cNvSpPr>
          <p:nvPr/>
        </p:nvSpPr>
        <p:spPr bwMode="auto">
          <a:xfrm>
            <a:off x="114144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3">
            <a:extLst>
              <a:ext uri="{FF2B5EF4-FFF2-40B4-BE49-F238E27FC236}">
                <a16:creationId xmlns:a16="http://schemas.microsoft.com/office/drawing/2014/main" id="{138A1430-A86E-49F8-BAEB-7655580A2A08}"/>
              </a:ext>
            </a:extLst>
          </p:cNvPr>
          <p:cNvSpPr>
            <a:spLocks noEditPoints="1"/>
          </p:cNvSpPr>
          <p:nvPr/>
        </p:nvSpPr>
        <p:spPr bwMode="auto">
          <a:xfrm>
            <a:off x="53885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4">
            <a:extLst>
              <a:ext uri="{FF2B5EF4-FFF2-40B4-BE49-F238E27FC236}">
                <a16:creationId xmlns:a16="http://schemas.microsoft.com/office/drawing/2014/main" id="{E6B976CE-3917-487C-8EAC-CEB1ED0D6AC1}"/>
              </a:ext>
            </a:extLst>
          </p:cNvPr>
          <p:cNvSpPr>
            <a:spLocks noEditPoints="1"/>
          </p:cNvSpPr>
          <p:nvPr/>
        </p:nvSpPr>
        <p:spPr bwMode="auto">
          <a:xfrm>
            <a:off x="53855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5">
            <a:extLst>
              <a:ext uri="{FF2B5EF4-FFF2-40B4-BE49-F238E27FC236}">
                <a16:creationId xmlns:a16="http://schemas.microsoft.com/office/drawing/2014/main" id="{09F873B0-CC64-4329-B926-224A9C1E8A7F}"/>
              </a:ext>
            </a:extLst>
          </p:cNvPr>
          <p:cNvSpPr>
            <a:spLocks noEditPoints="1"/>
          </p:cNvSpPr>
          <p:nvPr/>
        </p:nvSpPr>
        <p:spPr bwMode="auto">
          <a:xfrm>
            <a:off x="54199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
            <a:extLst>
              <a:ext uri="{FF2B5EF4-FFF2-40B4-BE49-F238E27FC236}">
                <a16:creationId xmlns:a16="http://schemas.microsoft.com/office/drawing/2014/main" id="{C8461AE9-26F6-40A6-B62D-9354D4B32C99}"/>
              </a:ext>
            </a:extLst>
          </p:cNvPr>
          <p:cNvSpPr>
            <a:spLocks noEditPoints="1"/>
          </p:cNvSpPr>
          <p:nvPr/>
        </p:nvSpPr>
        <p:spPr bwMode="auto">
          <a:xfrm>
            <a:off x="54149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7">
            <a:extLst>
              <a:ext uri="{FF2B5EF4-FFF2-40B4-BE49-F238E27FC236}">
                <a16:creationId xmlns:a16="http://schemas.microsoft.com/office/drawing/2014/main" id="{5BACA4CA-F723-4A0D-A4B4-2B0F2B8E4B86}"/>
              </a:ext>
            </a:extLst>
          </p:cNvPr>
          <p:cNvSpPr>
            <a:spLocks noEditPoints="1"/>
          </p:cNvSpPr>
          <p:nvPr/>
        </p:nvSpPr>
        <p:spPr bwMode="auto">
          <a:xfrm>
            <a:off x="60030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8">
            <a:extLst>
              <a:ext uri="{FF2B5EF4-FFF2-40B4-BE49-F238E27FC236}">
                <a16:creationId xmlns:a16="http://schemas.microsoft.com/office/drawing/2014/main" id="{71AD192F-C3B7-442B-BB03-F53C9EB9CD44}"/>
              </a:ext>
            </a:extLst>
          </p:cNvPr>
          <p:cNvSpPr>
            <a:spLocks noEditPoints="1"/>
          </p:cNvSpPr>
          <p:nvPr/>
        </p:nvSpPr>
        <p:spPr bwMode="auto">
          <a:xfrm>
            <a:off x="60010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9">
            <a:extLst>
              <a:ext uri="{FF2B5EF4-FFF2-40B4-BE49-F238E27FC236}">
                <a16:creationId xmlns:a16="http://schemas.microsoft.com/office/drawing/2014/main" id="{43040A79-5470-4754-9754-3B274215BFF7}"/>
              </a:ext>
            </a:extLst>
          </p:cNvPr>
          <p:cNvSpPr>
            <a:spLocks noEditPoints="1"/>
          </p:cNvSpPr>
          <p:nvPr/>
        </p:nvSpPr>
        <p:spPr bwMode="auto">
          <a:xfrm>
            <a:off x="50859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20">
            <a:extLst>
              <a:ext uri="{FF2B5EF4-FFF2-40B4-BE49-F238E27FC236}">
                <a16:creationId xmlns:a16="http://schemas.microsoft.com/office/drawing/2014/main" id="{1A232D3B-A942-454E-B098-F1C4679CC89A}"/>
              </a:ext>
            </a:extLst>
          </p:cNvPr>
          <p:cNvSpPr>
            <a:spLocks noEditPoints="1"/>
          </p:cNvSpPr>
          <p:nvPr/>
        </p:nvSpPr>
        <p:spPr bwMode="auto">
          <a:xfrm>
            <a:off x="50808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1">
            <a:extLst>
              <a:ext uri="{FF2B5EF4-FFF2-40B4-BE49-F238E27FC236}">
                <a16:creationId xmlns:a16="http://schemas.microsoft.com/office/drawing/2014/main" id="{4A7A755C-8A86-48B4-A2D7-C87F1F4A4E73}"/>
              </a:ext>
            </a:extLst>
          </p:cNvPr>
          <p:cNvSpPr>
            <a:spLocks noEditPoints="1"/>
          </p:cNvSpPr>
          <p:nvPr/>
        </p:nvSpPr>
        <p:spPr bwMode="auto">
          <a:xfrm>
            <a:off x="46101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22">
            <a:extLst>
              <a:ext uri="{FF2B5EF4-FFF2-40B4-BE49-F238E27FC236}">
                <a16:creationId xmlns:a16="http://schemas.microsoft.com/office/drawing/2014/main" id="{E4DD2D6D-2DB2-4B80-8065-92ED12430984}"/>
              </a:ext>
            </a:extLst>
          </p:cNvPr>
          <p:cNvSpPr>
            <a:spLocks noEditPoints="1"/>
          </p:cNvSpPr>
          <p:nvPr/>
        </p:nvSpPr>
        <p:spPr bwMode="auto">
          <a:xfrm>
            <a:off x="46030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23">
            <a:extLst>
              <a:ext uri="{FF2B5EF4-FFF2-40B4-BE49-F238E27FC236}">
                <a16:creationId xmlns:a16="http://schemas.microsoft.com/office/drawing/2014/main" id="{A20AE99A-768C-45FB-984F-E157D04E7A90}"/>
              </a:ext>
            </a:extLst>
          </p:cNvPr>
          <p:cNvSpPr>
            <a:spLocks noEditPoints="1"/>
          </p:cNvSpPr>
          <p:nvPr/>
        </p:nvSpPr>
        <p:spPr bwMode="auto">
          <a:xfrm>
            <a:off x="45049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4">
            <a:extLst>
              <a:ext uri="{FF2B5EF4-FFF2-40B4-BE49-F238E27FC236}">
                <a16:creationId xmlns:a16="http://schemas.microsoft.com/office/drawing/2014/main" id="{C28A0ADF-B052-4BE2-8F66-A19D73F2FE53}"/>
              </a:ext>
            </a:extLst>
          </p:cNvPr>
          <p:cNvSpPr>
            <a:spLocks noEditPoints="1"/>
          </p:cNvSpPr>
          <p:nvPr/>
        </p:nvSpPr>
        <p:spPr bwMode="auto">
          <a:xfrm>
            <a:off x="44978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25">
            <a:extLst>
              <a:ext uri="{FF2B5EF4-FFF2-40B4-BE49-F238E27FC236}">
                <a16:creationId xmlns:a16="http://schemas.microsoft.com/office/drawing/2014/main" id="{60E90381-9EEE-4344-B92C-1B3A25CC51E3}"/>
              </a:ext>
            </a:extLst>
          </p:cNvPr>
          <p:cNvSpPr>
            <a:spLocks noEditPoints="1"/>
          </p:cNvSpPr>
          <p:nvPr/>
        </p:nvSpPr>
        <p:spPr bwMode="auto">
          <a:xfrm>
            <a:off x="115784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26">
            <a:extLst>
              <a:ext uri="{FF2B5EF4-FFF2-40B4-BE49-F238E27FC236}">
                <a16:creationId xmlns:a16="http://schemas.microsoft.com/office/drawing/2014/main" id="{747C703A-AB3A-4A2B-88AD-B70982C3B7EA}"/>
              </a:ext>
            </a:extLst>
          </p:cNvPr>
          <p:cNvSpPr>
            <a:spLocks noEditPoints="1"/>
          </p:cNvSpPr>
          <p:nvPr/>
        </p:nvSpPr>
        <p:spPr bwMode="auto">
          <a:xfrm>
            <a:off x="115734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27">
            <a:extLst>
              <a:ext uri="{FF2B5EF4-FFF2-40B4-BE49-F238E27FC236}">
                <a16:creationId xmlns:a16="http://schemas.microsoft.com/office/drawing/2014/main" id="{29F01649-B303-4B2E-8CE6-38F2AC360F35}"/>
              </a:ext>
            </a:extLst>
          </p:cNvPr>
          <p:cNvSpPr>
            <a:spLocks noEditPoints="1"/>
          </p:cNvSpPr>
          <p:nvPr/>
        </p:nvSpPr>
        <p:spPr bwMode="auto">
          <a:xfrm>
            <a:off x="116068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28">
            <a:extLst>
              <a:ext uri="{FF2B5EF4-FFF2-40B4-BE49-F238E27FC236}">
                <a16:creationId xmlns:a16="http://schemas.microsoft.com/office/drawing/2014/main" id="{41CE3925-42BB-4F50-A968-9B7ACCFC8830}"/>
              </a:ext>
            </a:extLst>
          </p:cNvPr>
          <p:cNvSpPr>
            <a:spLocks noEditPoints="1"/>
          </p:cNvSpPr>
          <p:nvPr/>
        </p:nvSpPr>
        <p:spPr bwMode="auto">
          <a:xfrm>
            <a:off x="116047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29">
            <a:extLst>
              <a:ext uri="{FF2B5EF4-FFF2-40B4-BE49-F238E27FC236}">
                <a16:creationId xmlns:a16="http://schemas.microsoft.com/office/drawing/2014/main" id="{6E63F76B-4084-4E85-9892-3F605EB9CBE7}"/>
              </a:ext>
            </a:extLst>
          </p:cNvPr>
          <p:cNvSpPr>
            <a:spLocks noEditPoints="1"/>
          </p:cNvSpPr>
          <p:nvPr/>
        </p:nvSpPr>
        <p:spPr bwMode="auto">
          <a:xfrm>
            <a:off x="118345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30">
            <a:extLst>
              <a:ext uri="{FF2B5EF4-FFF2-40B4-BE49-F238E27FC236}">
                <a16:creationId xmlns:a16="http://schemas.microsoft.com/office/drawing/2014/main" id="{BF6A2D58-A949-4662-853A-42D10FC865C2}"/>
              </a:ext>
            </a:extLst>
          </p:cNvPr>
          <p:cNvSpPr>
            <a:spLocks noEditPoints="1"/>
          </p:cNvSpPr>
          <p:nvPr/>
        </p:nvSpPr>
        <p:spPr bwMode="auto">
          <a:xfrm>
            <a:off x="118305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31">
            <a:extLst>
              <a:ext uri="{FF2B5EF4-FFF2-40B4-BE49-F238E27FC236}">
                <a16:creationId xmlns:a16="http://schemas.microsoft.com/office/drawing/2014/main" id="{EDFAA406-C385-4516-9AC7-93F531A7B0DF}"/>
              </a:ext>
            </a:extLst>
          </p:cNvPr>
          <p:cNvSpPr>
            <a:spLocks noEditPoints="1"/>
          </p:cNvSpPr>
          <p:nvPr/>
        </p:nvSpPr>
        <p:spPr bwMode="auto">
          <a:xfrm>
            <a:off x="119388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32">
            <a:extLst>
              <a:ext uri="{FF2B5EF4-FFF2-40B4-BE49-F238E27FC236}">
                <a16:creationId xmlns:a16="http://schemas.microsoft.com/office/drawing/2014/main" id="{C0BE317D-EF9C-4C8A-829B-090B6A103667}"/>
              </a:ext>
            </a:extLst>
          </p:cNvPr>
          <p:cNvSpPr>
            <a:spLocks noEditPoints="1"/>
          </p:cNvSpPr>
          <p:nvPr/>
        </p:nvSpPr>
        <p:spPr bwMode="auto">
          <a:xfrm>
            <a:off x="119357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33">
            <a:extLst>
              <a:ext uri="{FF2B5EF4-FFF2-40B4-BE49-F238E27FC236}">
                <a16:creationId xmlns:a16="http://schemas.microsoft.com/office/drawing/2014/main" id="{9CF74DD3-1975-45C0-AA4A-607C684E6C8A}"/>
              </a:ext>
            </a:extLst>
          </p:cNvPr>
          <p:cNvSpPr>
            <a:spLocks noEditPoints="1"/>
          </p:cNvSpPr>
          <p:nvPr/>
        </p:nvSpPr>
        <p:spPr bwMode="auto">
          <a:xfrm>
            <a:off x="112829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34">
            <a:extLst>
              <a:ext uri="{FF2B5EF4-FFF2-40B4-BE49-F238E27FC236}">
                <a16:creationId xmlns:a16="http://schemas.microsoft.com/office/drawing/2014/main" id="{C28578B6-CF2F-4B64-B2BF-BE5C9E3771BE}"/>
              </a:ext>
            </a:extLst>
          </p:cNvPr>
          <p:cNvSpPr>
            <a:spLocks noEditPoints="1"/>
          </p:cNvSpPr>
          <p:nvPr/>
        </p:nvSpPr>
        <p:spPr bwMode="auto">
          <a:xfrm>
            <a:off x="112798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35">
            <a:extLst>
              <a:ext uri="{FF2B5EF4-FFF2-40B4-BE49-F238E27FC236}">
                <a16:creationId xmlns:a16="http://schemas.microsoft.com/office/drawing/2014/main" id="{9B23F82E-968A-4BDF-B657-332D629056ED}"/>
              </a:ext>
            </a:extLst>
          </p:cNvPr>
          <p:cNvSpPr>
            <a:spLocks noEditPoints="1"/>
          </p:cNvSpPr>
          <p:nvPr/>
        </p:nvSpPr>
        <p:spPr bwMode="auto">
          <a:xfrm>
            <a:off x="110713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36">
            <a:extLst>
              <a:ext uri="{FF2B5EF4-FFF2-40B4-BE49-F238E27FC236}">
                <a16:creationId xmlns:a16="http://schemas.microsoft.com/office/drawing/2014/main" id="{86CB239B-609C-4A8E-8F56-77051A1E43D2}"/>
              </a:ext>
            </a:extLst>
          </p:cNvPr>
          <p:cNvSpPr>
            <a:spLocks noEditPoints="1"/>
          </p:cNvSpPr>
          <p:nvPr/>
        </p:nvSpPr>
        <p:spPr bwMode="auto">
          <a:xfrm>
            <a:off x="110662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37">
            <a:extLst>
              <a:ext uri="{FF2B5EF4-FFF2-40B4-BE49-F238E27FC236}">
                <a16:creationId xmlns:a16="http://schemas.microsoft.com/office/drawing/2014/main" id="{7CA998CE-96C6-4F6E-98AF-087B0E4C2B7A}"/>
              </a:ext>
            </a:extLst>
          </p:cNvPr>
          <p:cNvSpPr>
            <a:spLocks noEditPoints="1"/>
          </p:cNvSpPr>
          <p:nvPr/>
        </p:nvSpPr>
        <p:spPr bwMode="auto">
          <a:xfrm>
            <a:off x="110713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38">
            <a:extLst>
              <a:ext uri="{FF2B5EF4-FFF2-40B4-BE49-F238E27FC236}">
                <a16:creationId xmlns:a16="http://schemas.microsoft.com/office/drawing/2014/main" id="{FD168DE7-BDE5-4D22-9923-6F2064F14C4B}"/>
              </a:ext>
            </a:extLst>
          </p:cNvPr>
          <p:cNvSpPr>
            <a:spLocks noEditPoints="1"/>
          </p:cNvSpPr>
          <p:nvPr/>
        </p:nvSpPr>
        <p:spPr bwMode="auto">
          <a:xfrm>
            <a:off x="110662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39">
            <a:extLst>
              <a:ext uri="{FF2B5EF4-FFF2-40B4-BE49-F238E27FC236}">
                <a16:creationId xmlns:a16="http://schemas.microsoft.com/office/drawing/2014/main" id="{C0A48846-3CA1-4033-A124-EE4557838E03}"/>
              </a:ext>
            </a:extLst>
          </p:cNvPr>
          <p:cNvSpPr>
            <a:spLocks/>
          </p:cNvSpPr>
          <p:nvPr/>
        </p:nvSpPr>
        <p:spPr bwMode="auto">
          <a:xfrm>
            <a:off x="85488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40">
            <a:extLst>
              <a:ext uri="{FF2B5EF4-FFF2-40B4-BE49-F238E27FC236}">
                <a16:creationId xmlns:a16="http://schemas.microsoft.com/office/drawing/2014/main" id="{24A8079F-89AC-436E-B953-435EE482DCA9}"/>
              </a:ext>
            </a:extLst>
          </p:cNvPr>
          <p:cNvSpPr>
            <a:spLocks/>
          </p:cNvSpPr>
          <p:nvPr/>
        </p:nvSpPr>
        <p:spPr bwMode="auto">
          <a:xfrm>
            <a:off x="86115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41">
            <a:extLst>
              <a:ext uri="{FF2B5EF4-FFF2-40B4-BE49-F238E27FC236}">
                <a16:creationId xmlns:a16="http://schemas.microsoft.com/office/drawing/2014/main" id="{81C621F1-7C8A-4615-8426-9C22F13EC511}"/>
              </a:ext>
            </a:extLst>
          </p:cNvPr>
          <p:cNvSpPr>
            <a:spLocks/>
          </p:cNvSpPr>
          <p:nvPr/>
        </p:nvSpPr>
        <p:spPr bwMode="auto">
          <a:xfrm>
            <a:off x="86986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42">
            <a:extLst>
              <a:ext uri="{FF2B5EF4-FFF2-40B4-BE49-F238E27FC236}">
                <a16:creationId xmlns:a16="http://schemas.microsoft.com/office/drawing/2014/main" id="{E13A57FB-5430-4F4D-9262-E6A55FC02746}"/>
              </a:ext>
            </a:extLst>
          </p:cNvPr>
          <p:cNvSpPr>
            <a:spLocks/>
          </p:cNvSpPr>
          <p:nvPr/>
        </p:nvSpPr>
        <p:spPr bwMode="auto">
          <a:xfrm>
            <a:off x="86814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43">
            <a:extLst>
              <a:ext uri="{FF2B5EF4-FFF2-40B4-BE49-F238E27FC236}">
                <a16:creationId xmlns:a16="http://schemas.microsoft.com/office/drawing/2014/main" id="{6FD50FCB-B2A2-4702-B7E9-27779A07C1F5}"/>
              </a:ext>
            </a:extLst>
          </p:cNvPr>
          <p:cNvSpPr>
            <a:spLocks/>
          </p:cNvSpPr>
          <p:nvPr/>
        </p:nvSpPr>
        <p:spPr bwMode="auto">
          <a:xfrm>
            <a:off x="87796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44">
            <a:extLst>
              <a:ext uri="{FF2B5EF4-FFF2-40B4-BE49-F238E27FC236}">
                <a16:creationId xmlns:a16="http://schemas.microsoft.com/office/drawing/2014/main" id="{87351DCE-DCEF-4F6E-8E3E-0AA07C951286}"/>
              </a:ext>
            </a:extLst>
          </p:cNvPr>
          <p:cNvSpPr>
            <a:spLocks noEditPoints="1"/>
          </p:cNvSpPr>
          <p:nvPr/>
        </p:nvSpPr>
        <p:spPr bwMode="auto">
          <a:xfrm>
            <a:off x="68320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45">
            <a:extLst>
              <a:ext uri="{FF2B5EF4-FFF2-40B4-BE49-F238E27FC236}">
                <a16:creationId xmlns:a16="http://schemas.microsoft.com/office/drawing/2014/main" id="{69AA655C-3DA3-4E54-B98A-33555F63ECED}"/>
              </a:ext>
            </a:extLst>
          </p:cNvPr>
          <p:cNvSpPr>
            <a:spLocks/>
          </p:cNvSpPr>
          <p:nvPr/>
        </p:nvSpPr>
        <p:spPr bwMode="auto">
          <a:xfrm>
            <a:off x="71296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46">
            <a:extLst>
              <a:ext uri="{FF2B5EF4-FFF2-40B4-BE49-F238E27FC236}">
                <a16:creationId xmlns:a16="http://schemas.microsoft.com/office/drawing/2014/main" id="{82F26EA6-B6B4-4EE9-9E75-2B35665D30B7}"/>
              </a:ext>
            </a:extLst>
          </p:cNvPr>
          <p:cNvSpPr>
            <a:spLocks/>
          </p:cNvSpPr>
          <p:nvPr/>
        </p:nvSpPr>
        <p:spPr bwMode="auto">
          <a:xfrm>
            <a:off x="71276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8BBFDA97-AE45-441A-8C61-EB23C907BFAE}"/>
              </a:ext>
            </a:extLst>
          </p:cNvPr>
          <p:cNvSpPr>
            <a:spLocks/>
          </p:cNvSpPr>
          <p:nvPr/>
        </p:nvSpPr>
        <p:spPr bwMode="auto">
          <a:xfrm>
            <a:off x="81317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79AD60B0-D39A-48E8-B502-F68C69FD52D7}"/>
              </a:ext>
            </a:extLst>
          </p:cNvPr>
          <p:cNvSpPr>
            <a:spLocks/>
          </p:cNvSpPr>
          <p:nvPr/>
        </p:nvSpPr>
        <p:spPr bwMode="auto">
          <a:xfrm>
            <a:off x="86358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83F2EC32-D75C-4F48-9BF1-F3EDC2F35AE7}"/>
              </a:ext>
            </a:extLst>
          </p:cNvPr>
          <p:cNvSpPr>
            <a:spLocks/>
          </p:cNvSpPr>
          <p:nvPr/>
        </p:nvSpPr>
        <p:spPr bwMode="auto">
          <a:xfrm>
            <a:off x="86308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0AC3DE7F-80CB-4BC8-9DB1-C68B21A2FF66}"/>
              </a:ext>
            </a:extLst>
          </p:cNvPr>
          <p:cNvSpPr>
            <a:spLocks/>
          </p:cNvSpPr>
          <p:nvPr/>
        </p:nvSpPr>
        <p:spPr bwMode="auto">
          <a:xfrm>
            <a:off x="105864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99740E23-B111-4E2C-ABB3-09491D102FA7}"/>
              </a:ext>
            </a:extLst>
          </p:cNvPr>
          <p:cNvSpPr>
            <a:spLocks/>
          </p:cNvSpPr>
          <p:nvPr/>
        </p:nvSpPr>
        <p:spPr bwMode="auto">
          <a:xfrm>
            <a:off x="105864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2">
            <a:extLst>
              <a:ext uri="{FF2B5EF4-FFF2-40B4-BE49-F238E27FC236}">
                <a16:creationId xmlns:a16="http://schemas.microsoft.com/office/drawing/2014/main" id="{B4C96584-395B-482E-826C-29D2B5CF0416}"/>
              </a:ext>
            </a:extLst>
          </p:cNvPr>
          <p:cNvSpPr>
            <a:spLocks/>
          </p:cNvSpPr>
          <p:nvPr/>
        </p:nvSpPr>
        <p:spPr bwMode="auto">
          <a:xfrm>
            <a:off x="89314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53">
            <a:extLst>
              <a:ext uri="{FF2B5EF4-FFF2-40B4-BE49-F238E27FC236}">
                <a16:creationId xmlns:a16="http://schemas.microsoft.com/office/drawing/2014/main" id="{C3D89076-7146-40B4-9F85-339860C7803E}"/>
              </a:ext>
            </a:extLst>
          </p:cNvPr>
          <p:cNvSpPr>
            <a:spLocks/>
          </p:cNvSpPr>
          <p:nvPr/>
        </p:nvSpPr>
        <p:spPr bwMode="auto">
          <a:xfrm>
            <a:off x="89314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54">
            <a:extLst>
              <a:ext uri="{FF2B5EF4-FFF2-40B4-BE49-F238E27FC236}">
                <a16:creationId xmlns:a16="http://schemas.microsoft.com/office/drawing/2014/main" id="{1E3E8514-F560-43C7-A3B2-2033E0BA2C52}"/>
              </a:ext>
            </a:extLst>
          </p:cNvPr>
          <p:cNvSpPr>
            <a:spLocks/>
          </p:cNvSpPr>
          <p:nvPr/>
        </p:nvSpPr>
        <p:spPr bwMode="auto">
          <a:xfrm>
            <a:off x="93920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55">
            <a:extLst>
              <a:ext uri="{FF2B5EF4-FFF2-40B4-BE49-F238E27FC236}">
                <a16:creationId xmlns:a16="http://schemas.microsoft.com/office/drawing/2014/main" id="{C29D82AD-C822-44D4-AFE2-56F139164BB2}"/>
              </a:ext>
            </a:extLst>
          </p:cNvPr>
          <p:cNvSpPr>
            <a:spLocks/>
          </p:cNvSpPr>
          <p:nvPr/>
        </p:nvSpPr>
        <p:spPr bwMode="auto">
          <a:xfrm>
            <a:off x="93900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56">
            <a:extLst>
              <a:ext uri="{FF2B5EF4-FFF2-40B4-BE49-F238E27FC236}">
                <a16:creationId xmlns:a16="http://schemas.microsoft.com/office/drawing/2014/main" id="{44A97774-BDD4-4CD6-A010-BDB65625E2F0}"/>
              </a:ext>
            </a:extLst>
          </p:cNvPr>
          <p:cNvSpPr>
            <a:spLocks noEditPoints="1"/>
          </p:cNvSpPr>
          <p:nvPr/>
        </p:nvSpPr>
        <p:spPr bwMode="auto">
          <a:xfrm>
            <a:off x="60182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Rectangle 57">
            <a:extLst>
              <a:ext uri="{FF2B5EF4-FFF2-40B4-BE49-F238E27FC236}">
                <a16:creationId xmlns:a16="http://schemas.microsoft.com/office/drawing/2014/main" id="{4A0D4A55-3093-49C2-8C71-1BE94D2F509B}"/>
              </a:ext>
            </a:extLst>
          </p:cNvPr>
          <p:cNvSpPr>
            <a:spLocks noChangeArrowheads="1"/>
          </p:cNvSpPr>
          <p:nvPr/>
        </p:nvSpPr>
        <p:spPr bwMode="auto">
          <a:xfrm>
            <a:off x="8109509" y="4756193"/>
            <a:ext cx="166008" cy="2935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Rectangle 58">
            <a:extLst>
              <a:ext uri="{FF2B5EF4-FFF2-40B4-BE49-F238E27FC236}">
                <a16:creationId xmlns:a16="http://schemas.microsoft.com/office/drawing/2014/main" id="{B03300C5-881F-46BF-9600-75817C1C3AFB}"/>
              </a:ext>
            </a:extLst>
          </p:cNvPr>
          <p:cNvSpPr>
            <a:spLocks noChangeArrowheads="1"/>
          </p:cNvSpPr>
          <p:nvPr/>
        </p:nvSpPr>
        <p:spPr bwMode="auto">
          <a:xfrm>
            <a:off x="8109509" y="4679262"/>
            <a:ext cx="166008" cy="3138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Rectangle 59">
            <a:extLst>
              <a:ext uri="{FF2B5EF4-FFF2-40B4-BE49-F238E27FC236}">
                <a16:creationId xmlns:a16="http://schemas.microsoft.com/office/drawing/2014/main" id="{995E551D-16C4-4105-B20A-12DEF78D8EDC}"/>
              </a:ext>
            </a:extLst>
          </p:cNvPr>
          <p:cNvSpPr>
            <a:spLocks noChangeArrowheads="1"/>
          </p:cNvSpPr>
          <p:nvPr/>
        </p:nvSpPr>
        <p:spPr bwMode="auto">
          <a:xfrm>
            <a:off x="8109509" y="4607393"/>
            <a:ext cx="166008" cy="2834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60">
            <a:extLst>
              <a:ext uri="{FF2B5EF4-FFF2-40B4-BE49-F238E27FC236}">
                <a16:creationId xmlns:a16="http://schemas.microsoft.com/office/drawing/2014/main" id="{5FA4B37C-8819-46AA-9AF0-6F632933EE16}"/>
              </a:ext>
            </a:extLst>
          </p:cNvPr>
          <p:cNvSpPr>
            <a:spLocks/>
          </p:cNvSpPr>
          <p:nvPr/>
        </p:nvSpPr>
        <p:spPr bwMode="auto">
          <a:xfrm>
            <a:off x="63664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61">
            <a:extLst>
              <a:ext uri="{FF2B5EF4-FFF2-40B4-BE49-F238E27FC236}">
                <a16:creationId xmlns:a16="http://schemas.microsoft.com/office/drawing/2014/main" id="{3A9CDD08-1A22-478B-BBFD-9FAEAD2F22C3}"/>
              </a:ext>
            </a:extLst>
          </p:cNvPr>
          <p:cNvSpPr>
            <a:spLocks/>
          </p:cNvSpPr>
          <p:nvPr/>
        </p:nvSpPr>
        <p:spPr bwMode="auto">
          <a:xfrm>
            <a:off x="63613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62">
            <a:extLst>
              <a:ext uri="{FF2B5EF4-FFF2-40B4-BE49-F238E27FC236}">
                <a16:creationId xmlns:a16="http://schemas.microsoft.com/office/drawing/2014/main" id="{DD4D916F-5E08-4EA5-ABF9-FF2A0AF9D21E}"/>
              </a:ext>
            </a:extLst>
          </p:cNvPr>
          <p:cNvSpPr>
            <a:spLocks/>
          </p:cNvSpPr>
          <p:nvPr/>
        </p:nvSpPr>
        <p:spPr bwMode="auto">
          <a:xfrm>
            <a:off x="71873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63">
            <a:extLst>
              <a:ext uri="{FF2B5EF4-FFF2-40B4-BE49-F238E27FC236}">
                <a16:creationId xmlns:a16="http://schemas.microsoft.com/office/drawing/2014/main" id="{9E8E672D-A4D7-4AE1-9E5E-B28F65472F20}"/>
              </a:ext>
            </a:extLst>
          </p:cNvPr>
          <p:cNvSpPr>
            <a:spLocks/>
          </p:cNvSpPr>
          <p:nvPr/>
        </p:nvSpPr>
        <p:spPr bwMode="auto">
          <a:xfrm>
            <a:off x="71853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4">
            <a:extLst>
              <a:ext uri="{FF2B5EF4-FFF2-40B4-BE49-F238E27FC236}">
                <a16:creationId xmlns:a16="http://schemas.microsoft.com/office/drawing/2014/main" id="{DF6A3945-F967-4022-838F-EACD2AC35FE3}"/>
              </a:ext>
            </a:extLst>
          </p:cNvPr>
          <p:cNvSpPr>
            <a:spLocks/>
          </p:cNvSpPr>
          <p:nvPr/>
        </p:nvSpPr>
        <p:spPr bwMode="auto">
          <a:xfrm>
            <a:off x="78119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65">
            <a:extLst>
              <a:ext uri="{FF2B5EF4-FFF2-40B4-BE49-F238E27FC236}">
                <a16:creationId xmlns:a16="http://schemas.microsoft.com/office/drawing/2014/main" id="{8F2CE2BF-6584-41DD-8C40-BBEA8F6F61E4}"/>
              </a:ext>
            </a:extLst>
          </p:cNvPr>
          <p:cNvSpPr>
            <a:spLocks/>
          </p:cNvSpPr>
          <p:nvPr/>
        </p:nvSpPr>
        <p:spPr bwMode="auto">
          <a:xfrm>
            <a:off x="78098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66">
            <a:extLst>
              <a:ext uri="{FF2B5EF4-FFF2-40B4-BE49-F238E27FC236}">
                <a16:creationId xmlns:a16="http://schemas.microsoft.com/office/drawing/2014/main" id="{F918E45A-FA47-44D9-81F3-6911CE9E24D5}"/>
              </a:ext>
            </a:extLst>
          </p:cNvPr>
          <p:cNvSpPr>
            <a:spLocks/>
          </p:cNvSpPr>
          <p:nvPr/>
        </p:nvSpPr>
        <p:spPr bwMode="auto">
          <a:xfrm>
            <a:off x="82228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67">
            <a:extLst>
              <a:ext uri="{FF2B5EF4-FFF2-40B4-BE49-F238E27FC236}">
                <a16:creationId xmlns:a16="http://schemas.microsoft.com/office/drawing/2014/main" id="{7210E89B-40F7-4D5D-9B77-0BD19A39BE76}"/>
              </a:ext>
            </a:extLst>
          </p:cNvPr>
          <p:cNvSpPr>
            <a:spLocks/>
          </p:cNvSpPr>
          <p:nvPr/>
        </p:nvSpPr>
        <p:spPr bwMode="auto">
          <a:xfrm>
            <a:off x="82198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68">
            <a:extLst>
              <a:ext uri="{FF2B5EF4-FFF2-40B4-BE49-F238E27FC236}">
                <a16:creationId xmlns:a16="http://schemas.microsoft.com/office/drawing/2014/main" id="{5BDE5632-D0AB-4FB5-8BD4-EFBCB2C767A6}"/>
              </a:ext>
            </a:extLst>
          </p:cNvPr>
          <p:cNvSpPr>
            <a:spLocks/>
          </p:cNvSpPr>
          <p:nvPr/>
        </p:nvSpPr>
        <p:spPr bwMode="auto">
          <a:xfrm>
            <a:off x="60708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69">
            <a:extLst>
              <a:ext uri="{FF2B5EF4-FFF2-40B4-BE49-F238E27FC236}">
                <a16:creationId xmlns:a16="http://schemas.microsoft.com/office/drawing/2014/main" id="{20C1E29A-FADE-47BD-8EB1-6ED3F745DBC1}"/>
              </a:ext>
            </a:extLst>
          </p:cNvPr>
          <p:cNvSpPr>
            <a:spLocks/>
          </p:cNvSpPr>
          <p:nvPr/>
        </p:nvSpPr>
        <p:spPr bwMode="auto">
          <a:xfrm>
            <a:off x="60708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70">
            <a:extLst>
              <a:ext uri="{FF2B5EF4-FFF2-40B4-BE49-F238E27FC236}">
                <a16:creationId xmlns:a16="http://schemas.microsoft.com/office/drawing/2014/main" id="{E93B88B2-7C43-41C7-9DC2-E391E11CC8D1}"/>
              </a:ext>
            </a:extLst>
          </p:cNvPr>
          <p:cNvSpPr>
            <a:spLocks/>
          </p:cNvSpPr>
          <p:nvPr/>
        </p:nvSpPr>
        <p:spPr bwMode="auto">
          <a:xfrm>
            <a:off x="67115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71">
            <a:extLst>
              <a:ext uri="{FF2B5EF4-FFF2-40B4-BE49-F238E27FC236}">
                <a16:creationId xmlns:a16="http://schemas.microsoft.com/office/drawing/2014/main" id="{0E5C410F-4305-4859-989D-3ABBBB235C96}"/>
              </a:ext>
            </a:extLst>
          </p:cNvPr>
          <p:cNvSpPr>
            <a:spLocks/>
          </p:cNvSpPr>
          <p:nvPr/>
        </p:nvSpPr>
        <p:spPr bwMode="auto">
          <a:xfrm>
            <a:off x="67115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72">
            <a:extLst>
              <a:ext uri="{FF2B5EF4-FFF2-40B4-BE49-F238E27FC236}">
                <a16:creationId xmlns:a16="http://schemas.microsoft.com/office/drawing/2014/main" id="{CB2567C0-6C3B-48AE-98B1-A3D8EF71C0C1}"/>
              </a:ext>
            </a:extLst>
          </p:cNvPr>
          <p:cNvSpPr>
            <a:spLocks/>
          </p:cNvSpPr>
          <p:nvPr/>
        </p:nvSpPr>
        <p:spPr bwMode="auto">
          <a:xfrm>
            <a:off x="71731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73">
            <a:extLst>
              <a:ext uri="{FF2B5EF4-FFF2-40B4-BE49-F238E27FC236}">
                <a16:creationId xmlns:a16="http://schemas.microsoft.com/office/drawing/2014/main" id="{DA756EF4-1770-42FC-BD92-CB50B7EEEF99}"/>
              </a:ext>
            </a:extLst>
          </p:cNvPr>
          <p:cNvSpPr>
            <a:spLocks/>
          </p:cNvSpPr>
          <p:nvPr/>
        </p:nvSpPr>
        <p:spPr bwMode="auto">
          <a:xfrm>
            <a:off x="71731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74">
            <a:extLst>
              <a:ext uri="{FF2B5EF4-FFF2-40B4-BE49-F238E27FC236}">
                <a16:creationId xmlns:a16="http://schemas.microsoft.com/office/drawing/2014/main" id="{2EF5C2E5-C765-46ED-AD1F-749321565B97}"/>
              </a:ext>
            </a:extLst>
          </p:cNvPr>
          <p:cNvSpPr>
            <a:spLocks/>
          </p:cNvSpPr>
          <p:nvPr/>
        </p:nvSpPr>
        <p:spPr bwMode="auto">
          <a:xfrm>
            <a:off x="71731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75">
            <a:extLst>
              <a:ext uri="{FF2B5EF4-FFF2-40B4-BE49-F238E27FC236}">
                <a16:creationId xmlns:a16="http://schemas.microsoft.com/office/drawing/2014/main" id="{CBE77F58-DD4D-4ED3-BDD1-5DBC91243EC8}"/>
              </a:ext>
            </a:extLst>
          </p:cNvPr>
          <p:cNvSpPr>
            <a:spLocks noEditPoints="1"/>
          </p:cNvSpPr>
          <p:nvPr/>
        </p:nvSpPr>
        <p:spPr bwMode="auto">
          <a:xfrm>
            <a:off x="71924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76">
            <a:extLst>
              <a:ext uri="{FF2B5EF4-FFF2-40B4-BE49-F238E27FC236}">
                <a16:creationId xmlns:a16="http://schemas.microsoft.com/office/drawing/2014/main" id="{F79DEA51-B21E-49EF-8156-138F7029C94A}"/>
              </a:ext>
            </a:extLst>
          </p:cNvPr>
          <p:cNvSpPr>
            <a:spLocks/>
          </p:cNvSpPr>
          <p:nvPr/>
        </p:nvSpPr>
        <p:spPr bwMode="auto">
          <a:xfrm>
            <a:off x="71731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77">
            <a:extLst>
              <a:ext uri="{FF2B5EF4-FFF2-40B4-BE49-F238E27FC236}">
                <a16:creationId xmlns:a16="http://schemas.microsoft.com/office/drawing/2014/main" id="{E4CB22C5-F624-444C-B8AA-028084DABD28}"/>
              </a:ext>
            </a:extLst>
          </p:cNvPr>
          <p:cNvSpPr>
            <a:spLocks noEditPoints="1"/>
          </p:cNvSpPr>
          <p:nvPr/>
        </p:nvSpPr>
        <p:spPr bwMode="auto">
          <a:xfrm>
            <a:off x="71154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78">
            <a:extLst>
              <a:ext uri="{FF2B5EF4-FFF2-40B4-BE49-F238E27FC236}">
                <a16:creationId xmlns:a16="http://schemas.microsoft.com/office/drawing/2014/main" id="{8A229632-901D-4BB1-9F99-DCA13AE8421C}"/>
              </a:ext>
            </a:extLst>
          </p:cNvPr>
          <p:cNvSpPr>
            <a:spLocks noEditPoints="1"/>
          </p:cNvSpPr>
          <p:nvPr/>
        </p:nvSpPr>
        <p:spPr bwMode="auto">
          <a:xfrm>
            <a:off x="70668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79">
            <a:extLst>
              <a:ext uri="{FF2B5EF4-FFF2-40B4-BE49-F238E27FC236}">
                <a16:creationId xmlns:a16="http://schemas.microsoft.com/office/drawing/2014/main" id="{C48D60C8-8643-47AB-A12B-4E4A1ECB4E3D}"/>
              </a:ext>
            </a:extLst>
          </p:cNvPr>
          <p:cNvSpPr>
            <a:spLocks noEditPoints="1"/>
          </p:cNvSpPr>
          <p:nvPr/>
        </p:nvSpPr>
        <p:spPr bwMode="auto">
          <a:xfrm>
            <a:off x="70193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80">
            <a:extLst>
              <a:ext uri="{FF2B5EF4-FFF2-40B4-BE49-F238E27FC236}">
                <a16:creationId xmlns:a16="http://schemas.microsoft.com/office/drawing/2014/main" id="{2430A0EE-BF3F-4788-9F51-565C2BF8C23F}"/>
              </a:ext>
            </a:extLst>
          </p:cNvPr>
          <p:cNvSpPr>
            <a:spLocks noChangeArrowheads="1"/>
          </p:cNvSpPr>
          <p:nvPr/>
        </p:nvSpPr>
        <p:spPr bwMode="auto">
          <a:xfrm>
            <a:off x="72258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81">
            <a:extLst>
              <a:ext uri="{FF2B5EF4-FFF2-40B4-BE49-F238E27FC236}">
                <a16:creationId xmlns:a16="http://schemas.microsoft.com/office/drawing/2014/main" id="{4B1509E5-7E51-489F-8EB2-7F1CA976DF64}"/>
              </a:ext>
            </a:extLst>
          </p:cNvPr>
          <p:cNvSpPr>
            <a:spLocks/>
          </p:cNvSpPr>
          <p:nvPr/>
        </p:nvSpPr>
        <p:spPr bwMode="auto">
          <a:xfrm>
            <a:off x="58187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Line 82">
            <a:extLst>
              <a:ext uri="{FF2B5EF4-FFF2-40B4-BE49-F238E27FC236}">
                <a16:creationId xmlns:a16="http://schemas.microsoft.com/office/drawing/2014/main" id="{BB7189DE-7CA6-4D03-8D5B-97BE451C4162}"/>
              </a:ext>
            </a:extLst>
          </p:cNvPr>
          <p:cNvSpPr>
            <a:spLocks noChangeShapeType="1"/>
          </p:cNvSpPr>
          <p:nvPr/>
        </p:nvSpPr>
        <p:spPr bwMode="auto">
          <a:xfrm flipH="1">
            <a:off x="58187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83">
            <a:extLst>
              <a:ext uri="{FF2B5EF4-FFF2-40B4-BE49-F238E27FC236}">
                <a16:creationId xmlns:a16="http://schemas.microsoft.com/office/drawing/2014/main" id="{0AA23294-F586-4C34-9F0D-8FD3175B3A01}"/>
              </a:ext>
            </a:extLst>
          </p:cNvPr>
          <p:cNvSpPr>
            <a:spLocks/>
          </p:cNvSpPr>
          <p:nvPr/>
        </p:nvSpPr>
        <p:spPr bwMode="auto">
          <a:xfrm>
            <a:off x="63704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84">
            <a:extLst>
              <a:ext uri="{FF2B5EF4-FFF2-40B4-BE49-F238E27FC236}">
                <a16:creationId xmlns:a16="http://schemas.microsoft.com/office/drawing/2014/main" id="{5ABB8BBF-271C-4030-A893-4A603863296A}"/>
              </a:ext>
            </a:extLst>
          </p:cNvPr>
          <p:cNvSpPr>
            <a:spLocks/>
          </p:cNvSpPr>
          <p:nvPr/>
        </p:nvSpPr>
        <p:spPr bwMode="auto">
          <a:xfrm>
            <a:off x="63967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85">
            <a:extLst>
              <a:ext uri="{FF2B5EF4-FFF2-40B4-BE49-F238E27FC236}">
                <a16:creationId xmlns:a16="http://schemas.microsoft.com/office/drawing/2014/main" id="{7E3428AF-8A30-4419-8712-517335117386}"/>
              </a:ext>
            </a:extLst>
          </p:cNvPr>
          <p:cNvSpPr>
            <a:spLocks/>
          </p:cNvSpPr>
          <p:nvPr/>
        </p:nvSpPr>
        <p:spPr bwMode="auto">
          <a:xfrm>
            <a:off x="69231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87">
            <a:extLst>
              <a:ext uri="{FF2B5EF4-FFF2-40B4-BE49-F238E27FC236}">
                <a16:creationId xmlns:a16="http://schemas.microsoft.com/office/drawing/2014/main" id="{8CAED341-145D-41DF-A4F2-04FD928DB1CF}"/>
              </a:ext>
            </a:extLst>
          </p:cNvPr>
          <p:cNvSpPr>
            <a:spLocks/>
          </p:cNvSpPr>
          <p:nvPr/>
        </p:nvSpPr>
        <p:spPr bwMode="auto">
          <a:xfrm>
            <a:off x="69059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88">
            <a:extLst>
              <a:ext uri="{FF2B5EF4-FFF2-40B4-BE49-F238E27FC236}">
                <a16:creationId xmlns:a16="http://schemas.microsoft.com/office/drawing/2014/main" id="{56C6FEAA-39EC-4387-83E7-AF06B453401A}"/>
              </a:ext>
            </a:extLst>
          </p:cNvPr>
          <p:cNvSpPr>
            <a:spLocks/>
          </p:cNvSpPr>
          <p:nvPr/>
        </p:nvSpPr>
        <p:spPr bwMode="auto">
          <a:xfrm>
            <a:off x="69231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90">
            <a:extLst>
              <a:ext uri="{FF2B5EF4-FFF2-40B4-BE49-F238E27FC236}">
                <a16:creationId xmlns:a16="http://schemas.microsoft.com/office/drawing/2014/main" id="{A0C5FCB2-ADE3-4FD1-BA5E-F0CCB0208EB3}"/>
              </a:ext>
            </a:extLst>
          </p:cNvPr>
          <p:cNvSpPr>
            <a:spLocks/>
          </p:cNvSpPr>
          <p:nvPr/>
        </p:nvSpPr>
        <p:spPr bwMode="auto">
          <a:xfrm>
            <a:off x="69059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91">
            <a:extLst>
              <a:ext uri="{FF2B5EF4-FFF2-40B4-BE49-F238E27FC236}">
                <a16:creationId xmlns:a16="http://schemas.microsoft.com/office/drawing/2014/main" id="{B7E1EAAC-E1CB-4D0E-ACAD-655F92073C9C}"/>
              </a:ext>
            </a:extLst>
          </p:cNvPr>
          <p:cNvSpPr>
            <a:spLocks/>
          </p:cNvSpPr>
          <p:nvPr/>
        </p:nvSpPr>
        <p:spPr bwMode="auto">
          <a:xfrm>
            <a:off x="69231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Line 92">
            <a:extLst>
              <a:ext uri="{FF2B5EF4-FFF2-40B4-BE49-F238E27FC236}">
                <a16:creationId xmlns:a16="http://schemas.microsoft.com/office/drawing/2014/main" id="{98758716-922F-47CC-85E1-F500501DEB80}"/>
              </a:ext>
            </a:extLst>
          </p:cNvPr>
          <p:cNvSpPr>
            <a:spLocks noChangeShapeType="1"/>
          </p:cNvSpPr>
          <p:nvPr/>
        </p:nvSpPr>
        <p:spPr bwMode="auto">
          <a:xfrm flipV="1">
            <a:off x="69231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93">
            <a:extLst>
              <a:ext uri="{FF2B5EF4-FFF2-40B4-BE49-F238E27FC236}">
                <a16:creationId xmlns:a16="http://schemas.microsoft.com/office/drawing/2014/main" id="{701AAA5C-F0C1-4632-9017-66FF904A91F6}"/>
              </a:ext>
            </a:extLst>
          </p:cNvPr>
          <p:cNvSpPr>
            <a:spLocks/>
          </p:cNvSpPr>
          <p:nvPr/>
        </p:nvSpPr>
        <p:spPr bwMode="auto">
          <a:xfrm>
            <a:off x="69059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94">
            <a:extLst>
              <a:ext uri="{FF2B5EF4-FFF2-40B4-BE49-F238E27FC236}">
                <a16:creationId xmlns:a16="http://schemas.microsoft.com/office/drawing/2014/main" id="{A2ADFB66-780B-42FF-9327-376ECE302696}"/>
              </a:ext>
            </a:extLst>
          </p:cNvPr>
          <p:cNvSpPr>
            <a:spLocks/>
          </p:cNvSpPr>
          <p:nvPr/>
        </p:nvSpPr>
        <p:spPr bwMode="auto">
          <a:xfrm>
            <a:off x="69231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96">
            <a:extLst>
              <a:ext uri="{FF2B5EF4-FFF2-40B4-BE49-F238E27FC236}">
                <a16:creationId xmlns:a16="http://schemas.microsoft.com/office/drawing/2014/main" id="{943382C0-7935-4BAD-98BF-D83DD186EA8A}"/>
              </a:ext>
            </a:extLst>
          </p:cNvPr>
          <p:cNvSpPr>
            <a:spLocks/>
          </p:cNvSpPr>
          <p:nvPr/>
        </p:nvSpPr>
        <p:spPr bwMode="auto">
          <a:xfrm>
            <a:off x="69059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97">
            <a:extLst>
              <a:ext uri="{FF2B5EF4-FFF2-40B4-BE49-F238E27FC236}">
                <a16:creationId xmlns:a16="http://schemas.microsoft.com/office/drawing/2014/main" id="{91DB40D7-47F4-45DB-9BD5-90230099A5CB}"/>
              </a:ext>
            </a:extLst>
          </p:cNvPr>
          <p:cNvSpPr>
            <a:spLocks/>
          </p:cNvSpPr>
          <p:nvPr/>
        </p:nvSpPr>
        <p:spPr bwMode="auto">
          <a:xfrm>
            <a:off x="70648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Line 98">
            <a:extLst>
              <a:ext uri="{FF2B5EF4-FFF2-40B4-BE49-F238E27FC236}">
                <a16:creationId xmlns:a16="http://schemas.microsoft.com/office/drawing/2014/main" id="{1EE752DF-82CD-4CBD-9603-E30B304B133B}"/>
              </a:ext>
            </a:extLst>
          </p:cNvPr>
          <p:cNvSpPr>
            <a:spLocks noChangeShapeType="1"/>
          </p:cNvSpPr>
          <p:nvPr/>
        </p:nvSpPr>
        <p:spPr bwMode="auto">
          <a:xfrm flipV="1">
            <a:off x="70648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99">
            <a:extLst>
              <a:ext uri="{FF2B5EF4-FFF2-40B4-BE49-F238E27FC236}">
                <a16:creationId xmlns:a16="http://schemas.microsoft.com/office/drawing/2014/main" id="{7487AAEB-7837-4B52-9CE0-8083121312BD}"/>
              </a:ext>
            </a:extLst>
          </p:cNvPr>
          <p:cNvSpPr>
            <a:spLocks/>
          </p:cNvSpPr>
          <p:nvPr/>
        </p:nvSpPr>
        <p:spPr bwMode="auto">
          <a:xfrm>
            <a:off x="70507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00">
            <a:extLst>
              <a:ext uri="{FF2B5EF4-FFF2-40B4-BE49-F238E27FC236}">
                <a16:creationId xmlns:a16="http://schemas.microsoft.com/office/drawing/2014/main" id="{FC8D16BC-9028-419E-ADD0-D6BDA609493B}"/>
              </a:ext>
            </a:extLst>
          </p:cNvPr>
          <p:cNvSpPr>
            <a:spLocks/>
          </p:cNvSpPr>
          <p:nvPr/>
        </p:nvSpPr>
        <p:spPr bwMode="auto">
          <a:xfrm>
            <a:off x="60991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101">
            <a:extLst>
              <a:ext uri="{FF2B5EF4-FFF2-40B4-BE49-F238E27FC236}">
                <a16:creationId xmlns:a16="http://schemas.microsoft.com/office/drawing/2014/main" id="{1E16C0F1-3527-4758-AFF0-2CE07B8F3EB0}"/>
              </a:ext>
            </a:extLst>
          </p:cNvPr>
          <p:cNvSpPr>
            <a:spLocks/>
          </p:cNvSpPr>
          <p:nvPr/>
        </p:nvSpPr>
        <p:spPr bwMode="auto">
          <a:xfrm>
            <a:off x="61062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02">
            <a:extLst>
              <a:ext uri="{FF2B5EF4-FFF2-40B4-BE49-F238E27FC236}">
                <a16:creationId xmlns:a16="http://schemas.microsoft.com/office/drawing/2014/main" id="{DD7863FA-C8B6-4C18-AE68-5ACB97B83FB1}"/>
              </a:ext>
            </a:extLst>
          </p:cNvPr>
          <p:cNvSpPr>
            <a:spLocks/>
          </p:cNvSpPr>
          <p:nvPr/>
        </p:nvSpPr>
        <p:spPr bwMode="auto">
          <a:xfrm>
            <a:off x="64281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Line 103">
            <a:extLst>
              <a:ext uri="{FF2B5EF4-FFF2-40B4-BE49-F238E27FC236}">
                <a16:creationId xmlns:a16="http://schemas.microsoft.com/office/drawing/2014/main" id="{1B0595F1-A4F9-42ED-85DE-D5821C1592D5}"/>
              </a:ext>
            </a:extLst>
          </p:cNvPr>
          <p:cNvSpPr>
            <a:spLocks noChangeShapeType="1"/>
          </p:cNvSpPr>
          <p:nvPr/>
        </p:nvSpPr>
        <p:spPr bwMode="auto">
          <a:xfrm>
            <a:off x="64281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04">
            <a:extLst>
              <a:ext uri="{FF2B5EF4-FFF2-40B4-BE49-F238E27FC236}">
                <a16:creationId xmlns:a16="http://schemas.microsoft.com/office/drawing/2014/main" id="{9EEDB4ED-DF97-4E01-B213-9CD1821562EC}"/>
              </a:ext>
            </a:extLst>
          </p:cNvPr>
          <p:cNvSpPr>
            <a:spLocks/>
          </p:cNvSpPr>
          <p:nvPr/>
        </p:nvSpPr>
        <p:spPr bwMode="auto">
          <a:xfrm>
            <a:off x="64139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05">
            <a:extLst>
              <a:ext uri="{FF2B5EF4-FFF2-40B4-BE49-F238E27FC236}">
                <a16:creationId xmlns:a16="http://schemas.microsoft.com/office/drawing/2014/main" id="{586DA189-846F-42A6-A018-398E5899D998}"/>
              </a:ext>
            </a:extLst>
          </p:cNvPr>
          <p:cNvSpPr>
            <a:spLocks noEditPoints="1"/>
          </p:cNvSpPr>
          <p:nvPr/>
        </p:nvSpPr>
        <p:spPr bwMode="auto">
          <a:xfrm>
            <a:off x="64139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06">
            <a:extLst>
              <a:ext uri="{FF2B5EF4-FFF2-40B4-BE49-F238E27FC236}">
                <a16:creationId xmlns:a16="http://schemas.microsoft.com/office/drawing/2014/main" id="{6515FE9B-3332-4F48-A522-8F847134E7FC}"/>
              </a:ext>
            </a:extLst>
          </p:cNvPr>
          <p:cNvSpPr>
            <a:spLocks/>
          </p:cNvSpPr>
          <p:nvPr/>
        </p:nvSpPr>
        <p:spPr bwMode="auto">
          <a:xfrm>
            <a:off x="64139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07">
            <a:extLst>
              <a:ext uri="{FF2B5EF4-FFF2-40B4-BE49-F238E27FC236}">
                <a16:creationId xmlns:a16="http://schemas.microsoft.com/office/drawing/2014/main" id="{63FCBFBE-2CDB-4C2D-99AF-EFFC485A2889}"/>
              </a:ext>
            </a:extLst>
          </p:cNvPr>
          <p:cNvSpPr>
            <a:spLocks/>
          </p:cNvSpPr>
          <p:nvPr/>
        </p:nvSpPr>
        <p:spPr bwMode="auto">
          <a:xfrm>
            <a:off x="65030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Line 108">
            <a:extLst>
              <a:ext uri="{FF2B5EF4-FFF2-40B4-BE49-F238E27FC236}">
                <a16:creationId xmlns:a16="http://schemas.microsoft.com/office/drawing/2014/main" id="{69F5BCD8-4FF9-4E51-8818-F7EF396BCB72}"/>
              </a:ext>
            </a:extLst>
          </p:cNvPr>
          <p:cNvSpPr>
            <a:spLocks noChangeShapeType="1"/>
          </p:cNvSpPr>
          <p:nvPr/>
        </p:nvSpPr>
        <p:spPr bwMode="auto">
          <a:xfrm>
            <a:off x="65030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09">
            <a:extLst>
              <a:ext uri="{FF2B5EF4-FFF2-40B4-BE49-F238E27FC236}">
                <a16:creationId xmlns:a16="http://schemas.microsoft.com/office/drawing/2014/main" id="{04AFCAE0-69DC-4A61-8067-90916FFD0562}"/>
              </a:ext>
            </a:extLst>
          </p:cNvPr>
          <p:cNvSpPr>
            <a:spLocks/>
          </p:cNvSpPr>
          <p:nvPr/>
        </p:nvSpPr>
        <p:spPr bwMode="auto">
          <a:xfrm>
            <a:off x="64889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10">
            <a:extLst>
              <a:ext uri="{FF2B5EF4-FFF2-40B4-BE49-F238E27FC236}">
                <a16:creationId xmlns:a16="http://schemas.microsoft.com/office/drawing/2014/main" id="{35AD3660-19D5-4249-BADC-17ED698EB1D6}"/>
              </a:ext>
            </a:extLst>
          </p:cNvPr>
          <p:cNvSpPr>
            <a:spLocks noEditPoints="1"/>
          </p:cNvSpPr>
          <p:nvPr/>
        </p:nvSpPr>
        <p:spPr bwMode="auto">
          <a:xfrm>
            <a:off x="64889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1">
            <a:extLst>
              <a:ext uri="{FF2B5EF4-FFF2-40B4-BE49-F238E27FC236}">
                <a16:creationId xmlns:a16="http://schemas.microsoft.com/office/drawing/2014/main" id="{A8B643AE-8051-497E-BD9E-30C40E4BBF3B}"/>
              </a:ext>
            </a:extLst>
          </p:cNvPr>
          <p:cNvSpPr>
            <a:spLocks/>
          </p:cNvSpPr>
          <p:nvPr/>
        </p:nvSpPr>
        <p:spPr bwMode="auto">
          <a:xfrm>
            <a:off x="64889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2">
            <a:extLst>
              <a:ext uri="{FF2B5EF4-FFF2-40B4-BE49-F238E27FC236}">
                <a16:creationId xmlns:a16="http://schemas.microsoft.com/office/drawing/2014/main" id="{3D3E0BFF-92C7-4A4E-AFE3-53844B797272}"/>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3">
            <a:extLst>
              <a:ext uri="{FF2B5EF4-FFF2-40B4-BE49-F238E27FC236}">
                <a16:creationId xmlns:a16="http://schemas.microsoft.com/office/drawing/2014/main" id="{7FCCCC2A-2C86-43A5-94C2-3895E395867F}"/>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4">
            <a:extLst>
              <a:ext uri="{FF2B5EF4-FFF2-40B4-BE49-F238E27FC236}">
                <a16:creationId xmlns:a16="http://schemas.microsoft.com/office/drawing/2014/main" id="{448F3735-00E5-4CB1-9217-0E935E3D0168}"/>
              </a:ext>
            </a:extLst>
          </p:cNvPr>
          <p:cNvSpPr>
            <a:spLocks/>
          </p:cNvSpPr>
          <p:nvPr/>
        </p:nvSpPr>
        <p:spPr bwMode="auto">
          <a:xfrm>
            <a:off x="65030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15">
            <a:extLst>
              <a:ext uri="{FF2B5EF4-FFF2-40B4-BE49-F238E27FC236}">
                <a16:creationId xmlns:a16="http://schemas.microsoft.com/office/drawing/2014/main" id="{07A1CF61-F93A-4DC1-A2CD-AFC222CDE5D6}"/>
              </a:ext>
            </a:extLst>
          </p:cNvPr>
          <p:cNvSpPr>
            <a:spLocks/>
          </p:cNvSpPr>
          <p:nvPr/>
        </p:nvSpPr>
        <p:spPr bwMode="auto">
          <a:xfrm>
            <a:off x="66711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Line 116">
            <a:extLst>
              <a:ext uri="{FF2B5EF4-FFF2-40B4-BE49-F238E27FC236}">
                <a16:creationId xmlns:a16="http://schemas.microsoft.com/office/drawing/2014/main" id="{4A7C9D3E-D60C-4BEE-A928-85B9F65608BB}"/>
              </a:ext>
            </a:extLst>
          </p:cNvPr>
          <p:cNvSpPr>
            <a:spLocks noChangeShapeType="1"/>
          </p:cNvSpPr>
          <p:nvPr/>
        </p:nvSpPr>
        <p:spPr bwMode="auto">
          <a:xfrm>
            <a:off x="66711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17">
            <a:extLst>
              <a:ext uri="{FF2B5EF4-FFF2-40B4-BE49-F238E27FC236}">
                <a16:creationId xmlns:a16="http://schemas.microsoft.com/office/drawing/2014/main" id="{37F67472-064E-4004-AAA6-03653B1E09E9}"/>
              </a:ext>
            </a:extLst>
          </p:cNvPr>
          <p:cNvSpPr>
            <a:spLocks/>
          </p:cNvSpPr>
          <p:nvPr/>
        </p:nvSpPr>
        <p:spPr bwMode="auto">
          <a:xfrm>
            <a:off x="66569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18">
            <a:extLst>
              <a:ext uri="{FF2B5EF4-FFF2-40B4-BE49-F238E27FC236}">
                <a16:creationId xmlns:a16="http://schemas.microsoft.com/office/drawing/2014/main" id="{BDD5CC62-305B-4339-B5DC-F1C10826D325}"/>
              </a:ext>
            </a:extLst>
          </p:cNvPr>
          <p:cNvSpPr>
            <a:spLocks/>
          </p:cNvSpPr>
          <p:nvPr/>
        </p:nvSpPr>
        <p:spPr bwMode="auto">
          <a:xfrm>
            <a:off x="66711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Line 119">
            <a:extLst>
              <a:ext uri="{FF2B5EF4-FFF2-40B4-BE49-F238E27FC236}">
                <a16:creationId xmlns:a16="http://schemas.microsoft.com/office/drawing/2014/main" id="{828ADA32-27AB-4A32-8FFB-4F87D03B5CDE}"/>
              </a:ext>
            </a:extLst>
          </p:cNvPr>
          <p:cNvSpPr>
            <a:spLocks noChangeShapeType="1"/>
          </p:cNvSpPr>
          <p:nvPr/>
        </p:nvSpPr>
        <p:spPr bwMode="auto">
          <a:xfrm>
            <a:off x="66711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20">
            <a:extLst>
              <a:ext uri="{FF2B5EF4-FFF2-40B4-BE49-F238E27FC236}">
                <a16:creationId xmlns:a16="http://schemas.microsoft.com/office/drawing/2014/main" id="{7CDFC42A-4652-4240-8D03-E1DF95444692}"/>
              </a:ext>
            </a:extLst>
          </p:cNvPr>
          <p:cNvSpPr>
            <a:spLocks/>
          </p:cNvSpPr>
          <p:nvPr/>
        </p:nvSpPr>
        <p:spPr bwMode="auto">
          <a:xfrm>
            <a:off x="66569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21">
            <a:extLst>
              <a:ext uri="{FF2B5EF4-FFF2-40B4-BE49-F238E27FC236}">
                <a16:creationId xmlns:a16="http://schemas.microsoft.com/office/drawing/2014/main" id="{29D40E5C-6BAF-4E5C-BD6E-8FBDBC3A17A6}"/>
              </a:ext>
            </a:extLst>
          </p:cNvPr>
          <p:cNvSpPr>
            <a:spLocks/>
          </p:cNvSpPr>
          <p:nvPr/>
        </p:nvSpPr>
        <p:spPr bwMode="auto">
          <a:xfrm>
            <a:off x="66711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Line 122">
            <a:extLst>
              <a:ext uri="{FF2B5EF4-FFF2-40B4-BE49-F238E27FC236}">
                <a16:creationId xmlns:a16="http://schemas.microsoft.com/office/drawing/2014/main" id="{F1C9D73E-8811-4F3D-B9DC-A1CE6060AE8E}"/>
              </a:ext>
            </a:extLst>
          </p:cNvPr>
          <p:cNvSpPr>
            <a:spLocks noChangeShapeType="1"/>
          </p:cNvSpPr>
          <p:nvPr/>
        </p:nvSpPr>
        <p:spPr bwMode="auto">
          <a:xfrm>
            <a:off x="66711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23">
            <a:extLst>
              <a:ext uri="{FF2B5EF4-FFF2-40B4-BE49-F238E27FC236}">
                <a16:creationId xmlns:a16="http://schemas.microsoft.com/office/drawing/2014/main" id="{EEE89B26-5049-47F9-912C-757E939AAF6D}"/>
              </a:ext>
            </a:extLst>
          </p:cNvPr>
          <p:cNvSpPr>
            <a:spLocks/>
          </p:cNvSpPr>
          <p:nvPr/>
        </p:nvSpPr>
        <p:spPr bwMode="auto">
          <a:xfrm>
            <a:off x="66569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24">
            <a:extLst>
              <a:ext uri="{FF2B5EF4-FFF2-40B4-BE49-F238E27FC236}">
                <a16:creationId xmlns:a16="http://schemas.microsoft.com/office/drawing/2014/main" id="{97CA06C6-092D-4F5D-93EF-FA3C6CF73244}"/>
              </a:ext>
            </a:extLst>
          </p:cNvPr>
          <p:cNvSpPr>
            <a:spLocks/>
          </p:cNvSpPr>
          <p:nvPr/>
        </p:nvSpPr>
        <p:spPr bwMode="auto">
          <a:xfrm>
            <a:off x="66711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Line 125">
            <a:extLst>
              <a:ext uri="{FF2B5EF4-FFF2-40B4-BE49-F238E27FC236}">
                <a16:creationId xmlns:a16="http://schemas.microsoft.com/office/drawing/2014/main" id="{6E624F09-6E3E-49D2-85A4-D3DDDA2AF6F6}"/>
              </a:ext>
            </a:extLst>
          </p:cNvPr>
          <p:cNvSpPr>
            <a:spLocks noChangeShapeType="1"/>
          </p:cNvSpPr>
          <p:nvPr/>
        </p:nvSpPr>
        <p:spPr bwMode="auto">
          <a:xfrm>
            <a:off x="66711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26">
            <a:extLst>
              <a:ext uri="{FF2B5EF4-FFF2-40B4-BE49-F238E27FC236}">
                <a16:creationId xmlns:a16="http://schemas.microsoft.com/office/drawing/2014/main" id="{6702ED48-B0AC-4AF5-906C-B7DA5175EAF0}"/>
              </a:ext>
            </a:extLst>
          </p:cNvPr>
          <p:cNvSpPr>
            <a:spLocks/>
          </p:cNvSpPr>
          <p:nvPr/>
        </p:nvSpPr>
        <p:spPr bwMode="auto">
          <a:xfrm>
            <a:off x="66569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27">
            <a:extLst>
              <a:ext uri="{FF2B5EF4-FFF2-40B4-BE49-F238E27FC236}">
                <a16:creationId xmlns:a16="http://schemas.microsoft.com/office/drawing/2014/main" id="{5D547806-A907-4EE1-BD69-32DA35883278}"/>
              </a:ext>
            </a:extLst>
          </p:cNvPr>
          <p:cNvSpPr>
            <a:spLocks/>
          </p:cNvSpPr>
          <p:nvPr/>
        </p:nvSpPr>
        <p:spPr bwMode="auto">
          <a:xfrm>
            <a:off x="65941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Line 128">
            <a:extLst>
              <a:ext uri="{FF2B5EF4-FFF2-40B4-BE49-F238E27FC236}">
                <a16:creationId xmlns:a16="http://schemas.microsoft.com/office/drawing/2014/main" id="{375C41C1-26CC-436E-95BC-314151503643}"/>
              </a:ext>
            </a:extLst>
          </p:cNvPr>
          <p:cNvSpPr>
            <a:spLocks noChangeShapeType="1"/>
          </p:cNvSpPr>
          <p:nvPr/>
        </p:nvSpPr>
        <p:spPr bwMode="auto">
          <a:xfrm flipH="1">
            <a:off x="65941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29">
            <a:extLst>
              <a:ext uri="{FF2B5EF4-FFF2-40B4-BE49-F238E27FC236}">
                <a16:creationId xmlns:a16="http://schemas.microsoft.com/office/drawing/2014/main" id="{26DF7296-9273-4FD6-873B-C674E2039A18}"/>
              </a:ext>
            </a:extLst>
          </p:cNvPr>
          <p:cNvSpPr>
            <a:spLocks/>
          </p:cNvSpPr>
          <p:nvPr/>
        </p:nvSpPr>
        <p:spPr bwMode="auto">
          <a:xfrm>
            <a:off x="65800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0">
            <a:extLst>
              <a:ext uri="{FF2B5EF4-FFF2-40B4-BE49-F238E27FC236}">
                <a16:creationId xmlns:a16="http://schemas.microsoft.com/office/drawing/2014/main" id="{0BF50A63-9929-4B37-B626-7653F298DB61}"/>
              </a:ext>
            </a:extLst>
          </p:cNvPr>
          <p:cNvSpPr>
            <a:spLocks/>
          </p:cNvSpPr>
          <p:nvPr/>
        </p:nvSpPr>
        <p:spPr bwMode="auto">
          <a:xfrm>
            <a:off x="65941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Line 131">
            <a:extLst>
              <a:ext uri="{FF2B5EF4-FFF2-40B4-BE49-F238E27FC236}">
                <a16:creationId xmlns:a16="http://schemas.microsoft.com/office/drawing/2014/main" id="{31B2705E-526A-40A3-80FA-568DF6252626}"/>
              </a:ext>
            </a:extLst>
          </p:cNvPr>
          <p:cNvSpPr>
            <a:spLocks noChangeShapeType="1"/>
          </p:cNvSpPr>
          <p:nvPr/>
        </p:nvSpPr>
        <p:spPr bwMode="auto">
          <a:xfrm flipH="1">
            <a:off x="65941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2">
            <a:extLst>
              <a:ext uri="{FF2B5EF4-FFF2-40B4-BE49-F238E27FC236}">
                <a16:creationId xmlns:a16="http://schemas.microsoft.com/office/drawing/2014/main" id="{B2D2A2FE-93BC-4C77-B130-44A4FB744C68}"/>
              </a:ext>
            </a:extLst>
          </p:cNvPr>
          <p:cNvSpPr>
            <a:spLocks/>
          </p:cNvSpPr>
          <p:nvPr/>
        </p:nvSpPr>
        <p:spPr bwMode="auto">
          <a:xfrm>
            <a:off x="65800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3">
            <a:extLst>
              <a:ext uri="{FF2B5EF4-FFF2-40B4-BE49-F238E27FC236}">
                <a16:creationId xmlns:a16="http://schemas.microsoft.com/office/drawing/2014/main" id="{834DD598-1FEF-40C7-A97A-B8B32901FE14}"/>
              </a:ext>
            </a:extLst>
          </p:cNvPr>
          <p:cNvSpPr>
            <a:spLocks/>
          </p:cNvSpPr>
          <p:nvPr/>
        </p:nvSpPr>
        <p:spPr bwMode="auto">
          <a:xfrm>
            <a:off x="65941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Line 134">
            <a:extLst>
              <a:ext uri="{FF2B5EF4-FFF2-40B4-BE49-F238E27FC236}">
                <a16:creationId xmlns:a16="http://schemas.microsoft.com/office/drawing/2014/main" id="{46E0AFF3-2C56-4668-87B7-46B5501F0802}"/>
              </a:ext>
            </a:extLst>
          </p:cNvPr>
          <p:cNvSpPr>
            <a:spLocks noChangeShapeType="1"/>
          </p:cNvSpPr>
          <p:nvPr/>
        </p:nvSpPr>
        <p:spPr bwMode="auto">
          <a:xfrm flipH="1">
            <a:off x="65941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
            <a:extLst>
              <a:ext uri="{FF2B5EF4-FFF2-40B4-BE49-F238E27FC236}">
                <a16:creationId xmlns:a16="http://schemas.microsoft.com/office/drawing/2014/main" id="{AB997A49-2BD9-40FD-9896-B36DF4C9FD4B}"/>
              </a:ext>
            </a:extLst>
          </p:cNvPr>
          <p:cNvSpPr>
            <a:spLocks/>
          </p:cNvSpPr>
          <p:nvPr/>
        </p:nvSpPr>
        <p:spPr bwMode="auto">
          <a:xfrm>
            <a:off x="65800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6">
            <a:extLst>
              <a:ext uri="{FF2B5EF4-FFF2-40B4-BE49-F238E27FC236}">
                <a16:creationId xmlns:a16="http://schemas.microsoft.com/office/drawing/2014/main" id="{651B1C68-7979-409C-BA25-062E62C86AEB}"/>
              </a:ext>
            </a:extLst>
          </p:cNvPr>
          <p:cNvSpPr>
            <a:spLocks/>
          </p:cNvSpPr>
          <p:nvPr/>
        </p:nvSpPr>
        <p:spPr bwMode="auto">
          <a:xfrm>
            <a:off x="65941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Line 137">
            <a:extLst>
              <a:ext uri="{FF2B5EF4-FFF2-40B4-BE49-F238E27FC236}">
                <a16:creationId xmlns:a16="http://schemas.microsoft.com/office/drawing/2014/main" id="{047DA9AB-B696-44F4-A16F-4F589B423997}"/>
              </a:ext>
            </a:extLst>
          </p:cNvPr>
          <p:cNvSpPr>
            <a:spLocks noChangeShapeType="1"/>
          </p:cNvSpPr>
          <p:nvPr/>
        </p:nvSpPr>
        <p:spPr bwMode="auto">
          <a:xfrm flipH="1">
            <a:off x="65941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8">
            <a:extLst>
              <a:ext uri="{FF2B5EF4-FFF2-40B4-BE49-F238E27FC236}">
                <a16:creationId xmlns:a16="http://schemas.microsoft.com/office/drawing/2014/main" id="{7264C2EE-4438-47A6-A740-3E9614286A54}"/>
              </a:ext>
            </a:extLst>
          </p:cNvPr>
          <p:cNvSpPr>
            <a:spLocks/>
          </p:cNvSpPr>
          <p:nvPr/>
        </p:nvSpPr>
        <p:spPr bwMode="auto">
          <a:xfrm>
            <a:off x="65800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9">
            <a:extLst>
              <a:ext uri="{FF2B5EF4-FFF2-40B4-BE49-F238E27FC236}">
                <a16:creationId xmlns:a16="http://schemas.microsoft.com/office/drawing/2014/main" id="{3B9F0B90-C3D3-4595-AF4B-B1122D7D3A29}"/>
              </a:ext>
            </a:extLst>
          </p:cNvPr>
          <p:cNvSpPr>
            <a:spLocks/>
          </p:cNvSpPr>
          <p:nvPr/>
        </p:nvSpPr>
        <p:spPr bwMode="auto">
          <a:xfrm>
            <a:off x="70172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40">
            <a:extLst>
              <a:ext uri="{FF2B5EF4-FFF2-40B4-BE49-F238E27FC236}">
                <a16:creationId xmlns:a16="http://schemas.microsoft.com/office/drawing/2014/main" id="{DC52748C-2AAA-437E-A4AD-DC3154841E45}"/>
              </a:ext>
            </a:extLst>
          </p:cNvPr>
          <p:cNvSpPr>
            <a:spLocks/>
          </p:cNvSpPr>
          <p:nvPr/>
        </p:nvSpPr>
        <p:spPr bwMode="auto">
          <a:xfrm>
            <a:off x="70021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41">
            <a:extLst>
              <a:ext uri="{FF2B5EF4-FFF2-40B4-BE49-F238E27FC236}">
                <a16:creationId xmlns:a16="http://schemas.microsoft.com/office/drawing/2014/main" id="{CE9FE345-6C6E-4AAA-BB52-FD2314A39A75}"/>
              </a:ext>
            </a:extLst>
          </p:cNvPr>
          <p:cNvSpPr>
            <a:spLocks/>
          </p:cNvSpPr>
          <p:nvPr/>
        </p:nvSpPr>
        <p:spPr bwMode="auto">
          <a:xfrm>
            <a:off x="69302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42">
            <a:extLst>
              <a:ext uri="{FF2B5EF4-FFF2-40B4-BE49-F238E27FC236}">
                <a16:creationId xmlns:a16="http://schemas.microsoft.com/office/drawing/2014/main" id="{81CCEBA6-B1BA-4206-99D3-B2BFA916E4A7}"/>
              </a:ext>
            </a:extLst>
          </p:cNvPr>
          <p:cNvSpPr>
            <a:spLocks/>
          </p:cNvSpPr>
          <p:nvPr/>
        </p:nvSpPr>
        <p:spPr bwMode="auto">
          <a:xfrm>
            <a:off x="69160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43">
            <a:extLst>
              <a:ext uri="{FF2B5EF4-FFF2-40B4-BE49-F238E27FC236}">
                <a16:creationId xmlns:a16="http://schemas.microsoft.com/office/drawing/2014/main" id="{287C104C-8301-47EA-9AF8-C02E0242238D}"/>
              </a:ext>
            </a:extLst>
          </p:cNvPr>
          <p:cNvSpPr>
            <a:spLocks/>
          </p:cNvSpPr>
          <p:nvPr/>
        </p:nvSpPr>
        <p:spPr bwMode="auto">
          <a:xfrm>
            <a:off x="71367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44">
            <a:extLst>
              <a:ext uri="{FF2B5EF4-FFF2-40B4-BE49-F238E27FC236}">
                <a16:creationId xmlns:a16="http://schemas.microsoft.com/office/drawing/2014/main" id="{55218925-7E6E-4829-8E4C-69599F98DE01}"/>
              </a:ext>
            </a:extLst>
          </p:cNvPr>
          <p:cNvSpPr>
            <a:spLocks/>
          </p:cNvSpPr>
          <p:nvPr/>
        </p:nvSpPr>
        <p:spPr bwMode="auto">
          <a:xfrm>
            <a:off x="71225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45">
            <a:extLst>
              <a:ext uri="{FF2B5EF4-FFF2-40B4-BE49-F238E27FC236}">
                <a16:creationId xmlns:a16="http://schemas.microsoft.com/office/drawing/2014/main" id="{06A0F581-E8F5-410E-A35C-7DB138F942BB}"/>
              </a:ext>
            </a:extLst>
          </p:cNvPr>
          <p:cNvSpPr>
            <a:spLocks/>
          </p:cNvSpPr>
          <p:nvPr/>
        </p:nvSpPr>
        <p:spPr bwMode="auto">
          <a:xfrm>
            <a:off x="43986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146">
            <a:extLst>
              <a:ext uri="{FF2B5EF4-FFF2-40B4-BE49-F238E27FC236}">
                <a16:creationId xmlns:a16="http://schemas.microsoft.com/office/drawing/2014/main" id="{2AB32569-38D6-4638-960A-F6E86A219DA7}"/>
              </a:ext>
            </a:extLst>
          </p:cNvPr>
          <p:cNvSpPr>
            <a:spLocks/>
          </p:cNvSpPr>
          <p:nvPr/>
        </p:nvSpPr>
        <p:spPr bwMode="auto">
          <a:xfrm>
            <a:off x="51820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3" name="Freeform 147">
            <a:extLst>
              <a:ext uri="{FF2B5EF4-FFF2-40B4-BE49-F238E27FC236}">
                <a16:creationId xmlns:a16="http://schemas.microsoft.com/office/drawing/2014/main" id="{F8E1D9F4-A27E-4F87-BA37-199D8C962531}"/>
              </a:ext>
            </a:extLst>
          </p:cNvPr>
          <p:cNvSpPr>
            <a:spLocks/>
          </p:cNvSpPr>
          <p:nvPr/>
        </p:nvSpPr>
        <p:spPr bwMode="auto">
          <a:xfrm>
            <a:off x="51770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Freeform 148">
            <a:extLst>
              <a:ext uri="{FF2B5EF4-FFF2-40B4-BE49-F238E27FC236}">
                <a16:creationId xmlns:a16="http://schemas.microsoft.com/office/drawing/2014/main" id="{FF89F0EE-85D5-48BA-8136-28906807045C}"/>
              </a:ext>
            </a:extLst>
          </p:cNvPr>
          <p:cNvSpPr>
            <a:spLocks/>
          </p:cNvSpPr>
          <p:nvPr/>
        </p:nvSpPr>
        <p:spPr bwMode="auto">
          <a:xfrm>
            <a:off x="43581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5" name="Freeform 149">
            <a:extLst>
              <a:ext uri="{FF2B5EF4-FFF2-40B4-BE49-F238E27FC236}">
                <a16:creationId xmlns:a16="http://schemas.microsoft.com/office/drawing/2014/main" id="{A8BDBF4D-45B4-4DED-A2DC-390B793B1B1B}"/>
              </a:ext>
            </a:extLst>
          </p:cNvPr>
          <p:cNvSpPr>
            <a:spLocks/>
          </p:cNvSpPr>
          <p:nvPr/>
        </p:nvSpPr>
        <p:spPr bwMode="auto">
          <a:xfrm>
            <a:off x="43561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6" name="Freeform 150">
            <a:extLst>
              <a:ext uri="{FF2B5EF4-FFF2-40B4-BE49-F238E27FC236}">
                <a16:creationId xmlns:a16="http://schemas.microsoft.com/office/drawing/2014/main" id="{B1DA25E7-67FA-475F-82AE-E9CE7EFEE88D}"/>
              </a:ext>
            </a:extLst>
          </p:cNvPr>
          <p:cNvSpPr>
            <a:spLocks noEditPoints="1"/>
          </p:cNvSpPr>
          <p:nvPr/>
        </p:nvSpPr>
        <p:spPr bwMode="auto">
          <a:xfrm>
            <a:off x="82441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7" name="Freeform 151">
            <a:extLst>
              <a:ext uri="{FF2B5EF4-FFF2-40B4-BE49-F238E27FC236}">
                <a16:creationId xmlns:a16="http://schemas.microsoft.com/office/drawing/2014/main" id="{4A7E2240-B13D-46AB-9FB6-54D8011957B9}"/>
              </a:ext>
            </a:extLst>
          </p:cNvPr>
          <p:cNvSpPr>
            <a:spLocks/>
          </p:cNvSpPr>
          <p:nvPr/>
        </p:nvSpPr>
        <p:spPr bwMode="auto">
          <a:xfrm>
            <a:off x="90245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8" name="Freeform 152">
            <a:extLst>
              <a:ext uri="{FF2B5EF4-FFF2-40B4-BE49-F238E27FC236}">
                <a16:creationId xmlns:a16="http://schemas.microsoft.com/office/drawing/2014/main" id="{FF5150B8-DDD3-44BE-A810-9CF78EA2FA87}"/>
              </a:ext>
            </a:extLst>
          </p:cNvPr>
          <p:cNvSpPr>
            <a:spLocks/>
          </p:cNvSpPr>
          <p:nvPr/>
        </p:nvSpPr>
        <p:spPr bwMode="auto">
          <a:xfrm>
            <a:off x="90245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9" name="Freeform 153">
            <a:extLst>
              <a:ext uri="{FF2B5EF4-FFF2-40B4-BE49-F238E27FC236}">
                <a16:creationId xmlns:a16="http://schemas.microsoft.com/office/drawing/2014/main" id="{DCF3B31B-FF53-45E6-A4A6-7376A88288C0}"/>
              </a:ext>
            </a:extLst>
          </p:cNvPr>
          <p:cNvSpPr>
            <a:spLocks/>
          </p:cNvSpPr>
          <p:nvPr/>
        </p:nvSpPr>
        <p:spPr bwMode="auto">
          <a:xfrm>
            <a:off x="81287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0" name="Freeform 154">
            <a:extLst>
              <a:ext uri="{FF2B5EF4-FFF2-40B4-BE49-F238E27FC236}">
                <a16:creationId xmlns:a16="http://schemas.microsoft.com/office/drawing/2014/main" id="{0491595C-B726-4BB5-AF81-FE1DF764C74E}"/>
              </a:ext>
            </a:extLst>
          </p:cNvPr>
          <p:cNvSpPr>
            <a:spLocks/>
          </p:cNvSpPr>
          <p:nvPr/>
        </p:nvSpPr>
        <p:spPr bwMode="auto">
          <a:xfrm>
            <a:off x="81287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1" name="Freeform 155">
            <a:extLst>
              <a:ext uri="{FF2B5EF4-FFF2-40B4-BE49-F238E27FC236}">
                <a16:creationId xmlns:a16="http://schemas.microsoft.com/office/drawing/2014/main" id="{DD5CCCC6-96FE-46F6-9CAB-F180A4D8511F}"/>
              </a:ext>
            </a:extLst>
          </p:cNvPr>
          <p:cNvSpPr>
            <a:spLocks/>
          </p:cNvSpPr>
          <p:nvPr/>
        </p:nvSpPr>
        <p:spPr bwMode="auto">
          <a:xfrm>
            <a:off x="96876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2" name="Freeform 156">
            <a:extLst>
              <a:ext uri="{FF2B5EF4-FFF2-40B4-BE49-F238E27FC236}">
                <a16:creationId xmlns:a16="http://schemas.microsoft.com/office/drawing/2014/main" id="{3806B36E-DB18-412F-A0E3-12C29BE4C7AB}"/>
              </a:ext>
            </a:extLst>
          </p:cNvPr>
          <p:cNvSpPr>
            <a:spLocks/>
          </p:cNvSpPr>
          <p:nvPr/>
        </p:nvSpPr>
        <p:spPr bwMode="auto">
          <a:xfrm>
            <a:off x="96825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3" name="Freeform 157">
            <a:extLst>
              <a:ext uri="{FF2B5EF4-FFF2-40B4-BE49-F238E27FC236}">
                <a16:creationId xmlns:a16="http://schemas.microsoft.com/office/drawing/2014/main" id="{B0309D2D-E345-437E-8577-CCF45C5C1163}"/>
              </a:ext>
            </a:extLst>
          </p:cNvPr>
          <p:cNvSpPr>
            <a:spLocks/>
          </p:cNvSpPr>
          <p:nvPr/>
        </p:nvSpPr>
        <p:spPr bwMode="auto">
          <a:xfrm>
            <a:off x="46658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4" name="Freeform 158">
            <a:extLst>
              <a:ext uri="{FF2B5EF4-FFF2-40B4-BE49-F238E27FC236}">
                <a16:creationId xmlns:a16="http://schemas.microsoft.com/office/drawing/2014/main" id="{72E9F13A-5785-4C08-81FA-61CEF1B1A465}"/>
              </a:ext>
            </a:extLst>
          </p:cNvPr>
          <p:cNvSpPr>
            <a:spLocks/>
          </p:cNvSpPr>
          <p:nvPr/>
        </p:nvSpPr>
        <p:spPr bwMode="auto">
          <a:xfrm>
            <a:off x="46658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5" name="Rectangle 159">
            <a:extLst>
              <a:ext uri="{FF2B5EF4-FFF2-40B4-BE49-F238E27FC236}">
                <a16:creationId xmlns:a16="http://schemas.microsoft.com/office/drawing/2014/main" id="{BDA8E986-2472-49CE-9573-16A40078069E}"/>
              </a:ext>
            </a:extLst>
          </p:cNvPr>
          <p:cNvSpPr>
            <a:spLocks noChangeArrowheads="1"/>
          </p:cNvSpPr>
          <p:nvPr/>
        </p:nvSpPr>
        <p:spPr bwMode="auto">
          <a:xfrm>
            <a:off x="10096548" y="3257057"/>
            <a:ext cx="547625" cy="310860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160">
            <a:extLst>
              <a:ext uri="{FF2B5EF4-FFF2-40B4-BE49-F238E27FC236}">
                <a16:creationId xmlns:a16="http://schemas.microsoft.com/office/drawing/2014/main" id="{C9F6E9C3-3AEB-4647-9BD9-ADF2BE0C040E}"/>
              </a:ext>
            </a:extLst>
          </p:cNvPr>
          <p:cNvSpPr>
            <a:spLocks noEditPoints="1"/>
          </p:cNvSpPr>
          <p:nvPr/>
        </p:nvSpPr>
        <p:spPr bwMode="auto">
          <a:xfrm>
            <a:off x="100813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61">
            <a:extLst>
              <a:ext uri="{FF2B5EF4-FFF2-40B4-BE49-F238E27FC236}">
                <a16:creationId xmlns:a16="http://schemas.microsoft.com/office/drawing/2014/main" id="{C2495B20-5E70-481E-9296-AAF12722052F}"/>
              </a:ext>
            </a:extLst>
          </p:cNvPr>
          <p:cNvSpPr>
            <a:spLocks/>
          </p:cNvSpPr>
          <p:nvPr/>
        </p:nvSpPr>
        <p:spPr bwMode="auto">
          <a:xfrm>
            <a:off x="104326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62">
            <a:extLst>
              <a:ext uri="{FF2B5EF4-FFF2-40B4-BE49-F238E27FC236}">
                <a16:creationId xmlns:a16="http://schemas.microsoft.com/office/drawing/2014/main" id="{B1BD2614-DB13-4219-A820-CA1385331BDF}"/>
              </a:ext>
            </a:extLst>
          </p:cNvPr>
          <p:cNvSpPr>
            <a:spLocks/>
          </p:cNvSpPr>
          <p:nvPr/>
        </p:nvSpPr>
        <p:spPr bwMode="auto">
          <a:xfrm>
            <a:off x="101370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63">
            <a:extLst>
              <a:ext uri="{FF2B5EF4-FFF2-40B4-BE49-F238E27FC236}">
                <a16:creationId xmlns:a16="http://schemas.microsoft.com/office/drawing/2014/main" id="{25B9BAF9-460B-435E-B251-DC49CB6F2710}"/>
              </a:ext>
            </a:extLst>
          </p:cNvPr>
          <p:cNvSpPr>
            <a:spLocks/>
          </p:cNvSpPr>
          <p:nvPr/>
        </p:nvSpPr>
        <p:spPr bwMode="auto">
          <a:xfrm>
            <a:off x="102230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64">
            <a:extLst>
              <a:ext uri="{FF2B5EF4-FFF2-40B4-BE49-F238E27FC236}">
                <a16:creationId xmlns:a16="http://schemas.microsoft.com/office/drawing/2014/main" id="{C5536458-1D3A-4D74-8264-045764602B51}"/>
              </a:ext>
            </a:extLst>
          </p:cNvPr>
          <p:cNvSpPr>
            <a:spLocks/>
          </p:cNvSpPr>
          <p:nvPr/>
        </p:nvSpPr>
        <p:spPr bwMode="auto">
          <a:xfrm>
            <a:off x="101319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65">
            <a:extLst>
              <a:ext uri="{FF2B5EF4-FFF2-40B4-BE49-F238E27FC236}">
                <a16:creationId xmlns:a16="http://schemas.microsoft.com/office/drawing/2014/main" id="{A7F18A14-F8DF-4E9F-8F8D-31FE1F453309}"/>
              </a:ext>
            </a:extLst>
          </p:cNvPr>
          <p:cNvSpPr>
            <a:spLocks/>
          </p:cNvSpPr>
          <p:nvPr/>
        </p:nvSpPr>
        <p:spPr bwMode="auto">
          <a:xfrm>
            <a:off x="101319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6">
            <a:extLst>
              <a:ext uri="{FF2B5EF4-FFF2-40B4-BE49-F238E27FC236}">
                <a16:creationId xmlns:a16="http://schemas.microsoft.com/office/drawing/2014/main" id="{D63206ED-7C15-417A-BA86-FE2E69C0E9DF}"/>
              </a:ext>
            </a:extLst>
          </p:cNvPr>
          <p:cNvSpPr>
            <a:spLocks/>
          </p:cNvSpPr>
          <p:nvPr/>
        </p:nvSpPr>
        <p:spPr bwMode="auto">
          <a:xfrm>
            <a:off x="101319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67">
            <a:extLst>
              <a:ext uri="{FF2B5EF4-FFF2-40B4-BE49-F238E27FC236}">
                <a16:creationId xmlns:a16="http://schemas.microsoft.com/office/drawing/2014/main" id="{8A6E66BD-0275-499A-8297-37CA0157085D}"/>
              </a:ext>
            </a:extLst>
          </p:cNvPr>
          <p:cNvSpPr>
            <a:spLocks/>
          </p:cNvSpPr>
          <p:nvPr/>
        </p:nvSpPr>
        <p:spPr bwMode="auto">
          <a:xfrm>
            <a:off x="101319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68">
            <a:extLst>
              <a:ext uri="{FF2B5EF4-FFF2-40B4-BE49-F238E27FC236}">
                <a16:creationId xmlns:a16="http://schemas.microsoft.com/office/drawing/2014/main" id="{62075B0E-7430-4D15-AB16-DE62B56E3486}"/>
              </a:ext>
            </a:extLst>
          </p:cNvPr>
          <p:cNvSpPr>
            <a:spLocks/>
          </p:cNvSpPr>
          <p:nvPr/>
        </p:nvSpPr>
        <p:spPr bwMode="auto">
          <a:xfrm>
            <a:off x="101319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69">
            <a:extLst>
              <a:ext uri="{FF2B5EF4-FFF2-40B4-BE49-F238E27FC236}">
                <a16:creationId xmlns:a16="http://schemas.microsoft.com/office/drawing/2014/main" id="{80023F5E-01C0-45FF-9E0F-64499FCFD996}"/>
              </a:ext>
            </a:extLst>
          </p:cNvPr>
          <p:cNvSpPr>
            <a:spLocks/>
          </p:cNvSpPr>
          <p:nvPr/>
        </p:nvSpPr>
        <p:spPr bwMode="auto">
          <a:xfrm>
            <a:off x="101319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0">
            <a:extLst>
              <a:ext uri="{FF2B5EF4-FFF2-40B4-BE49-F238E27FC236}">
                <a16:creationId xmlns:a16="http://schemas.microsoft.com/office/drawing/2014/main" id="{1B34D493-3B72-4B78-BEEC-7FFAE450F73B}"/>
              </a:ext>
            </a:extLst>
          </p:cNvPr>
          <p:cNvSpPr>
            <a:spLocks/>
          </p:cNvSpPr>
          <p:nvPr/>
        </p:nvSpPr>
        <p:spPr bwMode="auto">
          <a:xfrm>
            <a:off x="101319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1">
            <a:extLst>
              <a:ext uri="{FF2B5EF4-FFF2-40B4-BE49-F238E27FC236}">
                <a16:creationId xmlns:a16="http://schemas.microsoft.com/office/drawing/2014/main" id="{5F18B045-28F3-4F6C-A1E5-56030C81129A}"/>
              </a:ext>
            </a:extLst>
          </p:cNvPr>
          <p:cNvSpPr>
            <a:spLocks/>
          </p:cNvSpPr>
          <p:nvPr/>
        </p:nvSpPr>
        <p:spPr bwMode="auto">
          <a:xfrm>
            <a:off x="101319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2">
            <a:extLst>
              <a:ext uri="{FF2B5EF4-FFF2-40B4-BE49-F238E27FC236}">
                <a16:creationId xmlns:a16="http://schemas.microsoft.com/office/drawing/2014/main" id="{731BDFBE-6877-4D7C-A2AA-8DBD6F26C34C}"/>
              </a:ext>
            </a:extLst>
          </p:cNvPr>
          <p:cNvSpPr>
            <a:spLocks/>
          </p:cNvSpPr>
          <p:nvPr/>
        </p:nvSpPr>
        <p:spPr bwMode="auto">
          <a:xfrm>
            <a:off x="101319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3">
            <a:extLst>
              <a:ext uri="{FF2B5EF4-FFF2-40B4-BE49-F238E27FC236}">
                <a16:creationId xmlns:a16="http://schemas.microsoft.com/office/drawing/2014/main" id="{2D455E27-320F-4D79-9771-DEEA503E04B4}"/>
              </a:ext>
            </a:extLst>
          </p:cNvPr>
          <p:cNvSpPr>
            <a:spLocks/>
          </p:cNvSpPr>
          <p:nvPr/>
        </p:nvSpPr>
        <p:spPr bwMode="auto">
          <a:xfrm>
            <a:off x="101319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74">
            <a:extLst>
              <a:ext uri="{FF2B5EF4-FFF2-40B4-BE49-F238E27FC236}">
                <a16:creationId xmlns:a16="http://schemas.microsoft.com/office/drawing/2014/main" id="{E7663353-0B3F-44EB-9A17-017CCEBDD14D}"/>
              </a:ext>
            </a:extLst>
          </p:cNvPr>
          <p:cNvSpPr>
            <a:spLocks/>
          </p:cNvSpPr>
          <p:nvPr/>
        </p:nvSpPr>
        <p:spPr bwMode="auto">
          <a:xfrm>
            <a:off x="101319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75">
            <a:extLst>
              <a:ext uri="{FF2B5EF4-FFF2-40B4-BE49-F238E27FC236}">
                <a16:creationId xmlns:a16="http://schemas.microsoft.com/office/drawing/2014/main" id="{A3B8FC78-4B09-4226-8F9D-D14DC8AD4DB1}"/>
              </a:ext>
            </a:extLst>
          </p:cNvPr>
          <p:cNvSpPr>
            <a:spLocks/>
          </p:cNvSpPr>
          <p:nvPr/>
        </p:nvSpPr>
        <p:spPr bwMode="auto">
          <a:xfrm>
            <a:off x="101319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76">
            <a:extLst>
              <a:ext uri="{FF2B5EF4-FFF2-40B4-BE49-F238E27FC236}">
                <a16:creationId xmlns:a16="http://schemas.microsoft.com/office/drawing/2014/main" id="{C22F7B81-DEE1-427C-9E53-2A1CBC5EF7AA}"/>
              </a:ext>
            </a:extLst>
          </p:cNvPr>
          <p:cNvSpPr>
            <a:spLocks/>
          </p:cNvSpPr>
          <p:nvPr/>
        </p:nvSpPr>
        <p:spPr bwMode="auto">
          <a:xfrm>
            <a:off x="101319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77">
            <a:extLst>
              <a:ext uri="{FF2B5EF4-FFF2-40B4-BE49-F238E27FC236}">
                <a16:creationId xmlns:a16="http://schemas.microsoft.com/office/drawing/2014/main" id="{64E5EC38-3F63-4439-9B02-642DB1329758}"/>
              </a:ext>
            </a:extLst>
          </p:cNvPr>
          <p:cNvSpPr>
            <a:spLocks/>
          </p:cNvSpPr>
          <p:nvPr/>
        </p:nvSpPr>
        <p:spPr bwMode="auto">
          <a:xfrm>
            <a:off x="101319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78">
            <a:extLst>
              <a:ext uri="{FF2B5EF4-FFF2-40B4-BE49-F238E27FC236}">
                <a16:creationId xmlns:a16="http://schemas.microsoft.com/office/drawing/2014/main" id="{5A45B69E-9E04-4DC5-9A08-D953F665421F}"/>
              </a:ext>
            </a:extLst>
          </p:cNvPr>
          <p:cNvSpPr>
            <a:spLocks/>
          </p:cNvSpPr>
          <p:nvPr/>
        </p:nvSpPr>
        <p:spPr bwMode="auto">
          <a:xfrm>
            <a:off x="101319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79">
            <a:extLst>
              <a:ext uri="{FF2B5EF4-FFF2-40B4-BE49-F238E27FC236}">
                <a16:creationId xmlns:a16="http://schemas.microsoft.com/office/drawing/2014/main" id="{A5C1D901-C43A-4CDE-A4E2-421091A83135}"/>
              </a:ext>
            </a:extLst>
          </p:cNvPr>
          <p:cNvSpPr>
            <a:spLocks/>
          </p:cNvSpPr>
          <p:nvPr/>
        </p:nvSpPr>
        <p:spPr bwMode="auto">
          <a:xfrm>
            <a:off x="101319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80">
            <a:extLst>
              <a:ext uri="{FF2B5EF4-FFF2-40B4-BE49-F238E27FC236}">
                <a16:creationId xmlns:a16="http://schemas.microsoft.com/office/drawing/2014/main" id="{F38DAA20-0ECE-465B-8C34-B9C1ECDEFB77}"/>
              </a:ext>
            </a:extLst>
          </p:cNvPr>
          <p:cNvSpPr>
            <a:spLocks/>
          </p:cNvSpPr>
          <p:nvPr/>
        </p:nvSpPr>
        <p:spPr bwMode="auto">
          <a:xfrm>
            <a:off x="101319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81">
            <a:extLst>
              <a:ext uri="{FF2B5EF4-FFF2-40B4-BE49-F238E27FC236}">
                <a16:creationId xmlns:a16="http://schemas.microsoft.com/office/drawing/2014/main" id="{7DD18037-CA56-49E9-B2E4-AD98C6C7E825}"/>
              </a:ext>
            </a:extLst>
          </p:cNvPr>
          <p:cNvSpPr>
            <a:spLocks/>
          </p:cNvSpPr>
          <p:nvPr/>
        </p:nvSpPr>
        <p:spPr bwMode="auto">
          <a:xfrm>
            <a:off x="101319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82">
            <a:extLst>
              <a:ext uri="{FF2B5EF4-FFF2-40B4-BE49-F238E27FC236}">
                <a16:creationId xmlns:a16="http://schemas.microsoft.com/office/drawing/2014/main" id="{321941B1-0EE9-4B52-AE96-1DFBEE78729D}"/>
              </a:ext>
            </a:extLst>
          </p:cNvPr>
          <p:cNvSpPr>
            <a:spLocks/>
          </p:cNvSpPr>
          <p:nvPr/>
        </p:nvSpPr>
        <p:spPr bwMode="auto">
          <a:xfrm>
            <a:off x="101319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83">
            <a:extLst>
              <a:ext uri="{FF2B5EF4-FFF2-40B4-BE49-F238E27FC236}">
                <a16:creationId xmlns:a16="http://schemas.microsoft.com/office/drawing/2014/main" id="{03C40B68-16DB-4156-98E2-AB54530CF94F}"/>
              </a:ext>
            </a:extLst>
          </p:cNvPr>
          <p:cNvSpPr>
            <a:spLocks/>
          </p:cNvSpPr>
          <p:nvPr/>
        </p:nvSpPr>
        <p:spPr bwMode="auto">
          <a:xfrm>
            <a:off x="101319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84">
            <a:extLst>
              <a:ext uri="{FF2B5EF4-FFF2-40B4-BE49-F238E27FC236}">
                <a16:creationId xmlns:a16="http://schemas.microsoft.com/office/drawing/2014/main" id="{34A57DCA-58F9-432F-AF77-2246185FFA55}"/>
              </a:ext>
            </a:extLst>
          </p:cNvPr>
          <p:cNvSpPr>
            <a:spLocks/>
          </p:cNvSpPr>
          <p:nvPr/>
        </p:nvSpPr>
        <p:spPr bwMode="auto">
          <a:xfrm>
            <a:off x="101319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85">
            <a:extLst>
              <a:ext uri="{FF2B5EF4-FFF2-40B4-BE49-F238E27FC236}">
                <a16:creationId xmlns:a16="http://schemas.microsoft.com/office/drawing/2014/main" id="{C6524A8C-F9A4-4C24-ACD2-AC8667B3D434}"/>
              </a:ext>
            </a:extLst>
          </p:cNvPr>
          <p:cNvSpPr>
            <a:spLocks/>
          </p:cNvSpPr>
          <p:nvPr/>
        </p:nvSpPr>
        <p:spPr bwMode="auto">
          <a:xfrm>
            <a:off x="101319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86">
            <a:extLst>
              <a:ext uri="{FF2B5EF4-FFF2-40B4-BE49-F238E27FC236}">
                <a16:creationId xmlns:a16="http://schemas.microsoft.com/office/drawing/2014/main" id="{1ECCD8C7-2EC8-40B0-BA24-ED0BA162C006}"/>
              </a:ext>
            </a:extLst>
          </p:cNvPr>
          <p:cNvSpPr>
            <a:spLocks/>
          </p:cNvSpPr>
          <p:nvPr/>
        </p:nvSpPr>
        <p:spPr bwMode="auto">
          <a:xfrm>
            <a:off x="101319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87">
            <a:extLst>
              <a:ext uri="{FF2B5EF4-FFF2-40B4-BE49-F238E27FC236}">
                <a16:creationId xmlns:a16="http://schemas.microsoft.com/office/drawing/2014/main" id="{B220EED8-C422-403C-B243-5C583492B304}"/>
              </a:ext>
            </a:extLst>
          </p:cNvPr>
          <p:cNvSpPr>
            <a:spLocks/>
          </p:cNvSpPr>
          <p:nvPr/>
        </p:nvSpPr>
        <p:spPr bwMode="auto">
          <a:xfrm>
            <a:off x="101319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88">
            <a:extLst>
              <a:ext uri="{FF2B5EF4-FFF2-40B4-BE49-F238E27FC236}">
                <a16:creationId xmlns:a16="http://schemas.microsoft.com/office/drawing/2014/main" id="{2BC3E79E-8A8A-4A33-A95F-D8B5AE35EE44}"/>
              </a:ext>
            </a:extLst>
          </p:cNvPr>
          <p:cNvSpPr>
            <a:spLocks/>
          </p:cNvSpPr>
          <p:nvPr/>
        </p:nvSpPr>
        <p:spPr bwMode="auto">
          <a:xfrm>
            <a:off x="101319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89">
            <a:extLst>
              <a:ext uri="{FF2B5EF4-FFF2-40B4-BE49-F238E27FC236}">
                <a16:creationId xmlns:a16="http://schemas.microsoft.com/office/drawing/2014/main" id="{94323D70-0C2A-4D68-A255-B226877BDFC7}"/>
              </a:ext>
            </a:extLst>
          </p:cNvPr>
          <p:cNvSpPr>
            <a:spLocks/>
          </p:cNvSpPr>
          <p:nvPr/>
        </p:nvSpPr>
        <p:spPr bwMode="auto">
          <a:xfrm>
            <a:off x="101319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90">
            <a:extLst>
              <a:ext uri="{FF2B5EF4-FFF2-40B4-BE49-F238E27FC236}">
                <a16:creationId xmlns:a16="http://schemas.microsoft.com/office/drawing/2014/main" id="{BDD21956-A9DB-4FC4-8FBB-A51EC97A3D97}"/>
              </a:ext>
            </a:extLst>
          </p:cNvPr>
          <p:cNvSpPr>
            <a:spLocks/>
          </p:cNvSpPr>
          <p:nvPr/>
        </p:nvSpPr>
        <p:spPr bwMode="auto">
          <a:xfrm>
            <a:off x="101319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91">
            <a:extLst>
              <a:ext uri="{FF2B5EF4-FFF2-40B4-BE49-F238E27FC236}">
                <a16:creationId xmlns:a16="http://schemas.microsoft.com/office/drawing/2014/main" id="{4306532F-672D-4147-9140-E8C635F5BAA4}"/>
              </a:ext>
            </a:extLst>
          </p:cNvPr>
          <p:cNvSpPr>
            <a:spLocks/>
          </p:cNvSpPr>
          <p:nvPr/>
        </p:nvSpPr>
        <p:spPr bwMode="auto">
          <a:xfrm>
            <a:off x="101319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92">
            <a:extLst>
              <a:ext uri="{FF2B5EF4-FFF2-40B4-BE49-F238E27FC236}">
                <a16:creationId xmlns:a16="http://schemas.microsoft.com/office/drawing/2014/main" id="{0868698F-0B92-4A06-8E6B-7BB321546DFD}"/>
              </a:ext>
            </a:extLst>
          </p:cNvPr>
          <p:cNvSpPr>
            <a:spLocks/>
          </p:cNvSpPr>
          <p:nvPr/>
        </p:nvSpPr>
        <p:spPr bwMode="auto">
          <a:xfrm>
            <a:off x="101319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93">
            <a:extLst>
              <a:ext uri="{FF2B5EF4-FFF2-40B4-BE49-F238E27FC236}">
                <a16:creationId xmlns:a16="http://schemas.microsoft.com/office/drawing/2014/main" id="{FA0E9C24-15DB-4AAA-8BF8-13B28EE49FC3}"/>
              </a:ext>
            </a:extLst>
          </p:cNvPr>
          <p:cNvSpPr>
            <a:spLocks/>
          </p:cNvSpPr>
          <p:nvPr/>
        </p:nvSpPr>
        <p:spPr bwMode="auto">
          <a:xfrm>
            <a:off x="101319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94">
            <a:extLst>
              <a:ext uri="{FF2B5EF4-FFF2-40B4-BE49-F238E27FC236}">
                <a16:creationId xmlns:a16="http://schemas.microsoft.com/office/drawing/2014/main" id="{D9DC25AE-66F7-41FA-BF31-FEC5DB6C3D7D}"/>
              </a:ext>
            </a:extLst>
          </p:cNvPr>
          <p:cNvSpPr>
            <a:spLocks/>
          </p:cNvSpPr>
          <p:nvPr/>
        </p:nvSpPr>
        <p:spPr bwMode="auto">
          <a:xfrm>
            <a:off x="101319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95">
            <a:extLst>
              <a:ext uri="{FF2B5EF4-FFF2-40B4-BE49-F238E27FC236}">
                <a16:creationId xmlns:a16="http://schemas.microsoft.com/office/drawing/2014/main" id="{8591D7C3-3EB6-475C-83A5-FEE5EB284E17}"/>
              </a:ext>
            </a:extLst>
          </p:cNvPr>
          <p:cNvSpPr>
            <a:spLocks/>
          </p:cNvSpPr>
          <p:nvPr/>
        </p:nvSpPr>
        <p:spPr bwMode="auto">
          <a:xfrm>
            <a:off x="101319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96">
            <a:extLst>
              <a:ext uri="{FF2B5EF4-FFF2-40B4-BE49-F238E27FC236}">
                <a16:creationId xmlns:a16="http://schemas.microsoft.com/office/drawing/2014/main" id="{A385855F-1720-403A-A207-F720E4AEA6AF}"/>
              </a:ext>
            </a:extLst>
          </p:cNvPr>
          <p:cNvSpPr>
            <a:spLocks/>
          </p:cNvSpPr>
          <p:nvPr/>
        </p:nvSpPr>
        <p:spPr bwMode="auto">
          <a:xfrm>
            <a:off x="101319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97">
            <a:extLst>
              <a:ext uri="{FF2B5EF4-FFF2-40B4-BE49-F238E27FC236}">
                <a16:creationId xmlns:a16="http://schemas.microsoft.com/office/drawing/2014/main" id="{B67F6BA6-853F-444D-BE03-DB76F3C54646}"/>
              </a:ext>
            </a:extLst>
          </p:cNvPr>
          <p:cNvSpPr>
            <a:spLocks/>
          </p:cNvSpPr>
          <p:nvPr/>
        </p:nvSpPr>
        <p:spPr bwMode="auto">
          <a:xfrm>
            <a:off x="101319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98">
            <a:extLst>
              <a:ext uri="{FF2B5EF4-FFF2-40B4-BE49-F238E27FC236}">
                <a16:creationId xmlns:a16="http://schemas.microsoft.com/office/drawing/2014/main" id="{1DCD5229-E23F-427C-9C68-14ACEA184B04}"/>
              </a:ext>
            </a:extLst>
          </p:cNvPr>
          <p:cNvSpPr>
            <a:spLocks/>
          </p:cNvSpPr>
          <p:nvPr/>
        </p:nvSpPr>
        <p:spPr bwMode="auto">
          <a:xfrm>
            <a:off x="101319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99">
            <a:extLst>
              <a:ext uri="{FF2B5EF4-FFF2-40B4-BE49-F238E27FC236}">
                <a16:creationId xmlns:a16="http://schemas.microsoft.com/office/drawing/2014/main" id="{6AA70B95-0091-41A9-9128-D406726A82D6}"/>
              </a:ext>
            </a:extLst>
          </p:cNvPr>
          <p:cNvSpPr>
            <a:spLocks/>
          </p:cNvSpPr>
          <p:nvPr/>
        </p:nvSpPr>
        <p:spPr bwMode="auto">
          <a:xfrm>
            <a:off x="101319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00">
            <a:extLst>
              <a:ext uri="{FF2B5EF4-FFF2-40B4-BE49-F238E27FC236}">
                <a16:creationId xmlns:a16="http://schemas.microsoft.com/office/drawing/2014/main" id="{41B5CD4D-7430-4F11-B871-9BBA98ED6F59}"/>
              </a:ext>
            </a:extLst>
          </p:cNvPr>
          <p:cNvSpPr>
            <a:spLocks/>
          </p:cNvSpPr>
          <p:nvPr/>
        </p:nvSpPr>
        <p:spPr bwMode="auto">
          <a:xfrm>
            <a:off x="101319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201">
            <a:extLst>
              <a:ext uri="{FF2B5EF4-FFF2-40B4-BE49-F238E27FC236}">
                <a16:creationId xmlns:a16="http://schemas.microsoft.com/office/drawing/2014/main" id="{95FCEA3C-8885-4E76-A49A-056A6BF3FE1E}"/>
              </a:ext>
            </a:extLst>
          </p:cNvPr>
          <p:cNvSpPr>
            <a:spLocks/>
          </p:cNvSpPr>
          <p:nvPr/>
        </p:nvSpPr>
        <p:spPr bwMode="auto">
          <a:xfrm>
            <a:off x="101319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02">
            <a:extLst>
              <a:ext uri="{FF2B5EF4-FFF2-40B4-BE49-F238E27FC236}">
                <a16:creationId xmlns:a16="http://schemas.microsoft.com/office/drawing/2014/main" id="{06793E35-22ED-4330-BC35-95078FEF6842}"/>
              </a:ext>
            </a:extLst>
          </p:cNvPr>
          <p:cNvSpPr>
            <a:spLocks/>
          </p:cNvSpPr>
          <p:nvPr/>
        </p:nvSpPr>
        <p:spPr bwMode="auto">
          <a:xfrm>
            <a:off x="94213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03">
            <a:extLst>
              <a:ext uri="{FF2B5EF4-FFF2-40B4-BE49-F238E27FC236}">
                <a16:creationId xmlns:a16="http://schemas.microsoft.com/office/drawing/2014/main" id="{2A59743D-BD03-4EE9-AA60-A5968F0E4910}"/>
              </a:ext>
            </a:extLst>
          </p:cNvPr>
          <p:cNvSpPr>
            <a:spLocks/>
          </p:cNvSpPr>
          <p:nvPr/>
        </p:nvSpPr>
        <p:spPr bwMode="auto">
          <a:xfrm>
            <a:off x="94072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204">
            <a:extLst>
              <a:ext uri="{FF2B5EF4-FFF2-40B4-BE49-F238E27FC236}">
                <a16:creationId xmlns:a16="http://schemas.microsoft.com/office/drawing/2014/main" id="{F4258471-FBB0-4FF8-91E9-0A661950EF27}"/>
              </a:ext>
            </a:extLst>
          </p:cNvPr>
          <p:cNvSpPr>
            <a:spLocks noChangeArrowheads="1"/>
          </p:cNvSpPr>
          <p:nvPr/>
        </p:nvSpPr>
        <p:spPr bwMode="auto">
          <a:xfrm>
            <a:off x="80184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06">
            <a:extLst>
              <a:ext uri="{FF2B5EF4-FFF2-40B4-BE49-F238E27FC236}">
                <a16:creationId xmlns:a16="http://schemas.microsoft.com/office/drawing/2014/main" id="{2DED153D-0F74-4D09-8ECE-FC273F475DBE}"/>
              </a:ext>
            </a:extLst>
          </p:cNvPr>
          <p:cNvSpPr>
            <a:spLocks/>
          </p:cNvSpPr>
          <p:nvPr/>
        </p:nvSpPr>
        <p:spPr bwMode="auto">
          <a:xfrm>
            <a:off x="80042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207">
            <a:extLst>
              <a:ext uri="{FF2B5EF4-FFF2-40B4-BE49-F238E27FC236}">
                <a16:creationId xmlns:a16="http://schemas.microsoft.com/office/drawing/2014/main" id="{B425B385-65A0-4485-973A-E25A707B9350}"/>
              </a:ext>
            </a:extLst>
          </p:cNvPr>
          <p:cNvSpPr>
            <a:spLocks/>
          </p:cNvSpPr>
          <p:nvPr/>
        </p:nvSpPr>
        <p:spPr bwMode="auto">
          <a:xfrm>
            <a:off x="81459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208">
            <a:extLst>
              <a:ext uri="{FF2B5EF4-FFF2-40B4-BE49-F238E27FC236}">
                <a16:creationId xmlns:a16="http://schemas.microsoft.com/office/drawing/2014/main" id="{78B21273-C41C-49C0-BE59-20FE77E6F6A1}"/>
              </a:ext>
            </a:extLst>
          </p:cNvPr>
          <p:cNvSpPr>
            <a:spLocks/>
          </p:cNvSpPr>
          <p:nvPr/>
        </p:nvSpPr>
        <p:spPr bwMode="auto">
          <a:xfrm>
            <a:off x="81317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Rectangle 209">
            <a:extLst>
              <a:ext uri="{FF2B5EF4-FFF2-40B4-BE49-F238E27FC236}">
                <a16:creationId xmlns:a16="http://schemas.microsoft.com/office/drawing/2014/main" id="{1388C442-1F9A-46A4-8534-27729AFA00D5}"/>
              </a:ext>
            </a:extLst>
          </p:cNvPr>
          <p:cNvSpPr>
            <a:spLocks noChangeArrowheads="1"/>
          </p:cNvSpPr>
          <p:nvPr/>
        </p:nvSpPr>
        <p:spPr bwMode="auto">
          <a:xfrm>
            <a:off x="81510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210">
            <a:extLst>
              <a:ext uri="{FF2B5EF4-FFF2-40B4-BE49-F238E27FC236}">
                <a16:creationId xmlns:a16="http://schemas.microsoft.com/office/drawing/2014/main" id="{E8EF9FB4-5231-43AB-A68A-6164022AA9D0}"/>
              </a:ext>
            </a:extLst>
          </p:cNvPr>
          <p:cNvSpPr>
            <a:spLocks/>
          </p:cNvSpPr>
          <p:nvPr/>
        </p:nvSpPr>
        <p:spPr bwMode="auto">
          <a:xfrm>
            <a:off x="81358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Rectangle 211">
            <a:extLst>
              <a:ext uri="{FF2B5EF4-FFF2-40B4-BE49-F238E27FC236}">
                <a16:creationId xmlns:a16="http://schemas.microsoft.com/office/drawing/2014/main" id="{6095D2ED-2142-40C2-B316-4D0515F3F25D}"/>
              </a:ext>
            </a:extLst>
          </p:cNvPr>
          <p:cNvSpPr>
            <a:spLocks noChangeArrowheads="1"/>
          </p:cNvSpPr>
          <p:nvPr/>
        </p:nvSpPr>
        <p:spPr bwMode="auto">
          <a:xfrm>
            <a:off x="81054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212">
            <a:extLst>
              <a:ext uri="{FF2B5EF4-FFF2-40B4-BE49-F238E27FC236}">
                <a16:creationId xmlns:a16="http://schemas.microsoft.com/office/drawing/2014/main" id="{4F0ECDE6-6198-4B61-9E79-92D9D1ECA6B1}"/>
              </a:ext>
            </a:extLst>
          </p:cNvPr>
          <p:cNvSpPr>
            <a:spLocks/>
          </p:cNvSpPr>
          <p:nvPr/>
        </p:nvSpPr>
        <p:spPr bwMode="auto">
          <a:xfrm>
            <a:off x="80902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213">
            <a:extLst>
              <a:ext uri="{FF2B5EF4-FFF2-40B4-BE49-F238E27FC236}">
                <a16:creationId xmlns:a16="http://schemas.microsoft.com/office/drawing/2014/main" id="{C2D9C2F6-9465-4252-84FA-DCD9BCA9B808}"/>
              </a:ext>
            </a:extLst>
          </p:cNvPr>
          <p:cNvSpPr>
            <a:spLocks/>
          </p:cNvSpPr>
          <p:nvPr/>
        </p:nvSpPr>
        <p:spPr bwMode="auto">
          <a:xfrm>
            <a:off x="87057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214">
            <a:extLst>
              <a:ext uri="{FF2B5EF4-FFF2-40B4-BE49-F238E27FC236}">
                <a16:creationId xmlns:a16="http://schemas.microsoft.com/office/drawing/2014/main" id="{F057370E-DDD5-4173-A444-D381D29E2585}"/>
              </a:ext>
            </a:extLst>
          </p:cNvPr>
          <p:cNvSpPr>
            <a:spLocks/>
          </p:cNvSpPr>
          <p:nvPr/>
        </p:nvSpPr>
        <p:spPr bwMode="auto">
          <a:xfrm>
            <a:off x="86905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Rectangle 215">
            <a:extLst>
              <a:ext uri="{FF2B5EF4-FFF2-40B4-BE49-F238E27FC236}">
                <a16:creationId xmlns:a16="http://schemas.microsoft.com/office/drawing/2014/main" id="{5D832CC0-B6AA-4EE7-82B1-69626662330A}"/>
              </a:ext>
            </a:extLst>
          </p:cNvPr>
          <p:cNvSpPr>
            <a:spLocks noChangeArrowheads="1"/>
          </p:cNvSpPr>
          <p:nvPr/>
        </p:nvSpPr>
        <p:spPr bwMode="auto">
          <a:xfrm>
            <a:off x="87097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216">
            <a:extLst>
              <a:ext uri="{FF2B5EF4-FFF2-40B4-BE49-F238E27FC236}">
                <a16:creationId xmlns:a16="http://schemas.microsoft.com/office/drawing/2014/main" id="{E1DDE99E-3434-44C6-9144-573F99F7C5CD}"/>
              </a:ext>
            </a:extLst>
          </p:cNvPr>
          <p:cNvSpPr>
            <a:spLocks/>
          </p:cNvSpPr>
          <p:nvPr/>
        </p:nvSpPr>
        <p:spPr bwMode="auto">
          <a:xfrm>
            <a:off x="86955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Rectangle 217">
            <a:extLst>
              <a:ext uri="{FF2B5EF4-FFF2-40B4-BE49-F238E27FC236}">
                <a16:creationId xmlns:a16="http://schemas.microsoft.com/office/drawing/2014/main" id="{E4891E14-F65E-4FBA-AFE7-86B93B87AAFF}"/>
              </a:ext>
            </a:extLst>
          </p:cNvPr>
          <p:cNvSpPr>
            <a:spLocks noChangeArrowheads="1"/>
          </p:cNvSpPr>
          <p:nvPr/>
        </p:nvSpPr>
        <p:spPr bwMode="auto">
          <a:xfrm>
            <a:off x="86672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218">
            <a:extLst>
              <a:ext uri="{FF2B5EF4-FFF2-40B4-BE49-F238E27FC236}">
                <a16:creationId xmlns:a16="http://schemas.microsoft.com/office/drawing/2014/main" id="{1D85241E-F6FC-4FC2-A314-B690B933FDE4}"/>
              </a:ext>
            </a:extLst>
          </p:cNvPr>
          <p:cNvSpPr>
            <a:spLocks/>
          </p:cNvSpPr>
          <p:nvPr/>
        </p:nvSpPr>
        <p:spPr bwMode="auto">
          <a:xfrm>
            <a:off x="86530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219">
            <a:extLst>
              <a:ext uri="{FF2B5EF4-FFF2-40B4-BE49-F238E27FC236}">
                <a16:creationId xmlns:a16="http://schemas.microsoft.com/office/drawing/2014/main" id="{97C82561-895F-42AB-9DE6-8A71ABB1CC12}"/>
              </a:ext>
            </a:extLst>
          </p:cNvPr>
          <p:cNvSpPr>
            <a:spLocks/>
          </p:cNvSpPr>
          <p:nvPr/>
        </p:nvSpPr>
        <p:spPr bwMode="auto">
          <a:xfrm>
            <a:off x="92654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220">
            <a:extLst>
              <a:ext uri="{FF2B5EF4-FFF2-40B4-BE49-F238E27FC236}">
                <a16:creationId xmlns:a16="http://schemas.microsoft.com/office/drawing/2014/main" id="{85E62450-4C12-4408-B4F3-47239ED83A9A}"/>
              </a:ext>
            </a:extLst>
          </p:cNvPr>
          <p:cNvSpPr>
            <a:spLocks/>
          </p:cNvSpPr>
          <p:nvPr/>
        </p:nvSpPr>
        <p:spPr bwMode="auto">
          <a:xfrm>
            <a:off x="92503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Rectangle 221">
            <a:extLst>
              <a:ext uri="{FF2B5EF4-FFF2-40B4-BE49-F238E27FC236}">
                <a16:creationId xmlns:a16="http://schemas.microsoft.com/office/drawing/2014/main" id="{8B2145D3-F837-4387-AB37-D9BED491B285}"/>
              </a:ext>
            </a:extLst>
          </p:cNvPr>
          <p:cNvSpPr>
            <a:spLocks noChangeArrowheads="1"/>
          </p:cNvSpPr>
          <p:nvPr/>
        </p:nvSpPr>
        <p:spPr bwMode="auto">
          <a:xfrm>
            <a:off x="92695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222">
            <a:extLst>
              <a:ext uri="{FF2B5EF4-FFF2-40B4-BE49-F238E27FC236}">
                <a16:creationId xmlns:a16="http://schemas.microsoft.com/office/drawing/2014/main" id="{DC0808CB-1E27-49E6-885A-B33ADF2491CC}"/>
              </a:ext>
            </a:extLst>
          </p:cNvPr>
          <p:cNvSpPr>
            <a:spLocks/>
          </p:cNvSpPr>
          <p:nvPr/>
        </p:nvSpPr>
        <p:spPr bwMode="auto">
          <a:xfrm>
            <a:off x="92553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223">
            <a:extLst>
              <a:ext uri="{FF2B5EF4-FFF2-40B4-BE49-F238E27FC236}">
                <a16:creationId xmlns:a16="http://schemas.microsoft.com/office/drawing/2014/main" id="{EE989D81-BF2D-40C8-ACDA-2147AD2431D1}"/>
              </a:ext>
            </a:extLst>
          </p:cNvPr>
          <p:cNvSpPr>
            <a:spLocks noChangeArrowheads="1"/>
          </p:cNvSpPr>
          <p:nvPr/>
        </p:nvSpPr>
        <p:spPr bwMode="auto">
          <a:xfrm>
            <a:off x="92270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224">
            <a:extLst>
              <a:ext uri="{FF2B5EF4-FFF2-40B4-BE49-F238E27FC236}">
                <a16:creationId xmlns:a16="http://schemas.microsoft.com/office/drawing/2014/main" id="{1D449AE5-3C09-421B-863F-6362BC6C905D}"/>
              </a:ext>
            </a:extLst>
          </p:cNvPr>
          <p:cNvSpPr>
            <a:spLocks/>
          </p:cNvSpPr>
          <p:nvPr/>
        </p:nvSpPr>
        <p:spPr bwMode="auto">
          <a:xfrm>
            <a:off x="92118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225">
            <a:extLst>
              <a:ext uri="{FF2B5EF4-FFF2-40B4-BE49-F238E27FC236}">
                <a16:creationId xmlns:a16="http://schemas.microsoft.com/office/drawing/2014/main" id="{E3A9E50A-0149-4F68-AF4E-1226F179420D}"/>
              </a:ext>
            </a:extLst>
          </p:cNvPr>
          <p:cNvSpPr>
            <a:spLocks/>
          </p:cNvSpPr>
          <p:nvPr/>
        </p:nvSpPr>
        <p:spPr bwMode="auto">
          <a:xfrm>
            <a:off x="98272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226">
            <a:extLst>
              <a:ext uri="{FF2B5EF4-FFF2-40B4-BE49-F238E27FC236}">
                <a16:creationId xmlns:a16="http://schemas.microsoft.com/office/drawing/2014/main" id="{672C9AB5-7704-4651-9EFC-E6FAB0FE375D}"/>
              </a:ext>
            </a:extLst>
          </p:cNvPr>
          <p:cNvSpPr>
            <a:spLocks/>
          </p:cNvSpPr>
          <p:nvPr/>
        </p:nvSpPr>
        <p:spPr bwMode="auto">
          <a:xfrm>
            <a:off x="98100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227">
            <a:extLst>
              <a:ext uri="{FF2B5EF4-FFF2-40B4-BE49-F238E27FC236}">
                <a16:creationId xmlns:a16="http://schemas.microsoft.com/office/drawing/2014/main" id="{9C32DAD8-3310-4D64-A868-FFF9A238FAD1}"/>
              </a:ext>
            </a:extLst>
          </p:cNvPr>
          <p:cNvSpPr>
            <a:spLocks noChangeArrowheads="1"/>
          </p:cNvSpPr>
          <p:nvPr/>
        </p:nvSpPr>
        <p:spPr bwMode="auto">
          <a:xfrm>
            <a:off x="98293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228">
            <a:extLst>
              <a:ext uri="{FF2B5EF4-FFF2-40B4-BE49-F238E27FC236}">
                <a16:creationId xmlns:a16="http://schemas.microsoft.com/office/drawing/2014/main" id="{F6DEDBC9-8621-4CB8-8561-E88DC4EDA411}"/>
              </a:ext>
            </a:extLst>
          </p:cNvPr>
          <p:cNvSpPr>
            <a:spLocks/>
          </p:cNvSpPr>
          <p:nvPr/>
        </p:nvSpPr>
        <p:spPr bwMode="auto">
          <a:xfrm>
            <a:off x="98151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229">
            <a:extLst>
              <a:ext uri="{FF2B5EF4-FFF2-40B4-BE49-F238E27FC236}">
                <a16:creationId xmlns:a16="http://schemas.microsoft.com/office/drawing/2014/main" id="{44C7FAA2-FB18-4DD0-B714-6FE22EE70111}"/>
              </a:ext>
            </a:extLst>
          </p:cNvPr>
          <p:cNvSpPr>
            <a:spLocks noChangeArrowheads="1"/>
          </p:cNvSpPr>
          <p:nvPr/>
        </p:nvSpPr>
        <p:spPr bwMode="auto">
          <a:xfrm>
            <a:off x="97857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230">
            <a:extLst>
              <a:ext uri="{FF2B5EF4-FFF2-40B4-BE49-F238E27FC236}">
                <a16:creationId xmlns:a16="http://schemas.microsoft.com/office/drawing/2014/main" id="{A2448F67-4EBF-4954-B20E-DDBFF6D69D77}"/>
              </a:ext>
            </a:extLst>
          </p:cNvPr>
          <p:cNvSpPr>
            <a:spLocks/>
          </p:cNvSpPr>
          <p:nvPr/>
        </p:nvSpPr>
        <p:spPr bwMode="auto">
          <a:xfrm>
            <a:off x="97716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231">
            <a:extLst>
              <a:ext uri="{FF2B5EF4-FFF2-40B4-BE49-F238E27FC236}">
                <a16:creationId xmlns:a16="http://schemas.microsoft.com/office/drawing/2014/main" id="{DEFC591B-C7F3-4708-8E2F-AB164A290BF9}"/>
              </a:ext>
            </a:extLst>
          </p:cNvPr>
          <p:cNvSpPr>
            <a:spLocks noChangeArrowheads="1"/>
          </p:cNvSpPr>
          <p:nvPr/>
        </p:nvSpPr>
        <p:spPr bwMode="auto">
          <a:xfrm>
            <a:off x="8018407" y="6073124"/>
            <a:ext cx="2239088" cy="290515"/>
          </a:xfrm>
          <a:prstGeom prst="rect">
            <a:avLst/>
          </a:prstGeom>
          <a:solidFill>
            <a:schemeClr val="bg1">
              <a:lumMod val="50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232">
            <a:extLst>
              <a:ext uri="{FF2B5EF4-FFF2-40B4-BE49-F238E27FC236}">
                <a16:creationId xmlns:a16="http://schemas.microsoft.com/office/drawing/2014/main" id="{15AF2D49-2D6F-471D-AADD-28C6B0619F83}"/>
              </a:ext>
            </a:extLst>
          </p:cNvPr>
          <p:cNvSpPr>
            <a:spLocks/>
          </p:cNvSpPr>
          <p:nvPr/>
        </p:nvSpPr>
        <p:spPr bwMode="auto">
          <a:xfrm>
            <a:off x="80042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233">
            <a:extLst>
              <a:ext uri="{FF2B5EF4-FFF2-40B4-BE49-F238E27FC236}">
                <a16:creationId xmlns:a16="http://schemas.microsoft.com/office/drawing/2014/main" id="{73D78A62-0A69-46E7-AAA0-E7501A674B2A}"/>
              </a:ext>
            </a:extLst>
          </p:cNvPr>
          <p:cNvSpPr>
            <a:spLocks/>
          </p:cNvSpPr>
          <p:nvPr/>
        </p:nvSpPr>
        <p:spPr bwMode="auto">
          <a:xfrm>
            <a:off x="85589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Line 234">
            <a:extLst>
              <a:ext uri="{FF2B5EF4-FFF2-40B4-BE49-F238E27FC236}">
                <a16:creationId xmlns:a16="http://schemas.microsoft.com/office/drawing/2014/main" id="{297698B3-95C6-466F-B334-878E36EA004B}"/>
              </a:ext>
            </a:extLst>
          </p:cNvPr>
          <p:cNvSpPr>
            <a:spLocks noChangeShapeType="1"/>
          </p:cNvSpPr>
          <p:nvPr/>
        </p:nvSpPr>
        <p:spPr bwMode="auto">
          <a:xfrm flipH="1">
            <a:off x="85589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0" name="Freeform 235">
            <a:extLst>
              <a:ext uri="{FF2B5EF4-FFF2-40B4-BE49-F238E27FC236}">
                <a16:creationId xmlns:a16="http://schemas.microsoft.com/office/drawing/2014/main" id="{DD9DF405-2D4E-4813-A0E1-BFA7EA96153B}"/>
              </a:ext>
            </a:extLst>
          </p:cNvPr>
          <p:cNvSpPr>
            <a:spLocks/>
          </p:cNvSpPr>
          <p:nvPr/>
        </p:nvSpPr>
        <p:spPr bwMode="auto">
          <a:xfrm>
            <a:off x="85447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236">
            <a:extLst>
              <a:ext uri="{FF2B5EF4-FFF2-40B4-BE49-F238E27FC236}">
                <a16:creationId xmlns:a16="http://schemas.microsoft.com/office/drawing/2014/main" id="{4153BC47-59E8-4A35-A392-09AAF332E66D}"/>
              </a:ext>
            </a:extLst>
          </p:cNvPr>
          <p:cNvSpPr>
            <a:spLocks/>
          </p:cNvSpPr>
          <p:nvPr/>
        </p:nvSpPr>
        <p:spPr bwMode="auto">
          <a:xfrm>
            <a:off x="79637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bg1">
              <a:lumMod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237">
            <a:extLst>
              <a:ext uri="{FF2B5EF4-FFF2-40B4-BE49-F238E27FC236}">
                <a16:creationId xmlns:a16="http://schemas.microsoft.com/office/drawing/2014/main" id="{C6C1CCD8-1B81-4CB5-8CC5-FC5792F9B21E}"/>
              </a:ext>
            </a:extLst>
          </p:cNvPr>
          <p:cNvSpPr>
            <a:spLocks/>
          </p:cNvSpPr>
          <p:nvPr/>
        </p:nvSpPr>
        <p:spPr bwMode="auto">
          <a:xfrm>
            <a:off x="79465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238">
            <a:extLst>
              <a:ext uri="{FF2B5EF4-FFF2-40B4-BE49-F238E27FC236}">
                <a16:creationId xmlns:a16="http://schemas.microsoft.com/office/drawing/2014/main" id="{342E0637-BB7F-4DC2-96D2-FCA072628794}"/>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239">
            <a:extLst>
              <a:ext uri="{FF2B5EF4-FFF2-40B4-BE49-F238E27FC236}">
                <a16:creationId xmlns:a16="http://schemas.microsoft.com/office/drawing/2014/main" id="{6C814CB9-DDD2-446B-8F77-1323551CDD93}"/>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5" name="Freeform 240">
            <a:extLst>
              <a:ext uri="{FF2B5EF4-FFF2-40B4-BE49-F238E27FC236}">
                <a16:creationId xmlns:a16="http://schemas.microsoft.com/office/drawing/2014/main" id="{BDDF1006-B3CA-4771-807B-9E214B7D026A}"/>
              </a:ext>
            </a:extLst>
          </p:cNvPr>
          <p:cNvSpPr>
            <a:spLocks noEditPoints="1"/>
          </p:cNvSpPr>
          <p:nvPr/>
        </p:nvSpPr>
        <p:spPr bwMode="auto">
          <a:xfrm>
            <a:off x="82613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241">
            <a:extLst>
              <a:ext uri="{FF2B5EF4-FFF2-40B4-BE49-F238E27FC236}">
                <a16:creationId xmlns:a16="http://schemas.microsoft.com/office/drawing/2014/main" id="{CC670C00-F427-43C2-9758-44D9427A3A0B}"/>
              </a:ext>
            </a:extLst>
          </p:cNvPr>
          <p:cNvSpPr>
            <a:spLocks/>
          </p:cNvSpPr>
          <p:nvPr/>
        </p:nvSpPr>
        <p:spPr bwMode="auto">
          <a:xfrm>
            <a:off x="72521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7" name="Freeform 242">
            <a:extLst>
              <a:ext uri="{FF2B5EF4-FFF2-40B4-BE49-F238E27FC236}">
                <a16:creationId xmlns:a16="http://schemas.microsoft.com/office/drawing/2014/main" id="{1780641F-26A2-4332-85E6-8CF907F5EE38}"/>
              </a:ext>
            </a:extLst>
          </p:cNvPr>
          <p:cNvSpPr>
            <a:spLocks/>
          </p:cNvSpPr>
          <p:nvPr/>
        </p:nvSpPr>
        <p:spPr bwMode="auto">
          <a:xfrm>
            <a:off x="72399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43">
            <a:extLst>
              <a:ext uri="{FF2B5EF4-FFF2-40B4-BE49-F238E27FC236}">
                <a16:creationId xmlns:a16="http://schemas.microsoft.com/office/drawing/2014/main" id="{865FA48E-3356-41A4-BA6D-E8151BA113B7}"/>
              </a:ext>
            </a:extLst>
          </p:cNvPr>
          <p:cNvSpPr>
            <a:spLocks/>
          </p:cNvSpPr>
          <p:nvPr/>
        </p:nvSpPr>
        <p:spPr bwMode="auto">
          <a:xfrm>
            <a:off x="75406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9" name="Freeform 244">
            <a:extLst>
              <a:ext uri="{FF2B5EF4-FFF2-40B4-BE49-F238E27FC236}">
                <a16:creationId xmlns:a16="http://schemas.microsoft.com/office/drawing/2014/main" id="{8ADC1700-5801-45E0-A1E8-0D0EA4979834}"/>
              </a:ext>
            </a:extLst>
          </p:cNvPr>
          <p:cNvSpPr>
            <a:spLocks/>
          </p:cNvSpPr>
          <p:nvPr/>
        </p:nvSpPr>
        <p:spPr bwMode="auto">
          <a:xfrm>
            <a:off x="75264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45">
            <a:extLst>
              <a:ext uri="{FF2B5EF4-FFF2-40B4-BE49-F238E27FC236}">
                <a16:creationId xmlns:a16="http://schemas.microsoft.com/office/drawing/2014/main" id="{7AD25499-9564-4CAE-A5DC-393A20B598FE}"/>
              </a:ext>
            </a:extLst>
          </p:cNvPr>
          <p:cNvSpPr>
            <a:spLocks/>
          </p:cNvSpPr>
          <p:nvPr/>
        </p:nvSpPr>
        <p:spPr bwMode="auto">
          <a:xfrm>
            <a:off x="77228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46">
            <a:extLst>
              <a:ext uri="{FF2B5EF4-FFF2-40B4-BE49-F238E27FC236}">
                <a16:creationId xmlns:a16="http://schemas.microsoft.com/office/drawing/2014/main" id="{B869EE5C-D2B4-418E-9525-518338CF2866}"/>
              </a:ext>
            </a:extLst>
          </p:cNvPr>
          <p:cNvSpPr>
            <a:spLocks/>
          </p:cNvSpPr>
          <p:nvPr/>
        </p:nvSpPr>
        <p:spPr bwMode="auto">
          <a:xfrm>
            <a:off x="77086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2" name="Oval 247">
            <a:extLst>
              <a:ext uri="{FF2B5EF4-FFF2-40B4-BE49-F238E27FC236}">
                <a16:creationId xmlns:a16="http://schemas.microsoft.com/office/drawing/2014/main" id="{136B4224-349B-4320-BD24-96A1FF9D0AFD}"/>
              </a:ext>
            </a:extLst>
          </p:cNvPr>
          <p:cNvSpPr>
            <a:spLocks noChangeArrowheads="1"/>
          </p:cNvSpPr>
          <p:nvPr/>
        </p:nvSpPr>
        <p:spPr bwMode="auto">
          <a:xfrm>
            <a:off x="77855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48">
            <a:extLst>
              <a:ext uri="{FF2B5EF4-FFF2-40B4-BE49-F238E27FC236}">
                <a16:creationId xmlns:a16="http://schemas.microsoft.com/office/drawing/2014/main" id="{EC651304-B4C4-4B7D-8BAB-C054FFE32BC7}"/>
              </a:ext>
            </a:extLst>
          </p:cNvPr>
          <p:cNvSpPr>
            <a:spLocks/>
          </p:cNvSpPr>
          <p:nvPr/>
        </p:nvSpPr>
        <p:spPr bwMode="auto">
          <a:xfrm>
            <a:off x="77714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49">
            <a:extLst>
              <a:ext uri="{FF2B5EF4-FFF2-40B4-BE49-F238E27FC236}">
                <a16:creationId xmlns:a16="http://schemas.microsoft.com/office/drawing/2014/main" id="{20AF748B-33E0-43FB-B42D-A156DF5D58E8}"/>
              </a:ext>
            </a:extLst>
          </p:cNvPr>
          <p:cNvSpPr>
            <a:spLocks/>
          </p:cNvSpPr>
          <p:nvPr/>
        </p:nvSpPr>
        <p:spPr bwMode="auto">
          <a:xfrm>
            <a:off x="79009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Line 250">
            <a:extLst>
              <a:ext uri="{FF2B5EF4-FFF2-40B4-BE49-F238E27FC236}">
                <a16:creationId xmlns:a16="http://schemas.microsoft.com/office/drawing/2014/main" id="{81674994-11AC-4B15-B487-DFE4D0ED31F8}"/>
              </a:ext>
            </a:extLst>
          </p:cNvPr>
          <p:cNvSpPr>
            <a:spLocks noChangeShapeType="1"/>
          </p:cNvSpPr>
          <p:nvPr/>
        </p:nvSpPr>
        <p:spPr bwMode="auto">
          <a:xfrm>
            <a:off x="79009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6" name="Freeform 251">
            <a:extLst>
              <a:ext uri="{FF2B5EF4-FFF2-40B4-BE49-F238E27FC236}">
                <a16:creationId xmlns:a16="http://schemas.microsoft.com/office/drawing/2014/main" id="{A638AE69-BE11-4A28-83E8-BFBAD51B03C7}"/>
              </a:ext>
            </a:extLst>
          </p:cNvPr>
          <p:cNvSpPr>
            <a:spLocks/>
          </p:cNvSpPr>
          <p:nvPr/>
        </p:nvSpPr>
        <p:spPr bwMode="auto">
          <a:xfrm>
            <a:off x="78868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252">
            <a:extLst>
              <a:ext uri="{FF2B5EF4-FFF2-40B4-BE49-F238E27FC236}">
                <a16:creationId xmlns:a16="http://schemas.microsoft.com/office/drawing/2014/main" id="{F9DB8C54-75B5-4114-B839-25756B929B12}"/>
              </a:ext>
            </a:extLst>
          </p:cNvPr>
          <p:cNvSpPr>
            <a:spLocks/>
          </p:cNvSpPr>
          <p:nvPr/>
        </p:nvSpPr>
        <p:spPr bwMode="auto">
          <a:xfrm>
            <a:off x="54341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253">
            <a:extLst>
              <a:ext uri="{FF2B5EF4-FFF2-40B4-BE49-F238E27FC236}">
                <a16:creationId xmlns:a16="http://schemas.microsoft.com/office/drawing/2014/main" id="{06FDE449-E140-493C-A1A2-CCBB62037090}"/>
              </a:ext>
            </a:extLst>
          </p:cNvPr>
          <p:cNvSpPr>
            <a:spLocks noEditPoints="1"/>
          </p:cNvSpPr>
          <p:nvPr/>
        </p:nvSpPr>
        <p:spPr bwMode="auto">
          <a:xfrm>
            <a:off x="46800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254">
            <a:extLst>
              <a:ext uri="{FF2B5EF4-FFF2-40B4-BE49-F238E27FC236}">
                <a16:creationId xmlns:a16="http://schemas.microsoft.com/office/drawing/2014/main" id="{CCFAB4F4-F1DB-4CF2-9210-7901754EE2D7}"/>
              </a:ext>
            </a:extLst>
          </p:cNvPr>
          <p:cNvSpPr>
            <a:spLocks/>
          </p:cNvSpPr>
          <p:nvPr/>
        </p:nvSpPr>
        <p:spPr bwMode="auto">
          <a:xfrm>
            <a:off x="106603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0" name="Freeform 255">
            <a:extLst>
              <a:ext uri="{FF2B5EF4-FFF2-40B4-BE49-F238E27FC236}">
                <a16:creationId xmlns:a16="http://schemas.microsoft.com/office/drawing/2014/main" id="{47DCECF8-2EA4-4B53-8CBE-62F17D30CF2D}"/>
              </a:ext>
            </a:extLst>
          </p:cNvPr>
          <p:cNvSpPr>
            <a:spLocks noEditPoints="1"/>
          </p:cNvSpPr>
          <p:nvPr/>
        </p:nvSpPr>
        <p:spPr bwMode="auto">
          <a:xfrm>
            <a:off x="106391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1" name="Freeform 256">
            <a:extLst>
              <a:ext uri="{FF2B5EF4-FFF2-40B4-BE49-F238E27FC236}">
                <a16:creationId xmlns:a16="http://schemas.microsoft.com/office/drawing/2014/main" id="{57F105F0-8B3B-484D-8C7F-3ED51A59FD10}"/>
              </a:ext>
            </a:extLst>
          </p:cNvPr>
          <p:cNvSpPr>
            <a:spLocks/>
          </p:cNvSpPr>
          <p:nvPr/>
        </p:nvSpPr>
        <p:spPr bwMode="auto">
          <a:xfrm>
            <a:off x="106461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2" name="Freeform 257">
            <a:extLst>
              <a:ext uri="{FF2B5EF4-FFF2-40B4-BE49-F238E27FC236}">
                <a16:creationId xmlns:a16="http://schemas.microsoft.com/office/drawing/2014/main" id="{75DE400A-10A6-49A4-BD4B-8CA5A9B47F32}"/>
              </a:ext>
            </a:extLst>
          </p:cNvPr>
          <p:cNvSpPr>
            <a:spLocks noEditPoints="1"/>
          </p:cNvSpPr>
          <p:nvPr/>
        </p:nvSpPr>
        <p:spPr bwMode="auto">
          <a:xfrm>
            <a:off x="106360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3" name="Freeform 258">
            <a:extLst>
              <a:ext uri="{FF2B5EF4-FFF2-40B4-BE49-F238E27FC236}">
                <a16:creationId xmlns:a16="http://schemas.microsoft.com/office/drawing/2014/main" id="{72EC22D0-BFA5-45A1-9249-50BD3D0221E7}"/>
              </a:ext>
            </a:extLst>
          </p:cNvPr>
          <p:cNvSpPr>
            <a:spLocks/>
          </p:cNvSpPr>
          <p:nvPr/>
        </p:nvSpPr>
        <p:spPr bwMode="auto">
          <a:xfrm>
            <a:off x="92604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Freeform 259">
            <a:extLst>
              <a:ext uri="{FF2B5EF4-FFF2-40B4-BE49-F238E27FC236}">
                <a16:creationId xmlns:a16="http://schemas.microsoft.com/office/drawing/2014/main" id="{1B104D8D-C911-4E3C-BA29-828AE8D8398E}"/>
              </a:ext>
            </a:extLst>
          </p:cNvPr>
          <p:cNvSpPr>
            <a:spLocks/>
          </p:cNvSpPr>
          <p:nvPr/>
        </p:nvSpPr>
        <p:spPr bwMode="auto">
          <a:xfrm>
            <a:off x="93657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60">
            <a:extLst>
              <a:ext uri="{FF2B5EF4-FFF2-40B4-BE49-F238E27FC236}">
                <a16:creationId xmlns:a16="http://schemas.microsoft.com/office/drawing/2014/main" id="{81748F99-B7B1-4213-9595-87AA8FA89AA0}"/>
              </a:ext>
            </a:extLst>
          </p:cNvPr>
          <p:cNvSpPr>
            <a:spLocks/>
          </p:cNvSpPr>
          <p:nvPr/>
        </p:nvSpPr>
        <p:spPr bwMode="auto">
          <a:xfrm>
            <a:off x="95914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76" name="Freeform 261">
            <a:extLst>
              <a:ext uri="{FF2B5EF4-FFF2-40B4-BE49-F238E27FC236}">
                <a16:creationId xmlns:a16="http://schemas.microsoft.com/office/drawing/2014/main" id="{BD60239A-4A6F-403E-9142-CB07D3A02437}"/>
              </a:ext>
            </a:extLst>
          </p:cNvPr>
          <p:cNvSpPr>
            <a:spLocks/>
          </p:cNvSpPr>
          <p:nvPr/>
        </p:nvSpPr>
        <p:spPr bwMode="auto">
          <a:xfrm>
            <a:off x="98434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62">
            <a:extLst>
              <a:ext uri="{FF2B5EF4-FFF2-40B4-BE49-F238E27FC236}">
                <a16:creationId xmlns:a16="http://schemas.microsoft.com/office/drawing/2014/main" id="{2F182249-DDCA-4DFF-9C03-278DF557A9D2}"/>
              </a:ext>
            </a:extLst>
          </p:cNvPr>
          <p:cNvSpPr>
            <a:spLocks/>
          </p:cNvSpPr>
          <p:nvPr/>
        </p:nvSpPr>
        <p:spPr bwMode="auto">
          <a:xfrm>
            <a:off x="111695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63">
            <a:extLst>
              <a:ext uri="{FF2B5EF4-FFF2-40B4-BE49-F238E27FC236}">
                <a16:creationId xmlns:a16="http://schemas.microsoft.com/office/drawing/2014/main" id="{ADFABB3E-E44A-4193-B315-7C248000EF61}"/>
              </a:ext>
            </a:extLst>
          </p:cNvPr>
          <p:cNvSpPr>
            <a:spLocks/>
          </p:cNvSpPr>
          <p:nvPr/>
        </p:nvSpPr>
        <p:spPr bwMode="auto">
          <a:xfrm>
            <a:off x="97625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64">
            <a:extLst>
              <a:ext uri="{FF2B5EF4-FFF2-40B4-BE49-F238E27FC236}">
                <a16:creationId xmlns:a16="http://schemas.microsoft.com/office/drawing/2014/main" id="{F4BDB1C7-1D73-4C34-A06E-600A1D0537FD}"/>
              </a:ext>
            </a:extLst>
          </p:cNvPr>
          <p:cNvSpPr>
            <a:spLocks/>
          </p:cNvSpPr>
          <p:nvPr/>
        </p:nvSpPr>
        <p:spPr bwMode="auto">
          <a:xfrm>
            <a:off x="103364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65">
            <a:extLst>
              <a:ext uri="{FF2B5EF4-FFF2-40B4-BE49-F238E27FC236}">
                <a16:creationId xmlns:a16="http://schemas.microsoft.com/office/drawing/2014/main" id="{7E32FB4A-11ED-4922-B4A7-983356903E44}"/>
              </a:ext>
            </a:extLst>
          </p:cNvPr>
          <p:cNvSpPr>
            <a:spLocks/>
          </p:cNvSpPr>
          <p:nvPr/>
        </p:nvSpPr>
        <p:spPr bwMode="auto">
          <a:xfrm>
            <a:off x="110136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66">
            <a:extLst>
              <a:ext uri="{FF2B5EF4-FFF2-40B4-BE49-F238E27FC236}">
                <a16:creationId xmlns:a16="http://schemas.microsoft.com/office/drawing/2014/main" id="{FFB9E088-6785-499B-90C0-388D09EF662C}"/>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267">
            <a:extLst>
              <a:ext uri="{FF2B5EF4-FFF2-40B4-BE49-F238E27FC236}">
                <a16:creationId xmlns:a16="http://schemas.microsoft.com/office/drawing/2014/main" id="{418E21CB-E518-456F-87AD-C7449B673758}"/>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268">
            <a:extLst>
              <a:ext uri="{FF2B5EF4-FFF2-40B4-BE49-F238E27FC236}">
                <a16:creationId xmlns:a16="http://schemas.microsoft.com/office/drawing/2014/main" id="{6E18843E-3873-45EA-A857-16007227646C}"/>
              </a:ext>
            </a:extLst>
          </p:cNvPr>
          <p:cNvSpPr>
            <a:spLocks/>
          </p:cNvSpPr>
          <p:nvPr/>
        </p:nvSpPr>
        <p:spPr bwMode="auto">
          <a:xfrm>
            <a:off x="100003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69">
            <a:extLst>
              <a:ext uri="{FF2B5EF4-FFF2-40B4-BE49-F238E27FC236}">
                <a16:creationId xmlns:a16="http://schemas.microsoft.com/office/drawing/2014/main" id="{0C1C1F3E-EBD0-43B2-8204-4F096AB2C327}"/>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5" name="Freeform 270">
            <a:extLst>
              <a:ext uri="{FF2B5EF4-FFF2-40B4-BE49-F238E27FC236}">
                <a16:creationId xmlns:a16="http://schemas.microsoft.com/office/drawing/2014/main" id="{A656956D-795D-4B62-A31A-6AEFEEAA42BF}"/>
              </a:ext>
            </a:extLst>
          </p:cNvPr>
          <p:cNvSpPr>
            <a:spLocks/>
          </p:cNvSpPr>
          <p:nvPr/>
        </p:nvSpPr>
        <p:spPr bwMode="auto">
          <a:xfrm>
            <a:off x="103820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271">
            <a:extLst>
              <a:ext uri="{FF2B5EF4-FFF2-40B4-BE49-F238E27FC236}">
                <a16:creationId xmlns:a16="http://schemas.microsoft.com/office/drawing/2014/main" id="{E442D7CA-FD38-4DC1-8AC2-FAC0A5D2F8E4}"/>
              </a:ext>
            </a:extLst>
          </p:cNvPr>
          <p:cNvSpPr>
            <a:spLocks/>
          </p:cNvSpPr>
          <p:nvPr/>
        </p:nvSpPr>
        <p:spPr bwMode="auto">
          <a:xfrm>
            <a:off x="104832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272">
            <a:extLst>
              <a:ext uri="{FF2B5EF4-FFF2-40B4-BE49-F238E27FC236}">
                <a16:creationId xmlns:a16="http://schemas.microsoft.com/office/drawing/2014/main" id="{3A2E527B-0961-4384-B654-85477CD58BAB}"/>
              </a:ext>
            </a:extLst>
          </p:cNvPr>
          <p:cNvSpPr>
            <a:spLocks/>
          </p:cNvSpPr>
          <p:nvPr/>
        </p:nvSpPr>
        <p:spPr bwMode="auto">
          <a:xfrm>
            <a:off x="103698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273">
            <a:extLst>
              <a:ext uri="{FF2B5EF4-FFF2-40B4-BE49-F238E27FC236}">
                <a16:creationId xmlns:a16="http://schemas.microsoft.com/office/drawing/2014/main" id="{0C7E33EC-5BC4-41BF-B323-83BD6DC6C9C1}"/>
              </a:ext>
            </a:extLst>
          </p:cNvPr>
          <p:cNvSpPr>
            <a:spLocks/>
          </p:cNvSpPr>
          <p:nvPr/>
        </p:nvSpPr>
        <p:spPr bwMode="auto">
          <a:xfrm>
            <a:off x="107514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274">
            <a:extLst>
              <a:ext uri="{FF2B5EF4-FFF2-40B4-BE49-F238E27FC236}">
                <a16:creationId xmlns:a16="http://schemas.microsoft.com/office/drawing/2014/main" id="{53592B6E-E0BB-4A34-9298-E6BACD96D949}"/>
              </a:ext>
            </a:extLst>
          </p:cNvPr>
          <p:cNvSpPr>
            <a:spLocks/>
          </p:cNvSpPr>
          <p:nvPr/>
        </p:nvSpPr>
        <p:spPr bwMode="auto">
          <a:xfrm>
            <a:off x="106006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275">
            <a:extLst>
              <a:ext uri="{FF2B5EF4-FFF2-40B4-BE49-F238E27FC236}">
                <a16:creationId xmlns:a16="http://schemas.microsoft.com/office/drawing/2014/main" id="{EB5ACD66-2B91-4645-9072-F5505E93252E}"/>
              </a:ext>
            </a:extLst>
          </p:cNvPr>
          <p:cNvSpPr>
            <a:spLocks/>
          </p:cNvSpPr>
          <p:nvPr/>
        </p:nvSpPr>
        <p:spPr bwMode="auto">
          <a:xfrm>
            <a:off x="106461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276">
            <a:extLst>
              <a:ext uri="{FF2B5EF4-FFF2-40B4-BE49-F238E27FC236}">
                <a16:creationId xmlns:a16="http://schemas.microsoft.com/office/drawing/2014/main" id="{7DEEBF90-7A90-480F-B608-A3B575B1EA33}"/>
              </a:ext>
            </a:extLst>
          </p:cNvPr>
          <p:cNvSpPr>
            <a:spLocks/>
          </p:cNvSpPr>
          <p:nvPr/>
        </p:nvSpPr>
        <p:spPr bwMode="auto">
          <a:xfrm>
            <a:off x="103890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277">
            <a:extLst>
              <a:ext uri="{FF2B5EF4-FFF2-40B4-BE49-F238E27FC236}">
                <a16:creationId xmlns:a16="http://schemas.microsoft.com/office/drawing/2014/main" id="{B8044F09-9735-44BB-8253-64945B4DA3E1}"/>
              </a:ext>
            </a:extLst>
          </p:cNvPr>
          <p:cNvSpPr>
            <a:spLocks/>
          </p:cNvSpPr>
          <p:nvPr/>
        </p:nvSpPr>
        <p:spPr bwMode="auto">
          <a:xfrm>
            <a:off x="104680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278">
            <a:extLst>
              <a:ext uri="{FF2B5EF4-FFF2-40B4-BE49-F238E27FC236}">
                <a16:creationId xmlns:a16="http://schemas.microsoft.com/office/drawing/2014/main" id="{FC58B97E-1CE9-4528-A49C-65AF1CCCB090}"/>
              </a:ext>
            </a:extLst>
          </p:cNvPr>
          <p:cNvSpPr>
            <a:spLocks/>
          </p:cNvSpPr>
          <p:nvPr/>
        </p:nvSpPr>
        <p:spPr bwMode="auto">
          <a:xfrm>
            <a:off x="104133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279">
            <a:extLst>
              <a:ext uri="{FF2B5EF4-FFF2-40B4-BE49-F238E27FC236}">
                <a16:creationId xmlns:a16="http://schemas.microsoft.com/office/drawing/2014/main" id="{2642E179-D60B-43B0-A46E-6E636C5BBE7D}"/>
              </a:ext>
            </a:extLst>
          </p:cNvPr>
          <p:cNvSpPr>
            <a:spLocks/>
          </p:cNvSpPr>
          <p:nvPr/>
        </p:nvSpPr>
        <p:spPr bwMode="auto">
          <a:xfrm>
            <a:off x="104133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280">
            <a:extLst>
              <a:ext uri="{FF2B5EF4-FFF2-40B4-BE49-F238E27FC236}">
                <a16:creationId xmlns:a16="http://schemas.microsoft.com/office/drawing/2014/main" id="{9CF72EBE-74B1-4E11-941E-565D520B56A7}"/>
              </a:ext>
            </a:extLst>
          </p:cNvPr>
          <p:cNvSpPr>
            <a:spLocks/>
          </p:cNvSpPr>
          <p:nvPr/>
        </p:nvSpPr>
        <p:spPr bwMode="auto">
          <a:xfrm>
            <a:off x="95388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6" name="Freeform 281">
            <a:extLst>
              <a:ext uri="{FF2B5EF4-FFF2-40B4-BE49-F238E27FC236}">
                <a16:creationId xmlns:a16="http://schemas.microsoft.com/office/drawing/2014/main" id="{5BE26235-2A69-43B2-942E-3B857A8FEC0E}"/>
              </a:ext>
            </a:extLst>
          </p:cNvPr>
          <p:cNvSpPr>
            <a:spLocks/>
          </p:cNvSpPr>
          <p:nvPr/>
        </p:nvSpPr>
        <p:spPr bwMode="auto">
          <a:xfrm>
            <a:off x="95944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7" name="Freeform 282">
            <a:extLst>
              <a:ext uri="{FF2B5EF4-FFF2-40B4-BE49-F238E27FC236}">
                <a16:creationId xmlns:a16="http://schemas.microsoft.com/office/drawing/2014/main" id="{B0FCCBB6-7CAF-4206-A190-67C0F737CD93}"/>
              </a:ext>
            </a:extLst>
          </p:cNvPr>
          <p:cNvSpPr>
            <a:spLocks/>
          </p:cNvSpPr>
          <p:nvPr/>
        </p:nvSpPr>
        <p:spPr bwMode="auto">
          <a:xfrm>
            <a:off x="97139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8" name="Freeform 283">
            <a:extLst>
              <a:ext uri="{FF2B5EF4-FFF2-40B4-BE49-F238E27FC236}">
                <a16:creationId xmlns:a16="http://schemas.microsoft.com/office/drawing/2014/main" id="{377A3227-7D3E-4527-828B-65A36A35D1B7}"/>
              </a:ext>
            </a:extLst>
          </p:cNvPr>
          <p:cNvSpPr>
            <a:spLocks/>
          </p:cNvSpPr>
          <p:nvPr/>
        </p:nvSpPr>
        <p:spPr bwMode="auto">
          <a:xfrm>
            <a:off x="97139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284">
            <a:extLst>
              <a:ext uri="{FF2B5EF4-FFF2-40B4-BE49-F238E27FC236}">
                <a16:creationId xmlns:a16="http://schemas.microsoft.com/office/drawing/2014/main" id="{CD50D538-2BFC-454C-B010-98F44E45A887}"/>
              </a:ext>
            </a:extLst>
          </p:cNvPr>
          <p:cNvSpPr>
            <a:spLocks/>
          </p:cNvSpPr>
          <p:nvPr/>
        </p:nvSpPr>
        <p:spPr bwMode="auto">
          <a:xfrm>
            <a:off x="97695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00" name="Freeform 285">
            <a:extLst>
              <a:ext uri="{FF2B5EF4-FFF2-40B4-BE49-F238E27FC236}">
                <a16:creationId xmlns:a16="http://schemas.microsoft.com/office/drawing/2014/main" id="{67D1FC50-4C95-43BC-A53D-61B443D0ED25}"/>
              </a:ext>
            </a:extLst>
          </p:cNvPr>
          <p:cNvSpPr>
            <a:spLocks noEditPoints="1"/>
          </p:cNvSpPr>
          <p:nvPr/>
        </p:nvSpPr>
        <p:spPr bwMode="auto">
          <a:xfrm>
            <a:off x="55323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1" name="Freeform 286">
            <a:extLst>
              <a:ext uri="{FF2B5EF4-FFF2-40B4-BE49-F238E27FC236}">
                <a16:creationId xmlns:a16="http://schemas.microsoft.com/office/drawing/2014/main" id="{EA1C98E6-325D-4D64-8107-0F460EACE9E0}"/>
              </a:ext>
            </a:extLst>
          </p:cNvPr>
          <p:cNvSpPr>
            <a:spLocks/>
          </p:cNvSpPr>
          <p:nvPr/>
        </p:nvSpPr>
        <p:spPr bwMode="auto">
          <a:xfrm>
            <a:off x="62196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2" name="Freeform 287">
            <a:extLst>
              <a:ext uri="{FF2B5EF4-FFF2-40B4-BE49-F238E27FC236}">
                <a16:creationId xmlns:a16="http://schemas.microsoft.com/office/drawing/2014/main" id="{CB7A3404-5511-472D-A221-7FA4306126E6}"/>
              </a:ext>
            </a:extLst>
          </p:cNvPr>
          <p:cNvSpPr>
            <a:spLocks/>
          </p:cNvSpPr>
          <p:nvPr/>
        </p:nvSpPr>
        <p:spPr bwMode="auto">
          <a:xfrm>
            <a:off x="62166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3" name="Freeform 288">
            <a:extLst>
              <a:ext uri="{FF2B5EF4-FFF2-40B4-BE49-F238E27FC236}">
                <a16:creationId xmlns:a16="http://schemas.microsoft.com/office/drawing/2014/main" id="{47055D6D-FDB5-47E1-B681-39E637093600}"/>
              </a:ext>
            </a:extLst>
          </p:cNvPr>
          <p:cNvSpPr>
            <a:spLocks/>
          </p:cNvSpPr>
          <p:nvPr/>
        </p:nvSpPr>
        <p:spPr bwMode="auto">
          <a:xfrm>
            <a:off x="54219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4" name="Freeform 289">
            <a:extLst>
              <a:ext uri="{FF2B5EF4-FFF2-40B4-BE49-F238E27FC236}">
                <a16:creationId xmlns:a16="http://schemas.microsoft.com/office/drawing/2014/main" id="{E495165D-DB32-420C-BD9B-10B109EC7612}"/>
              </a:ext>
            </a:extLst>
          </p:cNvPr>
          <p:cNvSpPr>
            <a:spLocks/>
          </p:cNvSpPr>
          <p:nvPr/>
        </p:nvSpPr>
        <p:spPr bwMode="auto">
          <a:xfrm>
            <a:off x="54199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5" name="Freeform 290">
            <a:extLst>
              <a:ext uri="{FF2B5EF4-FFF2-40B4-BE49-F238E27FC236}">
                <a16:creationId xmlns:a16="http://schemas.microsoft.com/office/drawing/2014/main" id="{FEE89B12-99C1-48FB-A904-B30CAC07A8D5}"/>
              </a:ext>
            </a:extLst>
          </p:cNvPr>
          <p:cNvSpPr>
            <a:spLocks/>
          </p:cNvSpPr>
          <p:nvPr/>
        </p:nvSpPr>
        <p:spPr bwMode="auto">
          <a:xfrm>
            <a:off x="58106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6" name="Freeform 291">
            <a:extLst>
              <a:ext uri="{FF2B5EF4-FFF2-40B4-BE49-F238E27FC236}">
                <a16:creationId xmlns:a16="http://schemas.microsoft.com/office/drawing/2014/main" id="{97CD0373-9526-470B-B818-32C5177C7269}"/>
              </a:ext>
            </a:extLst>
          </p:cNvPr>
          <p:cNvSpPr>
            <a:spLocks/>
          </p:cNvSpPr>
          <p:nvPr/>
        </p:nvSpPr>
        <p:spPr bwMode="auto">
          <a:xfrm>
            <a:off x="58066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7" name="Freeform 292">
            <a:extLst>
              <a:ext uri="{FF2B5EF4-FFF2-40B4-BE49-F238E27FC236}">
                <a16:creationId xmlns:a16="http://schemas.microsoft.com/office/drawing/2014/main" id="{E6F85A5C-289C-4620-AE5A-8961802E9FF2}"/>
              </a:ext>
            </a:extLst>
          </p:cNvPr>
          <p:cNvSpPr>
            <a:spLocks/>
          </p:cNvSpPr>
          <p:nvPr/>
        </p:nvSpPr>
        <p:spPr bwMode="auto">
          <a:xfrm>
            <a:off x="53167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363">
            <a:extLst>
              <a:ext uri="{FF2B5EF4-FFF2-40B4-BE49-F238E27FC236}">
                <a16:creationId xmlns:a16="http://schemas.microsoft.com/office/drawing/2014/main" id="{001A7FA8-F004-425A-A968-906DF13E0CDE}"/>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5" name="Rectangle 364">
            <a:extLst>
              <a:ext uri="{FF2B5EF4-FFF2-40B4-BE49-F238E27FC236}">
                <a16:creationId xmlns:a16="http://schemas.microsoft.com/office/drawing/2014/main" id="{53CD2F8A-230D-4A18-BC8E-E316370E08D8}"/>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366" name="Rectangle 365">
            <a:extLst>
              <a:ext uri="{FF2B5EF4-FFF2-40B4-BE49-F238E27FC236}">
                <a16:creationId xmlns:a16="http://schemas.microsoft.com/office/drawing/2014/main" id="{90D77775-1C8A-412B-96D5-A76D665A6727}"/>
              </a:ext>
            </a:extLst>
          </p:cNvPr>
          <p:cNvSpPr/>
          <p:nvPr/>
        </p:nvSpPr>
        <p:spPr bwMode="gray">
          <a:xfrm>
            <a:off x="9084251" y="6456765"/>
            <a:ext cx="2788788" cy="30974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143281939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4448654"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Ruta crítica para participar</a:t>
            </a:r>
          </a:p>
        </p:txBody>
      </p:sp>
      <p:cxnSp>
        <p:nvCxnSpPr>
          <p:cNvPr id="24" name="直接连接符 5">
            <a:extLst>
              <a:ext uri="{FF2B5EF4-FFF2-40B4-BE49-F238E27FC236}">
                <a16:creationId xmlns:a16="http://schemas.microsoft.com/office/drawing/2014/main" id="{A40B8857-E54E-486E-9A58-D7AD43A4880D}"/>
              </a:ext>
            </a:extLst>
          </p:cNvPr>
          <p:cNvCxnSpPr/>
          <p:nvPr/>
        </p:nvCxnSpPr>
        <p:spPr>
          <a:xfrm>
            <a:off x="565924" y="3731969"/>
            <a:ext cx="11124426" cy="0"/>
          </a:xfrm>
          <a:prstGeom prst="line">
            <a:avLst/>
          </a:prstGeom>
          <a:ln w="19050">
            <a:solidFill>
              <a:srgbClr val="53565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5" name="椭圆 30">
            <a:extLst>
              <a:ext uri="{FF2B5EF4-FFF2-40B4-BE49-F238E27FC236}">
                <a16:creationId xmlns:a16="http://schemas.microsoft.com/office/drawing/2014/main" id="{10116A16-E654-45E6-8C67-B4AD38F94231}"/>
              </a:ext>
            </a:extLst>
          </p:cNvPr>
          <p:cNvSpPr/>
          <p:nvPr/>
        </p:nvSpPr>
        <p:spPr bwMode="gray">
          <a:xfrm>
            <a:off x="1279308" y="3573166"/>
            <a:ext cx="238621" cy="317605"/>
          </a:xfrm>
          <a:prstGeom prst="ellipse">
            <a:avLst/>
          </a:prstGeom>
          <a:solidFill>
            <a:schemeClr val="bg1"/>
          </a:solidFill>
          <a:ln w="28575"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26" name="Rounded Rectangle 136">
            <a:extLst>
              <a:ext uri="{FF2B5EF4-FFF2-40B4-BE49-F238E27FC236}">
                <a16:creationId xmlns:a16="http://schemas.microsoft.com/office/drawing/2014/main" id="{5E6EFAFB-FAE5-4BA2-A0F9-B0AF5158838F}"/>
              </a:ext>
            </a:extLst>
          </p:cNvPr>
          <p:cNvSpPr/>
          <p:nvPr/>
        </p:nvSpPr>
        <p:spPr>
          <a:xfrm>
            <a:off x="1213513" y="844402"/>
            <a:ext cx="2820361" cy="505958"/>
          </a:xfrm>
          <a:prstGeom prst="roundRect">
            <a:avLst>
              <a:gd name="adj" fmla="val 50000"/>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Verdana" panose="020B0604030504040204" pitchFamily="34" charset="0"/>
                <a:ea typeface="Verdana" panose="020B0604030504040204" pitchFamily="34" charset="0"/>
              </a:rPr>
              <a:t>Calificación para la prueba piloto</a:t>
            </a:r>
            <a:endParaRPr lang="en-US" sz="1400" b="1" dirty="0">
              <a:solidFill>
                <a:schemeClr val="bg1"/>
              </a:solidFill>
              <a:latin typeface="Verdana" panose="020B0604030504040204" pitchFamily="34" charset="0"/>
              <a:ea typeface="Verdana" panose="020B0604030504040204" pitchFamily="34" charset="0"/>
            </a:endParaRPr>
          </a:p>
        </p:txBody>
      </p:sp>
      <p:sp>
        <p:nvSpPr>
          <p:cNvPr id="27" name="Oval 137">
            <a:extLst>
              <a:ext uri="{FF2B5EF4-FFF2-40B4-BE49-F238E27FC236}">
                <a16:creationId xmlns:a16="http://schemas.microsoft.com/office/drawing/2014/main" id="{0B254BF8-FB81-4549-B726-92BA6DE79F9D}"/>
              </a:ext>
            </a:extLst>
          </p:cNvPr>
          <p:cNvSpPr/>
          <p:nvPr/>
        </p:nvSpPr>
        <p:spPr>
          <a:xfrm>
            <a:off x="1266419" y="921423"/>
            <a:ext cx="264404" cy="351922"/>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8" name="Oval 138">
            <a:extLst>
              <a:ext uri="{FF2B5EF4-FFF2-40B4-BE49-F238E27FC236}">
                <a16:creationId xmlns:a16="http://schemas.microsoft.com/office/drawing/2014/main" id="{AA86249F-EC75-4A65-8BEB-4F2A79776A06}"/>
              </a:ext>
            </a:extLst>
          </p:cNvPr>
          <p:cNvSpPr/>
          <p:nvPr/>
        </p:nvSpPr>
        <p:spPr>
          <a:xfrm>
            <a:off x="1307716" y="976389"/>
            <a:ext cx="181810" cy="241989"/>
          </a:xfrm>
          <a:prstGeom prst="ellipse">
            <a:avLst/>
          </a:prstGeom>
          <a:solidFill>
            <a:srgbClr val="0000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9" name="Rectangle 160">
            <a:extLst>
              <a:ext uri="{FF2B5EF4-FFF2-40B4-BE49-F238E27FC236}">
                <a16:creationId xmlns:a16="http://schemas.microsoft.com/office/drawing/2014/main" id="{94056E94-8318-4658-8DD9-277E4A425AD8}"/>
              </a:ext>
            </a:extLst>
          </p:cNvPr>
          <p:cNvSpPr/>
          <p:nvPr/>
        </p:nvSpPr>
        <p:spPr>
          <a:xfrm>
            <a:off x="1640622" y="1447826"/>
            <a:ext cx="2625687" cy="2115964"/>
          </a:xfrm>
          <a:prstGeom prst="rect">
            <a:avLst/>
          </a:prstGeom>
        </p:spPr>
        <p:txBody>
          <a:bodyPr wrap="square" lIns="18288" tIns="0" rIns="18288" bIns="0">
            <a:spAutoFit/>
          </a:bodyPr>
          <a:lstStyle/>
          <a:p>
            <a:pPr lvl="0">
              <a:defRPr/>
            </a:pPr>
            <a:r>
              <a:rPr kumimoji="1" lang="es-MX" altLang="ja-JP" sz="1250" dirty="0">
                <a:solidFill>
                  <a:prstClr val="black"/>
                </a:solidFill>
                <a:latin typeface="Verdana" panose="020B0604030504040204" pitchFamily="34" charset="0"/>
                <a:ea typeface="Verdana" panose="020B0604030504040204" pitchFamily="34" charset="0"/>
              </a:rPr>
              <a:t>Se debe llevar a cabo un </a:t>
            </a:r>
            <a:r>
              <a:rPr kumimoji="1" lang="es-MX" altLang="ja-JP" sz="1250" b="1" dirty="0">
                <a:solidFill>
                  <a:prstClr val="black"/>
                </a:solidFill>
                <a:latin typeface="Verdana" panose="020B0604030504040204" pitchFamily="34" charset="0"/>
                <a:ea typeface="Verdana" panose="020B0604030504040204" pitchFamily="34" charset="0"/>
              </a:rPr>
              <a:t>análisis de razonabilidad</a:t>
            </a:r>
            <a:r>
              <a:rPr kumimoji="1" lang="es-MX" altLang="ja-JP" sz="1250" dirty="0">
                <a:solidFill>
                  <a:prstClr val="black"/>
                </a:solidFill>
                <a:latin typeface="Verdana" panose="020B0604030504040204" pitchFamily="34" charset="0"/>
                <a:ea typeface="Verdana" panose="020B0604030504040204" pitchFamily="34" charset="0"/>
              </a:rPr>
              <a:t>, en donde se revise el grado de cumplimiento actual de los procesos de la Compañía, es decir, medir el nivel de avance  con respecto al nivel de implementación del sistema de gestión de cumplimento, a efecto de responder la </a:t>
            </a:r>
            <a:r>
              <a:rPr kumimoji="1" lang="es-MX" altLang="ja-JP" sz="1250" b="1" dirty="0">
                <a:solidFill>
                  <a:prstClr val="black"/>
                </a:solidFill>
                <a:latin typeface="Verdana" panose="020B0604030504040204" pitchFamily="34" charset="0"/>
                <a:ea typeface="Verdana" panose="020B0604030504040204" pitchFamily="34" charset="0"/>
              </a:rPr>
              <a:t>autoevaluación</a:t>
            </a:r>
            <a:r>
              <a:rPr kumimoji="1" lang="es-MX" altLang="ja-JP" sz="1250" dirty="0">
                <a:solidFill>
                  <a:prstClr val="black"/>
                </a:solidFill>
                <a:latin typeface="Verdana" panose="020B0604030504040204" pitchFamily="34" charset="0"/>
                <a:ea typeface="Verdana" panose="020B0604030504040204" pitchFamily="34" charset="0"/>
              </a:rPr>
              <a:t>. </a:t>
            </a:r>
          </a:p>
        </p:txBody>
      </p:sp>
      <p:sp>
        <p:nvSpPr>
          <p:cNvPr id="30" name="椭圆 28">
            <a:extLst>
              <a:ext uri="{FF2B5EF4-FFF2-40B4-BE49-F238E27FC236}">
                <a16:creationId xmlns:a16="http://schemas.microsoft.com/office/drawing/2014/main" id="{7936DCAA-9545-4BE6-B2AF-8FA7A2597D82}"/>
              </a:ext>
            </a:extLst>
          </p:cNvPr>
          <p:cNvSpPr/>
          <p:nvPr/>
        </p:nvSpPr>
        <p:spPr bwMode="gray">
          <a:xfrm>
            <a:off x="1327032" y="3636688"/>
            <a:ext cx="143173" cy="190563"/>
          </a:xfrm>
          <a:prstGeom prst="ellipse">
            <a:avLst/>
          </a:prstGeom>
          <a:solidFill>
            <a:schemeClr val="bg1"/>
          </a:solidFill>
          <a:ln w="19050" cmpd="sng" algn="ctr">
            <a:solidFill>
              <a:srgbClr val="000000"/>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1" name="椭圆 45">
            <a:extLst>
              <a:ext uri="{FF2B5EF4-FFF2-40B4-BE49-F238E27FC236}">
                <a16:creationId xmlns:a16="http://schemas.microsoft.com/office/drawing/2014/main" id="{505BD8F3-EF22-4EF2-AB3E-AD896C91D4CE}"/>
              </a:ext>
            </a:extLst>
          </p:cNvPr>
          <p:cNvSpPr/>
          <p:nvPr/>
        </p:nvSpPr>
        <p:spPr bwMode="gray">
          <a:xfrm>
            <a:off x="5107546" y="3573166"/>
            <a:ext cx="238621" cy="317605"/>
          </a:xfrm>
          <a:prstGeom prst="ellipse">
            <a:avLst/>
          </a:prstGeom>
          <a:solidFill>
            <a:schemeClr val="bg1"/>
          </a:solidFill>
          <a:ln w="28575"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2" name="Rounded Rectangle 136">
            <a:extLst>
              <a:ext uri="{FF2B5EF4-FFF2-40B4-BE49-F238E27FC236}">
                <a16:creationId xmlns:a16="http://schemas.microsoft.com/office/drawing/2014/main" id="{30EBA4CF-5267-416D-B13E-B34CA4C7008B}"/>
              </a:ext>
            </a:extLst>
          </p:cNvPr>
          <p:cNvSpPr/>
          <p:nvPr/>
        </p:nvSpPr>
        <p:spPr>
          <a:xfrm>
            <a:off x="5041752" y="844402"/>
            <a:ext cx="2820361" cy="505958"/>
          </a:xfrm>
          <a:prstGeom prst="roundRect">
            <a:avLst>
              <a:gd name="adj" fmla="val 50000"/>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Verdana" panose="020B0604030504040204" pitchFamily="34" charset="0"/>
                <a:ea typeface="Verdana" panose="020B0604030504040204" pitchFamily="34" charset="0"/>
              </a:rPr>
              <a:t>Implementación de acciones correctivas.</a:t>
            </a:r>
            <a:endParaRPr lang="es-MX" sz="1400" dirty="0">
              <a:solidFill>
                <a:schemeClr val="bg1"/>
              </a:solidFill>
              <a:latin typeface="Verdana" panose="020B0604030504040204" pitchFamily="34" charset="0"/>
              <a:ea typeface="Verdana" panose="020B0604030504040204" pitchFamily="34" charset="0"/>
            </a:endParaRPr>
          </a:p>
        </p:txBody>
      </p:sp>
      <p:sp>
        <p:nvSpPr>
          <p:cNvPr id="33" name="Oval 137">
            <a:extLst>
              <a:ext uri="{FF2B5EF4-FFF2-40B4-BE49-F238E27FC236}">
                <a16:creationId xmlns:a16="http://schemas.microsoft.com/office/drawing/2014/main" id="{BD1EC3AD-D70B-4BED-815D-F7987E393B87}"/>
              </a:ext>
            </a:extLst>
          </p:cNvPr>
          <p:cNvSpPr/>
          <p:nvPr/>
        </p:nvSpPr>
        <p:spPr>
          <a:xfrm>
            <a:off x="5094658" y="921423"/>
            <a:ext cx="264404" cy="351922"/>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4" name="Oval 138">
            <a:extLst>
              <a:ext uri="{FF2B5EF4-FFF2-40B4-BE49-F238E27FC236}">
                <a16:creationId xmlns:a16="http://schemas.microsoft.com/office/drawing/2014/main" id="{2BA0AC91-F925-484B-92AC-211B855A34BF}"/>
              </a:ext>
            </a:extLst>
          </p:cNvPr>
          <p:cNvSpPr/>
          <p:nvPr/>
        </p:nvSpPr>
        <p:spPr>
          <a:xfrm>
            <a:off x="5135955" y="976389"/>
            <a:ext cx="181810" cy="241989"/>
          </a:xfrm>
          <a:prstGeom prst="ellipse">
            <a:avLst/>
          </a:prstGeom>
          <a:solidFill>
            <a:srgbClr val="97999B"/>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5" name="Rectangle 160">
            <a:extLst>
              <a:ext uri="{FF2B5EF4-FFF2-40B4-BE49-F238E27FC236}">
                <a16:creationId xmlns:a16="http://schemas.microsoft.com/office/drawing/2014/main" id="{649A7B1D-AE97-490E-955B-71FEDA70FC1B}"/>
              </a:ext>
            </a:extLst>
          </p:cNvPr>
          <p:cNvSpPr/>
          <p:nvPr/>
        </p:nvSpPr>
        <p:spPr>
          <a:xfrm>
            <a:off x="5468862" y="1424675"/>
            <a:ext cx="2625684" cy="1938992"/>
          </a:xfrm>
          <a:prstGeom prst="rect">
            <a:avLst/>
          </a:prstGeom>
        </p:spPr>
        <p:txBody>
          <a:bodyPr wrap="square" lIns="18288" tIns="0" rIns="18288" bIns="0">
            <a:spAutoFit/>
          </a:bodyPr>
          <a:lstStyle/>
          <a:p>
            <a:pPr lvl="0">
              <a:defRPr/>
            </a:pPr>
            <a:r>
              <a:rPr kumimoji="1" lang="es-MX" altLang="ja-JP" sz="1400" b="1" dirty="0">
                <a:latin typeface="Verdana" panose="020B0604030504040204" pitchFamily="34" charset="0"/>
                <a:ea typeface="Verdana" panose="020B0604030504040204" pitchFamily="34" charset="0"/>
              </a:rPr>
              <a:t>Una vez identificadas las áreas de oportunidad o mejoras en los procesos </a:t>
            </a:r>
            <a:r>
              <a:rPr kumimoji="1" lang="es-MX" altLang="ja-JP" sz="1400" dirty="0">
                <a:latin typeface="Verdana" panose="020B0604030504040204" pitchFamily="34" charset="0"/>
                <a:ea typeface="Verdana" panose="020B0604030504040204" pitchFamily="34" charset="0"/>
              </a:rPr>
              <a:t>actualmente implementados por las Compañías, se requiere </a:t>
            </a:r>
            <a:r>
              <a:rPr kumimoji="1" lang="es-MX" altLang="ja-JP" sz="1400" b="1" dirty="0">
                <a:latin typeface="Verdana" panose="020B0604030504040204" pitchFamily="34" charset="0"/>
                <a:ea typeface="Verdana" panose="020B0604030504040204" pitchFamily="34" charset="0"/>
              </a:rPr>
              <a:t>implementar un plan de autocorrección para mitigar cualquier riesgo identificado.</a:t>
            </a:r>
          </a:p>
        </p:txBody>
      </p:sp>
      <p:sp>
        <p:nvSpPr>
          <p:cNvPr id="36" name="椭圆 53">
            <a:extLst>
              <a:ext uri="{FF2B5EF4-FFF2-40B4-BE49-F238E27FC236}">
                <a16:creationId xmlns:a16="http://schemas.microsoft.com/office/drawing/2014/main" id="{5E064AB5-6BAB-4F8A-BD12-8670A746EAFF}"/>
              </a:ext>
            </a:extLst>
          </p:cNvPr>
          <p:cNvSpPr/>
          <p:nvPr/>
        </p:nvSpPr>
        <p:spPr bwMode="gray">
          <a:xfrm>
            <a:off x="5155271" y="3636688"/>
            <a:ext cx="143173" cy="190563"/>
          </a:xfrm>
          <a:prstGeom prst="ellipse">
            <a:avLst/>
          </a:prstGeom>
          <a:solidFill>
            <a:schemeClr val="bg1"/>
          </a:solidFill>
          <a:ln w="19050" cmpd="sng" algn="ctr">
            <a:solidFill>
              <a:srgbClr val="97999B"/>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7" name="椭圆 65">
            <a:extLst>
              <a:ext uri="{FF2B5EF4-FFF2-40B4-BE49-F238E27FC236}">
                <a16:creationId xmlns:a16="http://schemas.microsoft.com/office/drawing/2014/main" id="{333DDB9A-F2D0-44D2-949F-74257D74B09E}"/>
              </a:ext>
            </a:extLst>
          </p:cNvPr>
          <p:cNvSpPr/>
          <p:nvPr/>
        </p:nvSpPr>
        <p:spPr bwMode="gray">
          <a:xfrm>
            <a:off x="8935784" y="3573166"/>
            <a:ext cx="238621" cy="317605"/>
          </a:xfrm>
          <a:prstGeom prst="ellipse">
            <a:avLst/>
          </a:prstGeom>
          <a:solidFill>
            <a:schemeClr val="bg1"/>
          </a:solidFill>
          <a:ln w="28575"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38" name="Rounded Rectangle 136">
            <a:extLst>
              <a:ext uri="{FF2B5EF4-FFF2-40B4-BE49-F238E27FC236}">
                <a16:creationId xmlns:a16="http://schemas.microsoft.com/office/drawing/2014/main" id="{894B351E-45E5-4276-9DB2-4EDA5E8DB58F}"/>
              </a:ext>
            </a:extLst>
          </p:cNvPr>
          <p:cNvSpPr/>
          <p:nvPr/>
        </p:nvSpPr>
        <p:spPr>
          <a:xfrm>
            <a:off x="8869989" y="844402"/>
            <a:ext cx="2820361" cy="505958"/>
          </a:xfrm>
          <a:prstGeom prst="roundRect">
            <a:avLst>
              <a:gd name="adj" fmla="val 50000"/>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Verdana" panose="020B0604030504040204" pitchFamily="34" charset="0"/>
                <a:ea typeface="Verdana" panose="020B0604030504040204" pitchFamily="34" charset="0"/>
              </a:rPr>
              <a:t>Participación</a:t>
            </a:r>
            <a:endParaRPr lang="es-MX" sz="1400" dirty="0">
              <a:solidFill>
                <a:schemeClr val="bg1"/>
              </a:solidFill>
              <a:latin typeface="Verdana" panose="020B0604030504040204" pitchFamily="34" charset="0"/>
              <a:ea typeface="Verdana" panose="020B0604030504040204" pitchFamily="34" charset="0"/>
            </a:endParaRPr>
          </a:p>
        </p:txBody>
      </p:sp>
      <p:sp>
        <p:nvSpPr>
          <p:cNvPr id="39" name="Oval 137">
            <a:extLst>
              <a:ext uri="{FF2B5EF4-FFF2-40B4-BE49-F238E27FC236}">
                <a16:creationId xmlns:a16="http://schemas.microsoft.com/office/drawing/2014/main" id="{5C04A133-B8BD-43AB-BA45-C58CB6BC1D13}"/>
              </a:ext>
            </a:extLst>
          </p:cNvPr>
          <p:cNvSpPr/>
          <p:nvPr/>
        </p:nvSpPr>
        <p:spPr>
          <a:xfrm>
            <a:off x="8922895" y="921423"/>
            <a:ext cx="264404" cy="351922"/>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0" name="Oval 138">
            <a:extLst>
              <a:ext uri="{FF2B5EF4-FFF2-40B4-BE49-F238E27FC236}">
                <a16:creationId xmlns:a16="http://schemas.microsoft.com/office/drawing/2014/main" id="{DEAF8A07-4DF8-4F17-8069-94EE600B7209}"/>
              </a:ext>
            </a:extLst>
          </p:cNvPr>
          <p:cNvSpPr/>
          <p:nvPr/>
        </p:nvSpPr>
        <p:spPr>
          <a:xfrm>
            <a:off x="8964193" y="976389"/>
            <a:ext cx="181810" cy="241989"/>
          </a:xfrm>
          <a:prstGeom prst="ellipse">
            <a:avLst/>
          </a:prstGeom>
          <a:solidFill>
            <a:srgbClr val="43B02A"/>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41" name="Rectangle 160">
            <a:extLst>
              <a:ext uri="{FF2B5EF4-FFF2-40B4-BE49-F238E27FC236}">
                <a16:creationId xmlns:a16="http://schemas.microsoft.com/office/drawing/2014/main" id="{DCD882F9-49D1-40AE-9B46-7C460DA3DB0D}"/>
              </a:ext>
            </a:extLst>
          </p:cNvPr>
          <p:cNvSpPr/>
          <p:nvPr/>
        </p:nvSpPr>
        <p:spPr>
          <a:xfrm>
            <a:off x="9252227" y="1411574"/>
            <a:ext cx="2241853" cy="2308324"/>
          </a:xfrm>
          <a:prstGeom prst="rect">
            <a:avLst/>
          </a:prstGeom>
        </p:spPr>
        <p:txBody>
          <a:bodyPr wrap="square" lIns="18288" tIns="0" rIns="18288" bIns="0">
            <a:spAutoFit/>
          </a:bodyPr>
          <a:lstStyle/>
          <a:p>
            <a:r>
              <a:rPr lang="es-MX" sz="1250" dirty="0">
                <a:latin typeface="Verdana" panose="020B0604030504040204" pitchFamily="34" charset="0"/>
                <a:ea typeface="Verdana" panose="020B0604030504040204" pitchFamily="34" charset="0"/>
              </a:rPr>
              <a:t>Participar activamente con las autoridades, </a:t>
            </a:r>
            <a:r>
              <a:rPr lang="es-MX" sz="1250" b="1" dirty="0">
                <a:latin typeface="Verdana" panose="020B0604030504040204" pitchFamily="34" charset="0"/>
                <a:ea typeface="Verdana" panose="020B0604030504040204" pitchFamily="34" charset="0"/>
              </a:rPr>
              <a:t>en un ejercicio de comunicación de dos vías</a:t>
            </a:r>
            <a:r>
              <a:rPr lang="es-MX" sz="1250" dirty="0">
                <a:latin typeface="Verdana" panose="020B0604030504040204" pitchFamily="34" charset="0"/>
                <a:ea typeface="Verdana" panose="020B0604030504040204" pitchFamily="34" charset="0"/>
              </a:rPr>
              <a:t>, por un lado </a:t>
            </a:r>
            <a:r>
              <a:rPr lang="es-MX" sz="1250" b="1" dirty="0">
                <a:latin typeface="Verdana" panose="020B0604030504040204" pitchFamily="34" charset="0"/>
                <a:ea typeface="Verdana" panose="020B0604030504040204" pitchFamily="34" charset="0"/>
              </a:rPr>
              <a:t>exponiendo los retos</a:t>
            </a:r>
            <a:r>
              <a:rPr lang="es-MX" sz="1250" dirty="0">
                <a:latin typeface="Verdana" panose="020B0604030504040204" pitchFamily="34" charset="0"/>
                <a:ea typeface="Verdana" panose="020B0604030504040204" pitchFamily="34" charset="0"/>
              </a:rPr>
              <a:t> de las operaciones para</a:t>
            </a:r>
            <a:r>
              <a:rPr lang="es-MX" sz="1250" b="1" dirty="0">
                <a:latin typeface="Verdana" panose="020B0604030504040204" pitchFamily="34" charset="0"/>
                <a:ea typeface="Verdana" panose="020B0604030504040204" pitchFamily="34" charset="0"/>
              </a:rPr>
              <a:t> simplificarlas </a:t>
            </a:r>
            <a:r>
              <a:rPr lang="es-MX" sz="1250" dirty="0">
                <a:latin typeface="Verdana" panose="020B0604030504040204" pitchFamily="34" charset="0"/>
                <a:ea typeface="Verdana" panose="020B0604030504040204" pitchFamily="34" charset="0"/>
              </a:rPr>
              <a:t>y por el otro, </a:t>
            </a:r>
            <a:r>
              <a:rPr lang="es-MX" sz="1250" b="1" dirty="0">
                <a:latin typeface="Verdana" panose="020B0604030504040204" pitchFamily="34" charset="0"/>
                <a:ea typeface="Verdana" panose="020B0604030504040204" pitchFamily="34" charset="0"/>
              </a:rPr>
              <a:t>identificando temas que pudieran convertirse en beneficios.</a:t>
            </a:r>
          </a:p>
        </p:txBody>
      </p:sp>
      <p:cxnSp>
        <p:nvCxnSpPr>
          <p:cNvPr id="42" name="Straight Connector 154">
            <a:extLst>
              <a:ext uri="{FF2B5EF4-FFF2-40B4-BE49-F238E27FC236}">
                <a16:creationId xmlns:a16="http://schemas.microsoft.com/office/drawing/2014/main" id="{152014E1-A510-459B-B729-5E0674DAF600}"/>
              </a:ext>
            </a:extLst>
          </p:cNvPr>
          <p:cNvCxnSpPr/>
          <p:nvPr/>
        </p:nvCxnSpPr>
        <p:spPr>
          <a:xfrm flipV="1">
            <a:off x="1398621" y="1341999"/>
            <a:ext cx="1" cy="2095955"/>
          </a:xfrm>
          <a:prstGeom prst="line">
            <a:avLst/>
          </a:prstGeom>
          <a:ln w="19050" cap="rnd">
            <a:solidFill>
              <a:srgbClr val="000000"/>
            </a:solidFill>
            <a:prstDash val="sysDot"/>
          </a:ln>
        </p:spPr>
        <p:style>
          <a:lnRef idx="1">
            <a:schemeClr val="accent1"/>
          </a:lnRef>
          <a:fillRef idx="0">
            <a:schemeClr val="accent1"/>
          </a:fillRef>
          <a:effectRef idx="0">
            <a:schemeClr val="accent1"/>
          </a:effectRef>
          <a:fontRef idx="minor">
            <a:schemeClr val="tx1"/>
          </a:fontRef>
        </p:style>
      </p:cxnSp>
      <p:sp>
        <p:nvSpPr>
          <p:cNvPr id="43" name="Rectangle 167">
            <a:extLst>
              <a:ext uri="{FF2B5EF4-FFF2-40B4-BE49-F238E27FC236}">
                <a16:creationId xmlns:a16="http://schemas.microsoft.com/office/drawing/2014/main" id="{FA90778C-5921-49E6-BD32-002D34A89BBE}"/>
              </a:ext>
            </a:extLst>
          </p:cNvPr>
          <p:cNvSpPr/>
          <p:nvPr/>
        </p:nvSpPr>
        <p:spPr>
          <a:xfrm rot="16200000">
            <a:off x="423641" y="2281802"/>
            <a:ext cx="1490298" cy="215444"/>
          </a:xfrm>
          <a:prstGeom prst="rect">
            <a:avLst/>
          </a:prstGeom>
        </p:spPr>
        <p:txBody>
          <a:bodyPr wrap="square" lIns="0" tIns="0" rIns="0" bIns="0">
            <a:spAutoFit/>
          </a:bodyPr>
          <a:lstStyle/>
          <a:p>
            <a:pPr algn="ctr"/>
            <a:r>
              <a:rPr lang="en-GB" sz="1400" b="1" u="sng" dirty="0" err="1">
                <a:solidFill>
                  <a:srgbClr val="000000"/>
                </a:solidFill>
                <a:latin typeface="Verdana" panose="020B0604030504040204" pitchFamily="34" charset="0"/>
                <a:ea typeface="Verdana" panose="020B0604030504040204" pitchFamily="34" charset="0"/>
              </a:rPr>
              <a:t>Fase</a:t>
            </a:r>
            <a:r>
              <a:rPr lang="en-GB" sz="1400" b="1" u="sng" dirty="0">
                <a:solidFill>
                  <a:srgbClr val="000000"/>
                </a:solidFill>
                <a:latin typeface="Verdana" panose="020B0604030504040204" pitchFamily="34" charset="0"/>
                <a:ea typeface="Verdana" panose="020B0604030504040204" pitchFamily="34" charset="0"/>
              </a:rPr>
              <a:t> 1</a:t>
            </a:r>
            <a:endParaRPr lang="en-US" sz="1400" b="1" u="sng" dirty="0">
              <a:solidFill>
                <a:srgbClr val="000000"/>
              </a:solidFill>
              <a:latin typeface="Verdana" panose="020B0604030504040204" pitchFamily="34" charset="0"/>
              <a:ea typeface="Verdana" panose="020B0604030504040204" pitchFamily="34" charset="0"/>
            </a:endParaRPr>
          </a:p>
        </p:txBody>
      </p:sp>
      <p:cxnSp>
        <p:nvCxnSpPr>
          <p:cNvPr id="44" name="Straight Connector 154">
            <a:extLst>
              <a:ext uri="{FF2B5EF4-FFF2-40B4-BE49-F238E27FC236}">
                <a16:creationId xmlns:a16="http://schemas.microsoft.com/office/drawing/2014/main" id="{7957BADC-DACE-4AEF-ABEB-ADF8A9758E7B}"/>
              </a:ext>
            </a:extLst>
          </p:cNvPr>
          <p:cNvCxnSpPr/>
          <p:nvPr/>
        </p:nvCxnSpPr>
        <p:spPr>
          <a:xfrm flipV="1">
            <a:off x="5226859" y="1341999"/>
            <a:ext cx="1" cy="2095955"/>
          </a:xfrm>
          <a:prstGeom prst="line">
            <a:avLst/>
          </a:prstGeom>
          <a:ln w="19050" cap="rnd">
            <a:solidFill>
              <a:srgbClr val="97999B"/>
            </a:solidFill>
            <a:prstDash val="sysDot"/>
          </a:ln>
        </p:spPr>
        <p:style>
          <a:lnRef idx="1">
            <a:schemeClr val="accent1"/>
          </a:lnRef>
          <a:fillRef idx="0">
            <a:schemeClr val="accent1"/>
          </a:fillRef>
          <a:effectRef idx="0">
            <a:schemeClr val="accent1"/>
          </a:effectRef>
          <a:fontRef idx="minor">
            <a:schemeClr val="tx1"/>
          </a:fontRef>
        </p:style>
      </p:cxnSp>
      <p:sp>
        <p:nvSpPr>
          <p:cNvPr id="45" name="Rectangle 167">
            <a:extLst>
              <a:ext uri="{FF2B5EF4-FFF2-40B4-BE49-F238E27FC236}">
                <a16:creationId xmlns:a16="http://schemas.microsoft.com/office/drawing/2014/main" id="{A69165D7-5CCA-4FB2-9C66-4BE89551CA8D}"/>
              </a:ext>
            </a:extLst>
          </p:cNvPr>
          <p:cNvSpPr/>
          <p:nvPr/>
        </p:nvSpPr>
        <p:spPr>
          <a:xfrm rot="16200000">
            <a:off x="4251880" y="2281802"/>
            <a:ext cx="1490298" cy="215444"/>
          </a:xfrm>
          <a:prstGeom prst="rect">
            <a:avLst/>
          </a:prstGeom>
        </p:spPr>
        <p:txBody>
          <a:bodyPr wrap="square" lIns="0" tIns="0" rIns="0" bIns="0">
            <a:spAutoFit/>
          </a:bodyPr>
          <a:lstStyle/>
          <a:p>
            <a:pPr algn="ctr"/>
            <a:r>
              <a:rPr lang="es-MX" sz="1400" b="1" u="sng" dirty="0">
                <a:solidFill>
                  <a:srgbClr val="75787B"/>
                </a:solidFill>
                <a:latin typeface="Verdana" panose="020B0604030504040204" pitchFamily="34" charset="0"/>
                <a:ea typeface="Verdana" panose="020B0604030504040204" pitchFamily="34" charset="0"/>
              </a:rPr>
              <a:t>Fase 3 </a:t>
            </a:r>
            <a:endParaRPr lang="es-MX" sz="1400" u="sng" dirty="0">
              <a:solidFill>
                <a:srgbClr val="75787B"/>
              </a:solidFill>
              <a:latin typeface="Verdana" panose="020B0604030504040204" pitchFamily="34" charset="0"/>
              <a:ea typeface="Verdana" panose="020B0604030504040204" pitchFamily="34" charset="0"/>
            </a:endParaRPr>
          </a:p>
        </p:txBody>
      </p:sp>
      <p:cxnSp>
        <p:nvCxnSpPr>
          <p:cNvPr id="46" name="Straight Connector 154">
            <a:extLst>
              <a:ext uri="{FF2B5EF4-FFF2-40B4-BE49-F238E27FC236}">
                <a16:creationId xmlns:a16="http://schemas.microsoft.com/office/drawing/2014/main" id="{0842D8DB-0519-4653-974F-465452B47B6B}"/>
              </a:ext>
            </a:extLst>
          </p:cNvPr>
          <p:cNvCxnSpPr/>
          <p:nvPr/>
        </p:nvCxnSpPr>
        <p:spPr>
          <a:xfrm flipV="1">
            <a:off x="9055097" y="1341999"/>
            <a:ext cx="1" cy="2095955"/>
          </a:xfrm>
          <a:prstGeom prst="line">
            <a:avLst/>
          </a:prstGeom>
          <a:ln w="19050" cap="rnd">
            <a:solidFill>
              <a:srgbClr val="43B02A"/>
            </a:solidFill>
            <a:prstDash val="sysDot"/>
          </a:ln>
        </p:spPr>
        <p:style>
          <a:lnRef idx="1">
            <a:schemeClr val="accent1"/>
          </a:lnRef>
          <a:fillRef idx="0">
            <a:schemeClr val="accent1"/>
          </a:fillRef>
          <a:effectRef idx="0">
            <a:schemeClr val="accent1"/>
          </a:effectRef>
          <a:fontRef idx="minor">
            <a:schemeClr val="tx1"/>
          </a:fontRef>
        </p:style>
      </p:cxnSp>
      <p:sp>
        <p:nvSpPr>
          <p:cNvPr id="47" name="Rectangle 167">
            <a:extLst>
              <a:ext uri="{FF2B5EF4-FFF2-40B4-BE49-F238E27FC236}">
                <a16:creationId xmlns:a16="http://schemas.microsoft.com/office/drawing/2014/main" id="{21466558-7AC3-454C-9FC6-4A41896D827C}"/>
              </a:ext>
            </a:extLst>
          </p:cNvPr>
          <p:cNvSpPr/>
          <p:nvPr/>
        </p:nvSpPr>
        <p:spPr>
          <a:xfrm rot="16200000">
            <a:off x="8080117" y="2281802"/>
            <a:ext cx="1490298" cy="215444"/>
          </a:xfrm>
          <a:prstGeom prst="rect">
            <a:avLst/>
          </a:prstGeom>
        </p:spPr>
        <p:txBody>
          <a:bodyPr wrap="square" lIns="0" tIns="0" rIns="0" bIns="0">
            <a:spAutoFit/>
          </a:bodyPr>
          <a:lstStyle/>
          <a:p>
            <a:pPr algn="ctr"/>
            <a:r>
              <a:rPr lang="es-MX" sz="1400" b="1" u="sng" dirty="0">
                <a:solidFill>
                  <a:srgbClr val="43B02A"/>
                </a:solidFill>
                <a:latin typeface="Verdana" panose="020B0604030504040204" pitchFamily="34" charset="0"/>
                <a:ea typeface="Verdana" panose="020B0604030504040204" pitchFamily="34" charset="0"/>
              </a:rPr>
              <a:t>Fase 5</a:t>
            </a:r>
          </a:p>
        </p:txBody>
      </p:sp>
      <p:sp>
        <p:nvSpPr>
          <p:cNvPr id="48" name="椭圆 73">
            <a:extLst>
              <a:ext uri="{FF2B5EF4-FFF2-40B4-BE49-F238E27FC236}">
                <a16:creationId xmlns:a16="http://schemas.microsoft.com/office/drawing/2014/main" id="{0703FE2E-BB87-40D5-AE86-69294A66AB13}"/>
              </a:ext>
            </a:extLst>
          </p:cNvPr>
          <p:cNvSpPr/>
          <p:nvPr/>
        </p:nvSpPr>
        <p:spPr bwMode="gray">
          <a:xfrm>
            <a:off x="8983508" y="3636688"/>
            <a:ext cx="143173" cy="190563"/>
          </a:xfrm>
          <a:prstGeom prst="ellipse">
            <a:avLst/>
          </a:prstGeom>
          <a:solidFill>
            <a:schemeClr val="bg1"/>
          </a:solidFill>
          <a:ln w="19050" cmpd="sng" algn="ctr">
            <a:solidFill>
              <a:srgbClr val="43B02A"/>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49" name="椭圆 75">
            <a:extLst>
              <a:ext uri="{FF2B5EF4-FFF2-40B4-BE49-F238E27FC236}">
                <a16:creationId xmlns:a16="http://schemas.microsoft.com/office/drawing/2014/main" id="{312DD21D-77B8-4F59-A64D-28D1D72C1C72}"/>
              </a:ext>
            </a:extLst>
          </p:cNvPr>
          <p:cNvSpPr/>
          <p:nvPr/>
        </p:nvSpPr>
        <p:spPr bwMode="gray">
          <a:xfrm>
            <a:off x="2874199" y="3573166"/>
            <a:ext cx="238621" cy="317605"/>
          </a:xfrm>
          <a:prstGeom prst="ellipse">
            <a:avLst/>
          </a:prstGeom>
          <a:solidFill>
            <a:schemeClr val="bg1"/>
          </a:solidFill>
          <a:ln w="28575"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0" name="Rounded Rectangle 136">
            <a:extLst>
              <a:ext uri="{FF2B5EF4-FFF2-40B4-BE49-F238E27FC236}">
                <a16:creationId xmlns:a16="http://schemas.microsoft.com/office/drawing/2014/main" id="{D1ABE53B-307D-4424-BE92-8E7E8C48D157}"/>
              </a:ext>
            </a:extLst>
          </p:cNvPr>
          <p:cNvSpPr/>
          <p:nvPr/>
        </p:nvSpPr>
        <p:spPr>
          <a:xfrm>
            <a:off x="2808404" y="5979077"/>
            <a:ext cx="2820361" cy="505958"/>
          </a:xfrm>
          <a:prstGeom prst="roundRect">
            <a:avLst>
              <a:gd name="adj" fmla="val 50000"/>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Verdana" panose="020B0604030504040204" pitchFamily="34" charset="0"/>
                <a:ea typeface="Verdana" panose="020B0604030504040204" pitchFamily="34" charset="0"/>
              </a:rPr>
              <a:t>Revisión de procesos</a:t>
            </a:r>
            <a:endParaRPr lang="es-MX" sz="1400" dirty="0">
              <a:solidFill>
                <a:schemeClr val="bg1"/>
              </a:solidFill>
              <a:latin typeface="Verdana" panose="020B0604030504040204" pitchFamily="34" charset="0"/>
              <a:ea typeface="Verdana" panose="020B0604030504040204" pitchFamily="34" charset="0"/>
            </a:endParaRPr>
          </a:p>
        </p:txBody>
      </p:sp>
      <p:sp>
        <p:nvSpPr>
          <p:cNvPr id="51" name="Oval 137">
            <a:extLst>
              <a:ext uri="{FF2B5EF4-FFF2-40B4-BE49-F238E27FC236}">
                <a16:creationId xmlns:a16="http://schemas.microsoft.com/office/drawing/2014/main" id="{C90BE67D-55C7-4C07-A098-578FE4B8F2FE}"/>
              </a:ext>
            </a:extLst>
          </p:cNvPr>
          <p:cNvSpPr/>
          <p:nvPr/>
        </p:nvSpPr>
        <p:spPr>
          <a:xfrm>
            <a:off x="2861310" y="6232560"/>
            <a:ext cx="264404" cy="351922"/>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2" name="Oval 138">
            <a:extLst>
              <a:ext uri="{FF2B5EF4-FFF2-40B4-BE49-F238E27FC236}">
                <a16:creationId xmlns:a16="http://schemas.microsoft.com/office/drawing/2014/main" id="{2105BA39-DBA6-4F37-9959-4798F5596AB5}"/>
              </a:ext>
            </a:extLst>
          </p:cNvPr>
          <p:cNvSpPr/>
          <p:nvPr/>
        </p:nvSpPr>
        <p:spPr>
          <a:xfrm>
            <a:off x="2902607" y="6287526"/>
            <a:ext cx="181810" cy="241989"/>
          </a:xfrm>
          <a:prstGeom prst="ellipse">
            <a:avLst/>
          </a:prstGeom>
          <a:solidFill>
            <a:schemeClr val="accent3"/>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3" name="Rectangle 160">
            <a:extLst>
              <a:ext uri="{FF2B5EF4-FFF2-40B4-BE49-F238E27FC236}">
                <a16:creationId xmlns:a16="http://schemas.microsoft.com/office/drawing/2014/main" id="{2F377721-4C28-4A1D-B12E-1C08F91DEEF5}"/>
              </a:ext>
            </a:extLst>
          </p:cNvPr>
          <p:cNvSpPr/>
          <p:nvPr/>
        </p:nvSpPr>
        <p:spPr>
          <a:xfrm>
            <a:off x="3156737" y="3910392"/>
            <a:ext cx="2980707" cy="1538883"/>
          </a:xfrm>
          <a:prstGeom prst="rect">
            <a:avLst/>
          </a:prstGeom>
        </p:spPr>
        <p:txBody>
          <a:bodyPr wrap="square" lIns="18288" tIns="0" rIns="18288" bIns="0">
            <a:spAutoFit/>
          </a:bodyPr>
          <a:lstStyle/>
          <a:p>
            <a:r>
              <a:rPr lang="es-MX" sz="1250" b="1" dirty="0">
                <a:latin typeface="Verdana" panose="020B0604030504040204" pitchFamily="34" charset="0"/>
                <a:ea typeface="Verdana" panose="020B0604030504040204" pitchFamily="34" charset="0"/>
              </a:rPr>
              <a:t>Se requiere revisar los procesos en materia de comercio exterior</a:t>
            </a:r>
            <a:r>
              <a:rPr lang="es-MX" sz="1250" dirty="0">
                <a:latin typeface="Verdana" panose="020B0604030504040204" pitchFamily="34" charset="0"/>
                <a:ea typeface="Verdana" panose="020B0604030504040204" pitchFamily="34" charset="0"/>
              </a:rPr>
              <a:t>, fiscal y laboral, para identificar brechas entre el deber ser, el entendimiento y lo que finalmente se ejecuta, </a:t>
            </a:r>
            <a:r>
              <a:rPr lang="es-MX" sz="1250" b="1" dirty="0">
                <a:latin typeface="Verdana" panose="020B0604030504040204" pitchFamily="34" charset="0"/>
                <a:ea typeface="Verdana" panose="020B0604030504040204" pitchFamily="34" charset="0"/>
              </a:rPr>
              <a:t>a efecto de resolver  áreas de oportunidad o mejor los procesos.</a:t>
            </a:r>
          </a:p>
        </p:txBody>
      </p:sp>
      <p:sp>
        <p:nvSpPr>
          <p:cNvPr id="54" name="Rectangle 167">
            <a:extLst>
              <a:ext uri="{FF2B5EF4-FFF2-40B4-BE49-F238E27FC236}">
                <a16:creationId xmlns:a16="http://schemas.microsoft.com/office/drawing/2014/main" id="{7D05E10F-7C0A-4C23-B47B-5F90D99BBE67}"/>
              </a:ext>
            </a:extLst>
          </p:cNvPr>
          <p:cNvSpPr/>
          <p:nvPr/>
        </p:nvSpPr>
        <p:spPr>
          <a:xfrm rot="16200000">
            <a:off x="2258901" y="4717242"/>
            <a:ext cx="1009564" cy="215444"/>
          </a:xfrm>
          <a:prstGeom prst="rect">
            <a:avLst/>
          </a:prstGeom>
        </p:spPr>
        <p:txBody>
          <a:bodyPr wrap="square" lIns="0" tIns="0" rIns="0" bIns="0">
            <a:spAutoFit/>
          </a:bodyPr>
          <a:lstStyle/>
          <a:p>
            <a:pPr algn="ctr"/>
            <a:r>
              <a:rPr lang="es-MX" sz="1400" b="1" u="sng" dirty="0">
                <a:solidFill>
                  <a:schemeClr val="accent3"/>
                </a:solidFill>
                <a:latin typeface="Verdana" panose="020B0604030504040204" pitchFamily="34" charset="0"/>
                <a:ea typeface="Verdana" panose="020B0604030504040204" pitchFamily="34" charset="0"/>
              </a:rPr>
              <a:t>Fase 2</a:t>
            </a:r>
          </a:p>
        </p:txBody>
      </p:sp>
      <p:sp>
        <p:nvSpPr>
          <p:cNvPr id="55" name="椭圆 83">
            <a:extLst>
              <a:ext uri="{FF2B5EF4-FFF2-40B4-BE49-F238E27FC236}">
                <a16:creationId xmlns:a16="http://schemas.microsoft.com/office/drawing/2014/main" id="{BAAFE6F6-27BB-44C3-B343-C09AE8EAC9EF}"/>
              </a:ext>
            </a:extLst>
          </p:cNvPr>
          <p:cNvSpPr/>
          <p:nvPr/>
        </p:nvSpPr>
        <p:spPr bwMode="gray">
          <a:xfrm>
            <a:off x="2921924" y="3636688"/>
            <a:ext cx="143173" cy="190563"/>
          </a:xfrm>
          <a:prstGeom prst="ellipse">
            <a:avLst/>
          </a:prstGeom>
          <a:solidFill>
            <a:schemeClr val="bg1"/>
          </a:solidFill>
          <a:ln w="19050" cmpd="sng" algn="ctr">
            <a:solidFill>
              <a:schemeClr val="accent3"/>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6" name="椭圆 85">
            <a:extLst>
              <a:ext uri="{FF2B5EF4-FFF2-40B4-BE49-F238E27FC236}">
                <a16:creationId xmlns:a16="http://schemas.microsoft.com/office/drawing/2014/main" id="{EBF89B41-A140-42AB-90BD-1790B5192DFD}"/>
              </a:ext>
            </a:extLst>
          </p:cNvPr>
          <p:cNvSpPr/>
          <p:nvPr/>
        </p:nvSpPr>
        <p:spPr bwMode="gray">
          <a:xfrm>
            <a:off x="6702438" y="3573166"/>
            <a:ext cx="238621" cy="317605"/>
          </a:xfrm>
          <a:prstGeom prst="ellipse">
            <a:avLst/>
          </a:prstGeom>
          <a:solidFill>
            <a:schemeClr val="bg1"/>
          </a:solidFill>
          <a:ln w="28575"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57" name="Rounded Rectangle 136">
            <a:extLst>
              <a:ext uri="{FF2B5EF4-FFF2-40B4-BE49-F238E27FC236}">
                <a16:creationId xmlns:a16="http://schemas.microsoft.com/office/drawing/2014/main" id="{0A6F9843-52CA-492B-ABCF-F73B49DCE600}"/>
              </a:ext>
            </a:extLst>
          </p:cNvPr>
          <p:cNvSpPr/>
          <p:nvPr/>
        </p:nvSpPr>
        <p:spPr>
          <a:xfrm>
            <a:off x="6636642" y="5979077"/>
            <a:ext cx="2820361" cy="505958"/>
          </a:xfrm>
          <a:prstGeom prst="roundRect">
            <a:avLst>
              <a:gd name="adj" fmla="val 50000"/>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b="1" dirty="0">
                <a:solidFill>
                  <a:schemeClr val="bg1"/>
                </a:solidFill>
                <a:latin typeface="Verdana" panose="020B0604030504040204" pitchFamily="34" charset="0"/>
                <a:ea typeface="Verdana" panose="020B0604030504040204" pitchFamily="34" charset="0"/>
              </a:rPr>
              <a:t>Plan de mejora continua. </a:t>
            </a:r>
            <a:endParaRPr lang="es-MX" sz="1400" dirty="0">
              <a:solidFill>
                <a:schemeClr val="bg1"/>
              </a:solidFill>
              <a:latin typeface="Verdana" panose="020B0604030504040204" pitchFamily="34" charset="0"/>
              <a:ea typeface="Verdana" panose="020B0604030504040204" pitchFamily="34" charset="0"/>
            </a:endParaRPr>
          </a:p>
        </p:txBody>
      </p:sp>
      <p:sp>
        <p:nvSpPr>
          <p:cNvPr id="58" name="Oval 137">
            <a:extLst>
              <a:ext uri="{FF2B5EF4-FFF2-40B4-BE49-F238E27FC236}">
                <a16:creationId xmlns:a16="http://schemas.microsoft.com/office/drawing/2014/main" id="{3DD13227-B0A5-450D-903F-C4F04A7341C5}"/>
              </a:ext>
            </a:extLst>
          </p:cNvPr>
          <p:cNvSpPr/>
          <p:nvPr/>
        </p:nvSpPr>
        <p:spPr>
          <a:xfrm>
            <a:off x="6689549" y="6056098"/>
            <a:ext cx="264404" cy="351922"/>
          </a:xfrm>
          <a:prstGeom prst="ellips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9" name="Oval 138">
            <a:extLst>
              <a:ext uri="{FF2B5EF4-FFF2-40B4-BE49-F238E27FC236}">
                <a16:creationId xmlns:a16="http://schemas.microsoft.com/office/drawing/2014/main" id="{25012967-DC5A-4F48-96FC-BB914680497A}"/>
              </a:ext>
            </a:extLst>
          </p:cNvPr>
          <p:cNvSpPr/>
          <p:nvPr/>
        </p:nvSpPr>
        <p:spPr>
          <a:xfrm>
            <a:off x="6730846" y="6111064"/>
            <a:ext cx="181810" cy="241989"/>
          </a:xfrm>
          <a:prstGeom prst="ellipse">
            <a:avLst/>
          </a:prstGeom>
          <a:solidFill>
            <a:srgbClr val="81BC0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60" name="Straight Connector 154">
            <a:extLst>
              <a:ext uri="{FF2B5EF4-FFF2-40B4-BE49-F238E27FC236}">
                <a16:creationId xmlns:a16="http://schemas.microsoft.com/office/drawing/2014/main" id="{1D47355A-985A-452D-9AED-1A4A2CFFFA14}"/>
              </a:ext>
            </a:extLst>
          </p:cNvPr>
          <p:cNvCxnSpPr/>
          <p:nvPr/>
        </p:nvCxnSpPr>
        <p:spPr>
          <a:xfrm flipV="1">
            <a:off x="2993511" y="3734523"/>
            <a:ext cx="1" cy="2491482"/>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154">
            <a:extLst>
              <a:ext uri="{FF2B5EF4-FFF2-40B4-BE49-F238E27FC236}">
                <a16:creationId xmlns:a16="http://schemas.microsoft.com/office/drawing/2014/main" id="{D468E488-2DFA-4D2A-91DB-C3B17FEA40D2}"/>
              </a:ext>
            </a:extLst>
          </p:cNvPr>
          <p:cNvCxnSpPr/>
          <p:nvPr/>
        </p:nvCxnSpPr>
        <p:spPr>
          <a:xfrm flipV="1">
            <a:off x="6821750" y="3734523"/>
            <a:ext cx="1" cy="2491482"/>
          </a:xfrm>
          <a:prstGeom prst="line">
            <a:avLst/>
          </a:prstGeom>
          <a:ln w="19050" cap="rnd">
            <a:solidFill>
              <a:srgbClr val="81BC00"/>
            </a:solidFill>
            <a:prstDash val="sysDot"/>
          </a:ln>
        </p:spPr>
        <p:style>
          <a:lnRef idx="1">
            <a:schemeClr val="accent1"/>
          </a:lnRef>
          <a:fillRef idx="0">
            <a:schemeClr val="accent1"/>
          </a:fillRef>
          <a:effectRef idx="0">
            <a:schemeClr val="accent1"/>
          </a:effectRef>
          <a:fontRef idx="minor">
            <a:schemeClr val="tx1"/>
          </a:fontRef>
        </p:style>
      </p:cxnSp>
      <p:sp>
        <p:nvSpPr>
          <p:cNvPr id="62" name="Rectangle 160">
            <a:extLst>
              <a:ext uri="{FF2B5EF4-FFF2-40B4-BE49-F238E27FC236}">
                <a16:creationId xmlns:a16="http://schemas.microsoft.com/office/drawing/2014/main" id="{8F846537-D679-4D40-A485-98C3393E83A8}"/>
              </a:ext>
            </a:extLst>
          </p:cNvPr>
          <p:cNvSpPr/>
          <p:nvPr/>
        </p:nvSpPr>
        <p:spPr>
          <a:xfrm>
            <a:off x="7017453" y="3840944"/>
            <a:ext cx="2757214" cy="2154436"/>
          </a:xfrm>
          <a:prstGeom prst="rect">
            <a:avLst/>
          </a:prstGeom>
        </p:spPr>
        <p:txBody>
          <a:bodyPr wrap="square" lIns="18288" tIns="0" rIns="18288" bIns="0">
            <a:spAutoFit/>
          </a:bodyPr>
          <a:lstStyle/>
          <a:p>
            <a:pPr lvl="0">
              <a:defRPr/>
            </a:pPr>
            <a:r>
              <a:rPr kumimoji="1" lang="es-MX" altLang="ja-JP" sz="1400" dirty="0">
                <a:latin typeface="Verdana" panose="020B0604030504040204" pitchFamily="34" charset="0"/>
                <a:ea typeface="Verdana" panose="020B0604030504040204" pitchFamily="34" charset="0"/>
              </a:rPr>
              <a:t>Elaboraríamos un </a:t>
            </a:r>
            <a:r>
              <a:rPr kumimoji="1" lang="es-MX" altLang="ja-JP" sz="1400" b="1" dirty="0">
                <a:latin typeface="Verdana" panose="020B0604030504040204" pitchFamily="34" charset="0"/>
                <a:ea typeface="Verdana" panose="020B0604030504040204" pitchFamily="34" charset="0"/>
              </a:rPr>
              <a:t>plan de mejora continua</a:t>
            </a:r>
            <a:r>
              <a:rPr kumimoji="1" lang="es-MX" altLang="ja-JP" sz="1400" dirty="0">
                <a:latin typeface="Verdana" panose="020B0604030504040204" pitchFamily="34" charset="0"/>
                <a:ea typeface="Verdana" panose="020B0604030504040204" pitchFamily="34" charset="0"/>
              </a:rPr>
              <a:t> en los procesos llevados a cabo, a efecto de estar en constante actualización, así como para optimizar aquellos que puedan automatizarse, </a:t>
            </a:r>
            <a:r>
              <a:rPr kumimoji="1" lang="es-MX" altLang="ja-JP" sz="1400" b="1" dirty="0">
                <a:latin typeface="Verdana" panose="020B0604030504040204" pitchFamily="34" charset="0"/>
                <a:ea typeface="Verdana" panose="020B0604030504040204" pitchFamily="34" charset="0"/>
              </a:rPr>
              <a:t>con la finalidad de reducir costos, errores e incumplimiento en los mismos.</a:t>
            </a:r>
          </a:p>
        </p:txBody>
      </p:sp>
      <p:sp>
        <p:nvSpPr>
          <p:cNvPr id="63" name="Rectangle 167">
            <a:extLst>
              <a:ext uri="{FF2B5EF4-FFF2-40B4-BE49-F238E27FC236}">
                <a16:creationId xmlns:a16="http://schemas.microsoft.com/office/drawing/2014/main" id="{8BE8F8B8-0256-4F32-9B21-379454076C22}"/>
              </a:ext>
            </a:extLst>
          </p:cNvPr>
          <p:cNvSpPr/>
          <p:nvPr/>
        </p:nvSpPr>
        <p:spPr>
          <a:xfrm rot="16200000">
            <a:off x="6087140" y="4717242"/>
            <a:ext cx="1009564" cy="215444"/>
          </a:xfrm>
          <a:prstGeom prst="rect">
            <a:avLst/>
          </a:prstGeom>
        </p:spPr>
        <p:txBody>
          <a:bodyPr wrap="square" lIns="0" tIns="0" rIns="0" bIns="0">
            <a:spAutoFit/>
          </a:bodyPr>
          <a:lstStyle/>
          <a:p>
            <a:pPr algn="ctr"/>
            <a:r>
              <a:rPr lang="es-MX" sz="1400" b="1" u="sng" dirty="0">
                <a:solidFill>
                  <a:srgbClr val="86BC25"/>
                </a:solidFill>
                <a:latin typeface="Verdana" panose="020B0604030504040204" pitchFamily="34" charset="0"/>
                <a:ea typeface="Verdana" panose="020B0604030504040204" pitchFamily="34" charset="0"/>
              </a:rPr>
              <a:t>Fase 4</a:t>
            </a:r>
            <a:endParaRPr lang="es-MX" sz="1400" u="sng" dirty="0">
              <a:solidFill>
                <a:srgbClr val="86BC25"/>
              </a:solidFill>
              <a:latin typeface="Verdana" panose="020B0604030504040204" pitchFamily="34" charset="0"/>
              <a:ea typeface="Verdana" panose="020B0604030504040204" pitchFamily="34" charset="0"/>
            </a:endParaRPr>
          </a:p>
        </p:txBody>
      </p:sp>
      <p:sp>
        <p:nvSpPr>
          <p:cNvPr id="64" name="椭圆 93">
            <a:extLst>
              <a:ext uri="{FF2B5EF4-FFF2-40B4-BE49-F238E27FC236}">
                <a16:creationId xmlns:a16="http://schemas.microsoft.com/office/drawing/2014/main" id="{807B8717-ED9B-4075-9779-4444C3A55CC4}"/>
              </a:ext>
            </a:extLst>
          </p:cNvPr>
          <p:cNvSpPr/>
          <p:nvPr/>
        </p:nvSpPr>
        <p:spPr bwMode="gray">
          <a:xfrm>
            <a:off x="6750162" y="3636688"/>
            <a:ext cx="143173" cy="190563"/>
          </a:xfrm>
          <a:prstGeom prst="ellipse">
            <a:avLst/>
          </a:prstGeom>
          <a:solidFill>
            <a:schemeClr val="bg1"/>
          </a:solidFill>
          <a:ln w="19050" cmpd="sng" algn="ctr">
            <a:solidFill>
              <a:srgbClr val="86BC25"/>
            </a:solidFill>
            <a:prstDash val="solid"/>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endParaRPr>
          </a:p>
        </p:txBody>
      </p:sp>
      <p:sp>
        <p:nvSpPr>
          <p:cNvPr id="65" name="Rectangle 64">
            <a:extLst>
              <a:ext uri="{FF2B5EF4-FFF2-40B4-BE49-F238E27FC236}">
                <a16:creationId xmlns:a16="http://schemas.microsoft.com/office/drawing/2014/main" id="{814650E6-625F-49F4-BE44-24CC84F10996}"/>
              </a:ext>
            </a:extLst>
          </p:cNvPr>
          <p:cNvSpPr/>
          <p:nvPr/>
        </p:nvSpPr>
        <p:spPr bwMode="gray">
          <a:xfrm>
            <a:off x="340417" y="6495000"/>
            <a:ext cx="2788788" cy="317606"/>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6" name="Rectangle 65">
            <a:extLst>
              <a:ext uri="{FF2B5EF4-FFF2-40B4-BE49-F238E27FC236}">
                <a16:creationId xmlns:a16="http://schemas.microsoft.com/office/drawing/2014/main" id="{7C0A56F9-BEE4-44B1-8D01-383E3BBE1B9E}"/>
              </a:ext>
            </a:extLst>
          </p:cNvPr>
          <p:cNvSpPr/>
          <p:nvPr/>
        </p:nvSpPr>
        <p:spPr>
          <a:xfrm>
            <a:off x="535104" y="6506348"/>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7" name="Rectangle 66">
            <a:extLst>
              <a:ext uri="{FF2B5EF4-FFF2-40B4-BE49-F238E27FC236}">
                <a16:creationId xmlns:a16="http://schemas.microsoft.com/office/drawing/2014/main" id="{13D8B65F-369D-4695-815F-0C645AA0F1D7}"/>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115154051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dirty="0"/>
              <a:t>Cambios que impactan </a:t>
            </a:r>
          </a:p>
        </p:txBody>
      </p:sp>
      <p:sp>
        <p:nvSpPr>
          <p:cNvPr id="37" name="Title 14"/>
          <p:cNvSpPr>
            <a:spLocks noGrp="1"/>
          </p:cNvSpPr>
          <p:nvPr>
            <p:ph type="title"/>
          </p:nvPr>
        </p:nvSpPr>
        <p:spPr/>
        <p:txBody>
          <a:bodyPr/>
          <a:lstStyle/>
          <a:p>
            <a:r>
              <a:rPr lang="es-MX" dirty="0"/>
              <a:t>Novedades en materia de Comercio Exterior</a:t>
            </a: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849109"/>
            <a:ext cx="6927274" cy="257250"/>
          </a:xfrm>
          <a:prstGeom prst="rect">
            <a:avLst/>
          </a:prstGeom>
        </p:spPr>
        <p:txBody>
          <a:bodyPr wrap="square" lIns="0" tIns="0" rIns="0" bIns="0">
            <a:spAutoFit/>
          </a:bodyPr>
          <a:lstStyle/>
          <a:p>
            <a:pPr lvl="0">
              <a:lnSpc>
                <a:spcPct val="110000"/>
              </a:lnSpc>
            </a:pPr>
            <a:r>
              <a:rPr lang="es-MX" sz="1600" b="1" dirty="0">
                <a:solidFill>
                  <a:srgbClr val="40972B"/>
                </a:solidFill>
                <a:latin typeface="+mj-lt"/>
                <a:ea typeface="Open Sans Semibold" panose="020B0706030804020204" pitchFamily="34" charset="0"/>
                <a:cs typeface="Calibri Light" panose="020F0302020204030204" pitchFamily="34" charset="0"/>
              </a:rPr>
              <a:t>Nombramiento de Raquel Buenrostro como Secretaria de Economía</a:t>
            </a: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p>
          </p:txBody>
        </p:sp>
        <p:sp>
          <p:nvSpPr>
            <p:cNvPr id="18" name="TextBox 17"/>
            <p:cNvSpPr txBox="1"/>
            <p:nvPr/>
          </p:nvSpPr>
          <p:spPr>
            <a:xfrm>
              <a:off x="636838" y="3892034"/>
              <a:ext cx="155492" cy="369332"/>
            </a:xfrm>
            <a:prstGeom prst="rect">
              <a:avLst/>
            </a:prstGeom>
            <a:noFill/>
          </p:spPr>
          <p:txBody>
            <a:bodyPr wrap="square" lIns="0" tIns="0" rIns="0" bIns="0" rtlCol="0">
              <a:spAutoFit/>
            </a:bodyPr>
            <a:lstStyle/>
            <a:p>
              <a:pPr>
                <a:spcBef>
                  <a:spcPts val="600"/>
                </a:spcBef>
                <a:buSzPct val="100000"/>
              </a:pPr>
              <a:r>
                <a:rPr lang="es-MX" sz="2400" b="1" i="1" dirty="0">
                  <a:solidFill>
                    <a:schemeClr val="bg1"/>
                  </a:solidFill>
                  <a:latin typeface="+mj-lt"/>
                </a:rPr>
                <a:t>2</a:t>
              </a:r>
            </a:p>
          </p:txBody>
        </p:sp>
      </p:grpSp>
      <p:sp>
        <p:nvSpPr>
          <p:cNvPr id="10" name="Text Placeholder 6"/>
          <p:cNvSpPr txBox="1">
            <a:spLocks/>
          </p:cNvSpPr>
          <p:nvPr/>
        </p:nvSpPr>
        <p:spPr>
          <a:xfrm>
            <a:off x="493775" y="2475937"/>
            <a:ext cx="7294035" cy="2959442"/>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dirty="0"/>
              <a:t>El pasado </a:t>
            </a:r>
            <a:r>
              <a:rPr lang="es-MX" sz="1600" b="1" dirty="0"/>
              <a:t>7 de octubre </a:t>
            </a:r>
            <a:r>
              <a:rPr lang="es-MX" sz="1600" dirty="0"/>
              <a:t>fue designada com </a:t>
            </a:r>
            <a:r>
              <a:rPr lang="es-MX" sz="1600" b="1" dirty="0"/>
              <a:t>Titular de la Secretaria de Economía a Raquel Buenrostro.</a:t>
            </a:r>
          </a:p>
          <a:p>
            <a:pPr marL="0" lvl="2" indent="0" algn="just">
              <a:buNone/>
            </a:pPr>
            <a:r>
              <a:rPr lang="es-MX" sz="1600" dirty="0"/>
              <a:t>Un posible escenario es que se </a:t>
            </a:r>
            <a:r>
              <a:rPr lang="es-MX" sz="1600" b="1" dirty="0"/>
              <a:t>agote la vía de las consultas </a:t>
            </a:r>
            <a:r>
              <a:rPr lang="es-MX" sz="1600" dirty="0"/>
              <a:t>con el tema energético en México </a:t>
            </a:r>
            <a:r>
              <a:rPr lang="es-MX" sz="1600" b="1" dirty="0"/>
              <a:t>y entremos en una instancia de Panel en materia energética, </a:t>
            </a:r>
            <a:r>
              <a:rPr lang="es-MX" sz="1600" dirty="0"/>
              <a:t>el cual puede tener múltiples implicaciones para la economía de nuestro país. </a:t>
            </a:r>
          </a:p>
          <a:p>
            <a:pPr marL="0" lvl="2" indent="0" algn="just">
              <a:buNone/>
            </a:pPr>
            <a:r>
              <a:rPr lang="es-MX" sz="1600" dirty="0"/>
              <a:t>Esperemos que exista el mismo énfasis en temas de facilitación del comercio, pero habrá que esperar para saber las prioridades que tiene esta nueva administración.</a:t>
            </a:r>
          </a:p>
          <a:p>
            <a:pPr marL="0" lvl="2" indent="0" algn="just">
              <a:buNone/>
            </a:pPr>
            <a:r>
              <a:rPr lang="es-MX" sz="1600" dirty="0"/>
              <a:t>Por lo pronto titulares de las siguientes posiciones han dejado la SE:</a:t>
            </a:r>
          </a:p>
          <a:p>
            <a:pPr lvl="2" algn="just"/>
            <a:r>
              <a:rPr lang="es-MX" sz="1600" dirty="0"/>
              <a:t>Subsecretario de Industria y Comercio</a:t>
            </a:r>
          </a:p>
          <a:p>
            <a:pPr lvl="2" algn="just"/>
            <a:r>
              <a:rPr lang="es-MX" sz="1600" dirty="0"/>
              <a:t>Subsecretaria de Comercio Exterior</a:t>
            </a:r>
          </a:p>
          <a:p>
            <a:pPr lvl="2" algn="just"/>
            <a:r>
              <a:rPr lang="es-MX" sz="1600" dirty="0"/>
              <a:t>Dirección General de Normas</a:t>
            </a:r>
          </a:p>
          <a:p>
            <a:pPr lvl="2" algn="just"/>
            <a:r>
              <a:rPr lang="es-MX" sz="1600" dirty="0"/>
              <a:t>Entre otras</a:t>
            </a:r>
          </a:p>
          <a:p>
            <a:pPr lvl="2" algn="just"/>
            <a:endParaRPr lang="es-MX" sz="1600" dirty="0"/>
          </a:p>
        </p:txBody>
      </p:sp>
      <p:sp>
        <p:nvSpPr>
          <p:cNvPr id="12" name="Rectangle 11">
            <a:extLst>
              <a:ext uri="{FF2B5EF4-FFF2-40B4-BE49-F238E27FC236}">
                <a16:creationId xmlns:a16="http://schemas.microsoft.com/office/drawing/2014/main" id="{BB8EDAAA-91B2-4723-B723-EB26651DF5B6}"/>
              </a:ext>
            </a:extLst>
          </p:cNvPr>
          <p:cNvSpPr/>
          <p:nvPr/>
        </p:nvSpPr>
        <p:spPr bwMode="gray">
          <a:xfrm>
            <a:off x="228600" y="6339212"/>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1" name="Rectangle 20">
            <a:extLst>
              <a:ext uri="{FF2B5EF4-FFF2-40B4-BE49-F238E27FC236}">
                <a16:creationId xmlns:a16="http://schemas.microsoft.com/office/drawing/2014/main" id="{AEA8774A-7C70-4B80-B594-F3D97E5ABDCF}"/>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pic>
        <p:nvPicPr>
          <p:cNvPr id="19458" name="Picture 2" descr="Es Raquel Buenrostro, nueva titular de Secretaría de Economía • CANACAR">
            <a:extLst>
              <a:ext uri="{FF2B5EF4-FFF2-40B4-BE49-F238E27FC236}">
                <a16:creationId xmlns:a16="http://schemas.microsoft.com/office/drawing/2014/main" id="{86A63E66-AFA0-480E-89CC-AE27A7EEB9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12319" y="2400705"/>
            <a:ext cx="3103760" cy="1940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46660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TextBox 623"/>
          <p:cNvSpPr txBox="1"/>
          <p:nvPr/>
        </p:nvSpPr>
        <p:spPr>
          <a:xfrm>
            <a:off x="344414" y="1281640"/>
            <a:ext cx="5737566" cy="1323439"/>
          </a:xfrm>
          <a:prstGeom prst="rect">
            <a:avLst/>
          </a:prstGeom>
          <a:noFill/>
        </p:spPr>
        <p:txBody>
          <a:bodyPr wrap="square" rtlCol="0">
            <a:spAutoFit/>
          </a:bodyPr>
          <a:lstStyle/>
          <a:p>
            <a:r>
              <a:rPr lang="es-MX" sz="4000" b="1" dirty="0">
                <a:latin typeface="Verdana" panose="020B0604030504040204" pitchFamily="34" charset="0"/>
                <a:ea typeface="Verdana" panose="020B0604030504040204" pitchFamily="34" charset="0"/>
              </a:rPr>
              <a:t>Lineamientos para participar</a:t>
            </a:r>
          </a:p>
        </p:txBody>
      </p:sp>
      <p:sp>
        <p:nvSpPr>
          <p:cNvPr id="263" name="Freeform 5">
            <a:extLst>
              <a:ext uri="{FF2B5EF4-FFF2-40B4-BE49-F238E27FC236}">
                <a16:creationId xmlns:a16="http://schemas.microsoft.com/office/drawing/2014/main" id="{0AC02598-6755-4346-A5F0-954953C07EBB}"/>
              </a:ext>
            </a:extLst>
          </p:cNvPr>
          <p:cNvSpPr>
            <a:spLocks noEditPoints="1"/>
          </p:cNvSpPr>
          <p:nvPr/>
        </p:nvSpPr>
        <p:spPr bwMode="auto">
          <a:xfrm>
            <a:off x="527319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6">
            <a:extLst>
              <a:ext uri="{FF2B5EF4-FFF2-40B4-BE49-F238E27FC236}">
                <a16:creationId xmlns:a16="http://schemas.microsoft.com/office/drawing/2014/main" id="{3DD70A3D-F2A4-4D32-99AA-D181B1EBAB21}"/>
              </a:ext>
            </a:extLst>
          </p:cNvPr>
          <p:cNvSpPr>
            <a:spLocks noEditPoints="1"/>
          </p:cNvSpPr>
          <p:nvPr/>
        </p:nvSpPr>
        <p:spPr bwMode="auto">
          <a:xfrm>
            <a:off x="5271171" y="6269500"/>
            <a:ext cx="54661" cy="55674"/>
          </a:xfrm>
          <a:custGeom>
            <a:avLst/>
            <a:gdLst>
              <a:gd name="T0" fmla="*/ 2 w 54"/>
              <a:gd name="T1" fmla="*/ 3 h 55"/>
              <a:gd name="T2" fmla="*/ 2 w 54"/>
              <a:gd name="T3" fmla="*/ 5 h 55"/>
              <a:gd name="T4" fmla="*/ 49 w 54"/>
              <a:gd name="T5" fmla="*/ 5 h 55"/>
              <a:gd name="T6" fmla="*/ 49 w 54"/>
              <a:gd name="T7" fmla="*/ 50 h 55"/>
              <a:gd name="T8" fmla="*/ 4 w 54"/>
              <a:gd name="T9" fmla="*/ 50 h 55"/>
              <a:gd name="T10" fmla="*/ 4 w 54"/>
              <a:gd name="T11" fmla="*/ 3 h 55"/>
              <a:gd name="T12" fmla="*/ 2 w 54"/>
              <a:gd name="T13" fmla="*/ 3 h 55"/>
              <a:gd name="T14" fmla="*/ 2 w 54"/>
              <a:gd name="T15" fmla="*/ 5 h 55"/>
              <a:gd name="T16" fmla="*/ 2 w 54"/>
              <a:gd name="T17" fmla="*/ 3 h 55"/>
              <a:gd name="T18" fmla="*/ 0 w 54"/>
              <a:gd name="T19" fmla="*/ 3 h 55"/>
              <a:gd name="T20" fmla="*/ 0 w 54"/>
              <a:gd name="T21" fmla="*/ 55 h 55"/>
              <a:gd name="T22" fmla="*/ 54 w 54"/>
              <a:gd name="T23" fmla="*/ 55 h 55"/>
              <a:gd name="T24" fmla="*/ 54 w 54"/>
              <a:gd name="T25" fmla="*/ 0 h 55"/>
              <a:gd name="T26" fmla="*/ 0 w 54"/>
              <a:gd name="T27" fmla="*/ 0 h 55"/>
              <a:gd name="T28" fmla="*/ 0 w 54"/>
              <a:gd name="T29" fmla="*/ 3 h 55"/>
              <a:gd name="T30" fmla="*/ 2 w 54"/>
              <a:gd name="T31" fmla="*/ 3 h 55"/>
              <a:gd name="T32" fmla="*/ 40 w 54"/>
              <a:gd name="T33" fmla="*/ 14 h 55"/>
              <a:gd name="T34" fmla="*/ 40 w 54"/>
              <a:gd name="T35" fmla="*/ 12 h 55"/>
              <a:gd name="T36" fmla="*/ 11 w 54"/>
              <a:gd name="T37" fmla="*/ 12 h 55"/>
              <a:gd name="T38" fmla="*/ 11 w 54"/>
              <a:gd name="T39" fmla="*/ 43 h 55"/>
              <a:gd name="T40" fmla="*/ 42 w 54"/>
              <a:gd name="T41" fmla="*/ 43 h 55"/>
              <a:gd name="T42" fmla="*/ 42 w 54"/>
              <a:gd name="T43" fmla="*/ 12 h 55"/>
              <a:gd name="T44" fmla="*/ 40 w 54"/>
              <a:gd name="T45" fmla="*/ 12 h 55"/>
              <a:gd name="T46" fmla="*/ 40 w 54"/>
              <a:gd name="T47" fmla="*/ 14 h 55"/>
              <a:gd name="T48" fmla="*/ 38 w 54"/>
              <a:gd name="T49" fmla="*/ 14 h 55"/>
              <a:gd name="T50" fmla="*/ 38 w 54"/>
              <a:gd name="T51" fmla="*/ 38 h 55"/>
              <a:gd name="T52" fmla="*/ 16 w 54"/>
              <a:gd name="T53" fmla="*/ 38 h 55"/>
              <a:gd name="T54" fmla="*/ 16 w 54"/>
              <a:gd name="T55" fmla="*/ 17 h 55"/>
              <a:gd name="T56" fmla="*/ 40 w 54"/>
              <a:gd name="T57" fmla="*/ 17 h 55"/>
              <a:gd name="T58" fmla="*/ 40 w 54"/>
              <a:gd name="T59" fmla="*/ 14 h 55"/>
              <a:gd name="T60" fmla="*/ 38 w 54"/>
              <a:gd name="T61" fmla="*/ 14 h 55"/>
              <a:gd name="T62" fmla="*/ 40 w 54"/>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5">
                <a:moveTo>
                  <a:pt x="2" y="3"/>
                </a:moveTo>
                <a:lnTo>
                  <a:pt x="2" y="5"/>
                </a:lnTo>
                <a:lnTo>
                  <a:pt x="49" y="5"/>
                </a:lnTo>
                <a:lnTo>
                  <a:pt x="49" y="50"/>
                </a:lnTo>
                <a:lnTo>
                  <a:pt x="4" y="50"/>
                </a:lnTo>
                <a:lnTo>
                  <a:pt x="4" y="3"/>
                </a:lnTo>
                <a:lnTo>
                  <a:pt x="2" y="3"/>
                </a:lnTo>
                <a:lnTo>
                  <a:pt x="2" y="5"/>
                </a:lnTo>
                <a:lnTo>
                  <a:pt x="2" y="3"/>
                </a:lnTo>
                <a:lnTo>
                  <a:pt x="0" y="3"/>
                </a:lnTo>
                <a:lnTo>
                  <a:pt x="0" y="55"/>
                </a:lnTo>
                <a:lnTo>
                  <a:pt x="54" y="55"/>
                </a:lnTo>
                <a:lnTo>
                  <a:pt x="54" y="0"/>
                </a:lnTo>
                <a:lnTo>
                  <a:pt x="0" y="0"/>
                </a:lnTo>
                <a:lnTo>
                  <a:pt x="0" y="3"/>
                </a:lnTo>
                <a:lnTo>
                  <a:pt x="2" y="3"/>
                </a:lnTo>
                <a:close/>
                <a:moveTo>
                  <a:pt x="40" y="14"/>
                </a:moveTo>
                <a:lnTo>
                  <a:pt x="40" y="12"/>
                </a:lnTo>
                <a:lnTo>
                  <a:pt x="11" y="12"/>
                </a:lnTo>
                <a:lnTo>
                  <a:pt x="11" y="43"/>
                </a:lnTo>
                <a:lnTo>
                  <a:pt x="42" y="43"/>
                </a:lnTo>
                <a:lnTo>
                  <a:pt x="42" y="12"/>
                </a:lnTo>
                <a:lnTo>
                  <a:pt x="40" y="12"/>
                </a:lnTo>
                <a:lnTo>
                  <a:pt x="40" y="14"/>
                </a:lnTo>
                <a:lnTo>
                  <a:pt x="38" y="14"/>
                </a:lnTo>
                <a:lnTo>
                  <a:pt x="38" y="38"/>
                </a:lnTo>
                <a:lnTo>
                  <a:pt x="16" y="38"/>
                </a:lnTo>
                <a:lnTo>
                  <a:pt x="16" y="17"/>
                </a:lnTo>
                <a:lnTo>
                  <a:pt x="40" y="17"/>
                </a:lnTo>
                <a:lnTo>
                  <a:pt x="40" y="14"/>
                </a:lnTo>
                <a:lnTo>
                  <a:pt x="38" y="14"/>
                </a:lnTo>
                <a:lnTo>
                  <a:pt x="40"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7">
            <a:extLst>
              <a:ext uri="{FF2B5EF4-FFF2-40B4-BE49-F238E27FC236}">
                <a16:creationId xmlns:a16="http://schemas.microsoft.com/office/drawing/2014/main" id="{69BB3C46-033F-4DF7-B3F7-FAC88B275935}"/>
              </a:ext>
            </a:extLst>
          </p:cNvPr>
          <p:cNvSpPr>
            <a:spLocks noEditPoints="1"/>
          </p:cNvSpPr>
          <p:nvPr/>
        </p:nvSpPr>
        <p:spPr bwMode="auto">
          <a:xfrm>
            <a:off x="5201326" y="6272537"/>
            <a:ext cx="50612" cy="49600"/>
          </a:xfrm>
          <a:custGeom>
            <a:avLst/>
            <a:gdLst>
              <a:gd name="T0" fmla="*/ 0 w 50"/>
              <a:gd name="T1" fmla="*/ 0 h 49"/>
              <a:gd name="T2" fmla="*/ 50 w 50"/>
              <a:gd name="T3" fmla="*/ 0 h 49"/>
              <a:gd name="T4" fmla="*/ 50 w 50"/>
              <a:gd name="T5" fmla="*/ 49 h 49"/>
              <a:gd name="T6" fmla="*/ 0 w 50"/>
              <a:gd name="T7" fmla="*/ 49 h 49"/>
              <a:gd name="T8" fmla="*/ 0 w 50"/>
              <a:gd name="T9" fmla="*/ 0 h 49"/>
              <a:gd name="T10" fmla="*/ 38 w 50"/>
              <a:gd name="T11" fmla="*/ 11 h 49"/>
              <a:gd name="T12" fmla="*/ 12 w 50"/>
              <a:gd name="T13" fmla="*/ 11 h 49"/>
              <a:gd name="T14" fmla="*/ 12 w 50"/>
              <a:gd name="T15" fmla="*/ 38 h 49"/>
              <a:gd name="T16" fmla="*/ 38 w 50"/>
              <a:gd name="T17" fmla="*/ 38 h 49"/>
              <a:gd name="T18" fmla="*/ 38 w 50"/>
              <a:gd name="T19"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0" y="0"/>
                </a:moveTo>
                <a:lnTo>
                  <a:pt x="50" y="0"/>
                </a:lnTo>
                <a:lnTo>
                  <a:pt x="50" y="49"/>
                </a:lnTo>
                <a:lnTo>
                  <a:pt x="0" y="49"/>
                </a:lnTo>
                <a:lnTo>
                  <a:pt x="0" y="0"/>
                </a:lnTo>
                <a:close/>
                <a:moveTo>
                  <a:pt x="38" y="11"/>
                </a:moveTo>
                <a:lnTo>
                  <a:pt x="12" y="11"/>
                </a:lnTo>
                <a:lnTo>
                  <a:pt x="12" y="38"/>
                </a:lnTo>
                <a:lnTo>
                  <a:pt x="38" y="38"/>
                </a:lnTo>
                <a:lnTo>
                  <a:pt x="38" y="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8">
            <a:extLst>
              <a:ext uri="{FF2B5EF4-FFF2-40B4-BE49-F238E27FC236}">
                <a16:creationId xmlns:a16="http://schemas.microsoft.com/office/drawing/2014/main" id="{D116F28F-19BB-4EE7-A9DD-03811F77CF0C}"/>
              </a:ext>
            </a:extLst>
          </p:cNvPr>
          <p:cNvSpPr>
            <a:spLocks noEditPoints="1"/>
          </p:cNvSpPr>
          <p:nvPr/>
        </p:nvSpPr>
        <p:spPr bwMode="auto">
          <a:xfrm>
            <a:off x="5198290" y="6269500"/>
            <a:ext cx="55674" cy="55674"/>
          </a:xfrm>
          <a:custGeom>
            <a:avLst/>
            <a:gdLst>
              <a:gd name="T0" fmla="*/ 3 w 55"/>
              <a:gd name="T1" fmla="*/ 3 h 55"/>
              <a:gd name="T2" fmla="*/ 3 w 55"/>
              <a:gd name="T3" fmla="*/ 5 h 55"/>
              <a:gd name="T4" fmla="*/ 50 w 55"/>
              <a:gd name="T5" fmla="*/ 5 h 55"/>
              <a:gd name="T6" fmla="*/ 50 w 55"/>
              <a:gd name="T7" fmla="*/ 50 h 55"/>
              <a:gd name="T8" fmla="*/ 5 w 55"/>
              <a:gd name="T9" fmla="*/ 50 h 55"/>
              <a:gd name="T10" fmla="*/ 5 w 55"/>
              <a:gd name="T11" fmla="*/ 3 h 55"/>
              <a:gd name="T12" fmla="*/ 3 w 55"/>
              <a:gd name="T13" fmla="*/ 3 h 55"/>
              <a:gd name="T14" fmla="*/ 3 w 55"/>
              <a:gd name="T15" fmla="*/ 5 h 55"/>
              <a:gd name="T16" fmla="*/ 3 w 55"/>
              <a:gd name="T17" fmla="*/ 3 h 55"/>
              <a:gd name="T18" fmla="*/ 0 w 55"/>
              <a:gd name="T19" fmla="*/ 3 h 55"/>
              <a:gd name="T20" fmla="*/ 0 w 55"/>
              <a:gd name="T21" fmla="*/ 55 h 55"/>
              <a:gd name="T22" fmla="*/ 55 w 55"/>
              <a:gd name="T23" fmla="*/ 55 h 55"/>
              <a:gd name="T24" fmla="*/ 55 w 55"/>
              <a:gd name="T25" fmla="*/ 0 h 55"/>
              <a:gd name="T26" fmla="*/ 0 w 55"/>
              <a:gd name="T27" fmla="*/ 0 h 55"/>
              <a:gd name="T28" fmla="*/ 0 w 55"/>
              <a:gd name="T29" fmla="*/ 3 h 55"/>
              <a:gd name="T30" fmla="*/ 3 w 55"/>
              <a:gd name="T31" fmla="*/ 3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3"/>
                </a:moveTo>
                <a:lnTo>
                  <a:pt x="3" y="5"/>
                </a:lnTo>
                <a:lnTo>
                  <a:pt x="50" y="5"/>
                </a:lnTo>
                <a:lnTo>
                  <a:pt x="50" y="50"/>
                </a:lnTo>
                <a:lnTo>
                  <a:pt x="5" y="50"/>
                </a:lnTo>
                <a:lnTo>
                  <a:pt x="5" y="3"/>
                </a:lnTo>
                <a:lnTo>
                  <a:pt x="3" y="3"/>
                </a:lnTo>
                <a:lnTo>
                  <a:pt x="3" y="5"/>
                </a:lnTo>
                <a:lnTo>
                  <a:pt x="3" y="3"/>
                </a:lnTo>
                <a:lnTo>
                  <a:pt x="0" y="3"/>
                </a:lnTo>
                <a:lnTo>
                  <a:pt x="0" y="55"/>
                </a:lnTo>
                <a:lnTo>
                  <a:pt x="55" y="55"/>
                </a:lnTo>
                <a:lnTo>
                  <a:pt x="55" y="0"/>
                </a:lnTo>
                <a:lnTo>
                  <a:pt x="0" y="0"/>
                </a:lnTo>
                <a:lnTo>
                  <a:pt x="0" y="3"/>
                </a:lnTo>
                <a:lnTo>
                  <a:pt x="3" y="3"/>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9">
            <a:extLst>
              <a:ext uri="{FF2B5EF4-FFF2-40B4-BE49-F238E27FC236}">
                <a16:creationId xmlns:a16="http://schemas.microsoft.com/office/drawing/2014/main" id="{30435FEC-1117-46AE-8CD9-43215089A2D4}"/>
              </a:ext>
            </a:extLst>
          </p:cNvPr>
          <p:cNvSpPr>
            <a:spLocks noEditPoints="1"/>
          </p:cNvSpPr>
          <p:nvPr/>
        </p:nvSpPr>
        <p:spPr bwMode="auto">
          <a:xfrm>
            <a:off x="11489398" y="6322137"/>
            <a:ext cx="50612" cy="50612"/>
          </a:xfrm>
          <a:custGeom>
            <a:avLst/>
            <a:gdLst>
              <a:gd name="T0" fmla="*/ 0 w 50"/>
              <a:gd name="T1" fmla="*/ 0 h 50"/>
              <a:gd name="T2" fmla="*/ 50 w 50"/>
              <a:gd name="T3" fmla="*/ 0 h 50"/>
              <a:gd name="T4" fmla="*/ 50 w 50"/>
              <a:gd name="T5" fmla="*/ 50 h 50"/>
              <a:gd name="T6" fmla="*/ 0 w 50"/>
              <a:gd name="T7" fmla="*/ 50 h 50"/>
              <a:gd name="T8" fmla="*/ 0 w 50"/>
              <a:gd name="T9" fmla="*/ 0 h 50"/>
              <a:gd name="T10" fmla="*/ 38 w 50"/>
              <a:gd name="T11" fmla="*/ 12 h 50"/>
              <a:gd name="T12" fmla="*/ 12 w 50"/>
              <a:gd name="T13" fmla="*/ 12 h 50"/>
              <a:gd name="T14" fmla="*/ 12 w 50"/>
              <a:gd name="T15" fmla="*/ 38 h 50"/>
              <a:gd name="T16" fmla="*/ 38 w 50"/>
              <a:gd name="T17" fmla="*/ 38 h 50"/>
              <a:gd name="T18" fmla="*/ 38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0"/>
                </a:moveTo>
                <a:lnTo>
                  <a:pt x="50" y="0"/>
                </a:lnTo>
                <a:lnTo>
                  <a:pt x="50" y="50"/>
                </a:lnTo>
                <a:lnTo>
                  <a:pt x="0" y="50"/>
                </a:lnTo>
                <a:lnTo>
                  <a:pt x="0" y="0"/>
                </a:lnTo>
                <a:close/>
                <a:moveTo>
                  <a:pt x="38" y="12"/>
                </a:moveTo>
                <a:lnTo>
                  <a:pt x="12" y="12"/>
                </a:lnTo>
                <a:lnTo>
                  <a:pt x="12"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0">
            <a:extLst>
              <a:ext uri="{FF2B5EF4-FFF2-40B4-BE49-F238E27FC236}">
                <a16:creationId xmlns:a16="http://schemas.microsoft.com/office/drawing/2014/main" id="{36F06EB5-EE73-4399-AF7F-646358717C4D}"/>
              </a:ext>
            </a:extLst>
          </p:cNvPr>
          <p:cNvSpPr>
            <a:spLocks noEditPoints="1"/>
          </p:cNvSpPr>
          <p:nvPr/>
        </p:nvSpPr>
        <p:spPr bwMode="auto">
          <a:xfrm>
            <a:off x="11486362" y="6320112"/>
            <a:ext cx="55674" cy="55674"/>
          </a:xfrm>
          <a:custGeom>
            <a:avLst/>
            <a:gdLst>
              <a:gd name="T0" fmla="*/ 3 w 55"/>
              <a:gd name="T1" fmla="*/ 2 h 55"/>
              <a:gd name="T2" fmla="*/ 3 w 55"/>
              <a:gd name="T3" fmla="*/ 5 h 55"/>
              <a:gd name="T4" fmla="*/ 50 w 55"/>
              <a:gd name="T5" fmla="*/ 5 h 55"/>
              <a:gd name="T6" fmla="*/ 50 w 55"/>
              <a:gd name="T7" fmla="*/ 50 h 55"/>
              <a:gd name="T8" fmla="*/ 5 w 55"/>
              <a:gd name="T9" fmla="*/ 50 h 55"/>
              <a:gd name="T10" fmla="*/ 5 w 55"/>
              <a:gd name="T11" fmla="*/ 2 h 55"/>
              <a:gd name="T12" fmla="*/ 3 w 55"/>
              <a:gd name="T13" fmla="*/ 2 h 55"/>
              <a:gd name="T14" fmla="*/ 3 w 55"/>
              <a:gd name="T15" fmla="*/ 5 h 55"/>
              <a:gd name="T16" fmla="*/ 3 w 55"/>
              <a:gd name="T17" fmla="*/ 2 h 55"/>
              <a:gd name="T18" fmla="*/ 0 w 55"/>
              <a:gd name="T19" fmla="*/ 2 h 55"/>
              <a:gd name="T20" fmla="*/ 0 w 55"/>
              <a:gd name="T21" fmla="*/ 55 h 55"/>
              <a:gd name="T22" fmla="*/ 55 w 55"/>
              <a:gd name="T23" fmla="*/ 55 h 55"/>
              <a:gd name="T24" fmla="*/ 55 w 55"/>
              <a:gd name="T25" fmla="*/ 0 h 55"/>
              <a:gd name="T26" fmla="*/ 0 w 55"/>
              <a:gd name="T27" fmla="*/ 0 h 55"/>
              <a:gd name="T28" fmla="*/ 0 w 55"/>
              <a:gd name="T29" fmla="*/ 2 h 55"/>
              <a:gd name="T30" fmla="*/ 3 w 55"/>
              <a:gd name="T31" fmla="*/ 2 h 55"/>
              <a:gd name="T32" fmla="*/ 41 w 55"/>
              <a:gd name="T33" fmla="*/ 14 h 55"/>
              <a:gd name="T34" fmla="*/ 41 w 55"/>
              <a:gd name="T35" fmla="*/ 12 h 55"/>
              <a:gd name="T36" fmla="*/ 12 w 55"/>
              <a:gd name="T37" fmla="*/ 12 h 55"/>
              <a:gd name="T38" fmla="*/ 12 w 55"/>
              <a:gd name="T39" fmla="*/ 43 h 55"/>
              <a:gd name="T40" fmla="*/ 43 w 55"/>
              <a:gd name="T41" fmla="*/ 43 h 55"/>
              <a:gd name="T42" fmla="*/ 43 w 55"/>
              <a:gd name="T43" fmla="*/ 12 h 55"/>
              <a:gd name="T44" fmla="*/ 41 w 55"/>
              <a:gd name="T45" fmla="*/ 12 h 55"/>
              <a:gd name="T46" fmla="*/ 41 w 55"/>
              <a:gd name="T47" fmla="*/ 14 h 55"/>
              <a:gd name="T48" fmla="*/ 38 w 55"/>
              <a:gd name="T49" fmla="*/ 14 h 55"/>
              <a:gd name="T50" fmla="*/ 38 w 55"/>
              <a:gd name="T51" fmla="*/ 38 h 55"/>
              <a:gd name="T52" fmla="*/ 17 w 55"/>
              <a:gd name="T53" fmla="*/ 38 h 55"/>
              <a:gd name="T54" fmla="*/ 17 w 55"/>
              <a:gd name="T55" fmla="*/ 17 h 55"/>
              <a:gd name="T56" fmla="*/ 41 w 55"/>
              <a:gd name="T57" fmla="*/ 17 h 55"/>
              <a:gd name="T58" fmla="*/ 41 w 55"/>
              <a:gd name="T59" fmla="*/ 14 h 55"/>
              <a:gd name="T60" fmla="*/ 38 w 55"/>
              <a:gd name="T61" fmla="*/ 14 h 55"/>
              <a:gd name="T62" fmla="*/ 41 w 55"/>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5">
                <a:moveTo>
                  <a:pt x="3" y="2"/>
                </a:moveTo>
                <a:lnTo>
                  <a:pt x="3" y="5"/>
                </a:lnTo>
                <a:lnTo>
                  <a:pt x="50" y="5"/>
                </a:lnTo>
                <a:lnTo>
                  <a:pt x="50" y="50"/>
                </a:lnTo>
                <a:lnTo>
                  <a:pt x="5" y="50"/>
                </a:lnTo>
                <a:lnTo>
                  <a:pt x="5" y="2"/>
                </a:lnTo>
                <a:lnTo>
                  <a:pt x="3" y="2"/>
                </a:lnTo>
                <a:lnTo>
                  <a:pt x="3" y="5"/>
                </a:lnTo>
                <a:lnTo>
                  <a:pt x="3" y="2"/>
                </a:lnTo>
                <a:lnTo>
                  <a:pt x="0" y="2"/>
                </a:lnTo>
                <a:lnTo>
                  <a:pt x="0" y="55"/>
                </a:lnTo>
                <a:lnTo>
                  <a:pt x="55" y="55"/>
                </a:lnTo>
                <a:lnTo>
                  <a:pt x="55" y="0"/>
                </a:lnTo>
                <a:lnTo>
                  <a:pt x="0" y="0"/>
                </a:lnTo>
                <a:lnTo>
                  <a:pt x="0" y="2"/>
                </a:lnTo>
                <a:lnTo>
                  <a:pt x="3" y="2"/>
                </a:lnTo>
                <a:close/>
                <a:moveTo>
                  <a:pt x="41" y="14"/>
                </a:moveTo>
                <a:lnTo>
                  <a:pt x="41" y="12"/>
                </a:lnTo>
                <a:lnTo>
                  <a:pt x="12" y="12"/>
                </a:lnTo>
                <a:lnTo>
                  <a:pt x="12" y="43"/>
                </a:lnTo>
                <a:lnTo>
                  <a:pt x="43" y="43"/>
                </a:lnTo>
                <a:lnTo>
                  <a:pt x="43" y="12"/>
                </a:lnTo>
                <a:lnTo>
                  <a:pt x="41" y="12"/>
                </a:lnTo>
                <a:lnTo>
                  <a:pt x="41" y="14"/>
                </a:lnTo>
                <a:lnTo>
                  <a:pt x="38" y="14"/>
                </a:lnTo>
                <a:lnTo>
                  <a:pt x="38" y="38"/>
                </a:lnTo>
                <a:lnTo>
                  <a:pt x="17" y="38"/>
                </a:lnTo>
                <a:lnTo>
                  <a:pt x="17"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11">
            <a:extLst>
              <a:ext uri="{FF2B5EF4-FFF2-40B4-BE49-F238E27FC236}">
                <a16:creationId xmlns:a16="http://schemas.microsoft.com/office/drawing/2014/main" id="{2C5D0E98-4D93-4198-856C-81DF565F80BC}"/>
              </a:ext>
            </a:extLst>
          </p:cNvPr>
          <p:cNvSpPr>
            <a:spLocks noEditPoints="1"/>
          </p:cNvSpPr>
          <p:nvPr/>
        </p:nvSpPr>
        <p:spPr bwMode="auto">
          <a:xfrm>
            <a:off x="11417529" y="6322137"/>
            <a:ext cx="52637" cy="50612"/>
          </a:xfrm>
          <a:custGeom>
            <a:avLst/>
            <a:gdLst>
              <a:gd name="T0" fmla="*/ 0 w 52"/>
              <a:gd name="T1" fmla="*/ 0 h 50"/>
              <a:gd name="T2" fmla="*/ 52 w 52"/>
              <a:gd name="T3" fmla="*/ 0 h 50"/>
              <a:gd name="T4" fmla="*/ 52 w 52"/>
              <a:gd name="T5" fmla="*/ 50 h 50"/>
              <a:gd name="T6" fmla="*/ 0 w 52"/>
              <a:gd name="T7" fmla="*/ 50 h 50"/>
              <a:gd name="T8" fmla="*/ 0 w 52"/>
              <a:gd name="T9" fmla="*/ 0 h 50"/>
              <a:gd name="T10" fmla="*/ 38 w 52"/>
              <a:gd name="T11" fmla="*/ 12 h 50"/>
              <a:gd name="T12" fmla="*/ 14 w 52"/>
              <a:gd name="T13" fmla="*/ 12 h 50"/>
              <a:gd name="T14" fmla="*/ 14 w 52"/>
              <a:gd name="T15" fmla="*/ 38 h 50"/>
              <a:gd name="T16" fmla="*/ 38 w 52"/>
              <a:gd name="T17" fmla="*/ 38 h 50"/>
              <a:gd name="T18" fmla="*/ 38 w 52"/>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0">
                <a:moveTo>
                  <a:pt x="0" y="0"/>
                </a:moveTo>
                <a:lnTo>
                  <a:pt x="52" y="0"/>
                </a:lnTo>
                <a:lnTo>
                  <a:pt x="52" y="50"/>
                </a:lnTo>
                <a:lnTo>
                  <a:pt x="0" y="50"/>
                </a:lnTo>
                <a:lnTo>
                  <a:pt x="0" y="0"/>
                </a:lnTo>
                <a:close/>
                <a:moveTo>
                  <a:pt x="38" y="12"/>
                </a:moveTo>
                <a:lnTo>
                  <a:pt x="14" y="12"/>
                </a:lnTo>
                <a:lnTo>
                  <a:pt x="14" y="38"/>
                </a:lnTo>
                <a:lnTo>
                  <a:pt x="38" y="38"/>
                </a:lnTo>
                <a:lnTo>
                  <a:pt x="38"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12">
            <a:extLst>
              <a:ext uri="{FF2B5EF4-FFF2-40B4-BE49-F238E27FC236}">
                <a16:creationId xmlns:a16="http://schemas.microsoft.com/office/drawing/2014/main" id="{3D50FB71-85C5-46B6-97BA-ACE562D9F287}"/>
              </a:ext>
            </a:extLst>
          </p:cNvPr>
          <p:cNvSpPr>
            <a:spLocks noEditPoints="1"/>
          </p:cNvSpPr>
          <p:nvPr/>
        </p:nvSpPr>
        <p:spPr bwMode="auto">
          <a:xfrm>
            <a:off x="11414492" y="6320112"/>
            <a:ext cx="57698" cy="55674"/>
          </a:xfrm>
          <a:custGeom>
            <a:avLst/>
            <a:gdLst>
              <a:gd name="T0" fmla="*/ 3 w 57"/>
              <a:gd name="T1" fmla="*/ 2 h 55"/>
              <a:gd name="T2" fmla="*/ 3 w 57"/>
              <a:gd name="T3" fmla="*/ 5 h 55"/>
              <a:gd name="T4" fmla="*/ 52 w 57"/>
              <a:gd name="T5" fmla="*/ 5 h 55"/>
              <a:gd name="T6" fmla="*/ 52 w 57"/>
              <a:gd name="T7" fmla="*/ 50 h 55"/>
              <a:gd name="T8" fmla="*/ 5 w 57"/>
              <a:gd name="T9" fmla="*/ 50 h 55"/>
              <a:gd name="T10" fmla="*/ 5 w 57"/>
              <a:gd name="T11" fmla="*/ 2 h 55"/>
              <a:gd name="T12" fmla="*/ 3 w 57"/>
              <a:gd name="T13" fmla="*/ 2 h 55"/>
              <a:gd name="T14" fmla="*/ 3 w 57"/>
              <a:gd name="T15" fmla="*/ 5 h 55"/>
              <a:gd name="T16" fmla="*/ 3 w 57"/>
              <a:gd name="T17" fmla="*/ 2 h 55"/>
              <a:gd name="T18" fmla="*/ 0 w 57"/>
              <a:gd name="T19" fmla="*/ 2 h 55"/>
              <a:gd name="T20" fmla="*/ 0 w 57"/>
              <a:gd name="T21" fmla="*/ 55 h 55"/>
              <a:gd name="T22" fmla="*/ 57 w 57"/>
              <a:gd name="T23" fmla="*/ 55 h 55"/>
              <a:gd name="T24" fmla="*/ 57 w 57"/>
              <a:gd name="T25" fmla="*/ 0 h 55"/>
              <a:gd name="T26" fmla="*/ 0 w 57"/>
              <a:gd name="T27" fmla="*/ 0 h 55"/>
              <a:gd name="T28" fmla="*/ 0 w 57"/>
              <a:gd name="T29" fmla="*/ 2 h 55"/>
              <a:gd name="T30" fmla="*/ 3 w 57"/>
              <a:gd name="T31" fmla="*/ 2 h 55"/>
              <a:gd name="T32" fmla="*/ 41 w 57"/>
              <a:gd name="T33" fmla="*/ 14 h 55"/>
              <a:gd name="T34" fmla="*/ 41 w 57"/>
              <a:gd name="T35" fmla="*/ 12 h 55"/>
              <a:gd name="T36" fmla="*/ 14 w 57"/>
              <a:gd name="T37" fmla="*/ 12 h 55"/>
              <a:gd name="T38" fmla="*/ 14 w 57"/>
              <a:gd name="T39" fmla="*/ 43 h 55"/>
              <a:gd name="T40" fmla="*/ 43 w 57"/>
              <a:gd name="T41" fmla="*/ 43 h 55"/>
              <a:gd name="T42" fmla="*/ 43 w 57"/>
              <a:gd name="T43" fmla="*/ 12 h 55"/>
              <a:gd name="T44" fmla="*/ 41 w 57"/>
              <a:gd name="T45" fmla="*/ 12 h 55"/>
              <a:gd name="T46" fmla="*/ 41 w 57"/>
              <a:gd name="T47" fmla="*/ 14 h 55"/>
              <a:gd name="T48" fmla="*/ 38 w 57"/>
              <a:gd name="T49" fmla="*/ 14 h 55"/>
              <a:gd name="T50" fmla="*/ 38 w 57"/>
              <a:gd name="T51" fmla="*/ 38 h 55"/>
              <a:gd name="T52" fmla="*/ 19 w 57"/>
              <a:gd name="T53" fmla="*/ 38 h 55"/>
              <a:gd name="T54" fmla="*/ 19 w 57"/>
              <a:gd name="T55" fmla="*/ 17 h 55"/>
              <a:gd name="T56" fmla="*/ 41 w 57"/>
              <a:gd name="T57" fmla="*/ 17 h 55"/>
              <a:gd name="T58" fmla="*/ 41 w 57"/>
              <a:gd name="T59" fmla="*/ 14 h 55"/>
              <a:gd name="T60" fmla="*/ 38 w 57"/>
              <a:gd name="T61" fmla="*/ 14 h 55"/>
              <a:gd name="T62" fmla="*/ 41 w 57"/>
              <a:gd name="T63"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55">
                <a:moveTo>
                  <a:pt x="3" y="2"/>
                </a:moveTo>
                <a:lnTo>
                  <a:pt x="3" y="5"/>
                </a:lnTo>
                <a:lnTo>
                  <a:pt x="52" y="5"/>
                </a:lnTo>
                <a:lnTo>
                  <a:pt x="52" y="50"/>
                </a:lnTo>
                <a:lnTo>
                  <a:pt x="5" y="50"/>
                </a:lnTo>
                <a:lnTo>
                  <a:pt x="5" y="2"/>
                </a:lnTo>
                <a:lnTo>
                  <a:pt x="3" y="2"/>
                </a:lnTo>
                <a:lnTo>
                  <a:pt x="3" y="5"/>
                </a:lnTo>
                <a:lnTo>
                  <a:pt x="3" y="2"/>
                </a:lnTo>
                <a:lnTo>
                  <a:pt x="0" y="2"/>
                </a:lnTo>
                <a:lnTo>
                  <a:pt x="0" y="55"/>
                </a:lnTo>
                <a:lnTo>
                  <a:pt x="57" y="55"/>
                </a:lnTo>
                <a:lnTo>
                  <a:pt x="57" y="0"/>
                </a:lnTo>
                <a:lnTo>
                  <a:pt x="0" y="0"/>
                </a:lnTo>
                <a:lnTo>
                  <a:pt x="0" y="2"/>
                </a:lnTo>
                <a:lnTo>
                  <a:pt x="3" y="2"/>
                </a:lnTo>
                <a:close/>
                <a:moveTo>
                  <a:pt x="41" y="14"/>
                </a:moveTo>
                <a:lnTo>
                  <a:pt x="41" y="12"/>
                </a:lnTo>
                <a:lnTo>
                  <a:pt x="14" y="12"/>
                </a:lnTo>
                <a:lnTo>
                  <a:pt x="14" y="43"/>
                </a:lnTo>
                <a:lnTo>
                  <a:pt x="43" y="43"/>
                </a:lnTo>
                <a:lnTo>
                  <a:pt x="43" y="12"/>
                </a:lnTo>
                <a:lnTo>
                  <a:pt x="41" y="12"/>
                </a:lnTo>
                <a:lnTo>
                  <a:pt x="41" y="14"/>
                </a:lnTo>
                <a:lnTo>
                  <a:pt x="38" y="14"/>
                </a:lnTo>
                <a:lnTo>
                  <a:pt x="38" y="38"/>
                </a:lnTo>
                <a:lnTo>
                  <a:pt x="19" y="38"/>
                </a:lnTo>
                <a:lnTo>
                  <a:pt x="19" y="17"/>
                </a:lnTo>
                <a:lnTo>
                  <a:pt x="41" y="17"/>
                </a:lnTo>
                <a:lnTo>
                  <a:pt x="41" y="14"/>
                </a:lnTo>
                <a:lnTo>
                  <a:pt x="38" y="14"/>
                </a:lnTo>
                <a:lnTo>
                  <a:pt x="41" y="1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Freeform 13">
            <a:extLst>
              <a:ext uri="{FF2B5EF4-FFF2-40B4-BE49-F238E27FC236}">
                <a16:creationId xmlns:a16="http://schemas.microsoft.com/office/drawing/2014/main" id="{138A1430-A86E-49F8-BAEB-7655580A2A08}"/>
              </a:ext>
            </a:extLst>
          </p:cNvPr>
          <p:cNvSpPr>
            <a:spLocks noEditPoints="1"/>
          </p:cNvSpPr>
          <p:nvPr/>
        </p:nvSpPr>
        <p:spPr bwMode="auto">
          <a:xfrm>
            <a:off x="5388592" y="5716814"/>
            <a:ext cx="112359" cy="111347"/>
          </a:xfrm>
          <a:custGeom>
            <a:avLst/>
            <a:gdLst>
              <a:gd name="T0" fmla="*/ 0 w 47"/>
              <a:gd name="T1" fmla="*/ 23 h 46"/>
              <a:gd name="T2" fmla="*/ 23 w 47"/>
              <a:gd name="T3" fmla="*/ 0 h 46"/>
              <a:gd name="T4" fmla="*/ 47 w 47"/>
              <a:gd name="T5" fmla="*/ 23 h 46"/>
              <a:gd name="T6" fmla="*/ 23 w 47"/>
              <a:gd name="T7" fmla="*/ 46 h 46"/>
              <a:gd name="T8" fmla="*/ 0 w 47"/>
              <a:gd name="T9" fmla="*/ 23 h 46"/>
              <a:gd name="T10" fmla="*/ 5 w 47"/>
              <a:gd name="T11" fmla="*/ 23 h 46"/>
              <a:gd name="T12" fmla="*/ 23 w 47"/>
              <a:gd name="T13" fmla="*/ 42 h 46"/>
              <a:gd name="T14" fmla="*/ 42 w 47"/>
              <a:gd name="T15" fmla="*/ 23 h 46"/>
              <a:gd name="T16" fmla="*/ 23 w 47"/>
              <a:gd name="T17" fmla="*/ 5 h 46"/>
              <a:gd name="T18" fmla="*/ 5 w 47"/>
              <a:gd name="T1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0" y="23"/>
                </a:moveTo>
                <a:cubicBezTo>
                  <a:pt x="0" y="10"/>
                  <a:pt x="11" y="0"/>
                  <a:pt x="23" y="0"/>
                </a:cubicBezTo>
                <a:cubicBezTo>
                  <a:pt x="36" y="0"/>
                  <a:pt x="47" y="10"/>
                  <a:pt x="47" y="23"/>
                </a:cubicBezTo>
                <a:cubicBezTo>
                  <a:pt x="47" y="36"/>
                  <a:pt x="36" y="46"/>
                  <a:pt x="23" y="46"/>
                </a:cubicBezTo>
                <a:cubicBezTo>
                  <a:pt x="11" y="46"/>
                  <a:pt x="0" y="36"/>
                  <a:pt x="0" y="23"/>
                </a:cubicBezTo>
                <a:close/>
                <a:moveTo>
                  <a:pt x="5" y="23"/>
                </a:moveTo>
                <a:cubicBezTo>
                  <a:pt x="5" y="33"/>
                  <a:pt x="13" y="42"/>
                  <a:pt x="23" y="42"/>
                </a:cubicBezTo>
                <a:cubicBezTo>
                  <a:pt x="34" y="42"/>
                  <a:pt x="42" y="33"/>
                  <a:pt x="42" y="23"/>
                </a:cubicBezTo>
                <a:cubicBezTo>
                  <a:pt x="42" y="13"/>
                  <a:pt x="34" y="5"/>
                  <a:pt x="23" y="5"/>
                </a:cubicBezTo>
                <a:cubicBezTo>
                  <a:pt x="13" y="5"/>
                  <a:pt x="5" y="13"/>
                  <a:pt x="5" y="2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2" name="Freeform 14">
            <a:extLst>
              <a:ext uri="{FF2B5EF4-FFF2-40B4-BE49-F238E27FC236}">
                <a16:creationId xmlns:a16="http://schemas.microsoft.com/office/drawing/2014/main" id="{E6B976CE-3917-487C-8EAC-CEB1ED0D6AC1}"/>
              </a:ext>
            </a:extLst>
          </p:cNvPr>
          <p:cNvSpPr>
            <a:spLocks noEditPoints="1"/>
          </p:cNvSpPr>
          <p:nvPr/>
        </p:nvSpPr>
        <p:spPr bwMode="auto">
          <a:xfrm>
            <a:off x="5385555" y="5712765"/>
            <a:ext cx="118433" cy="119445"/>
          </a:xfrm>
          <a:custGeom>
            <a:avLst/>
            <a:gdLst>
              <a:gd name="T0" fmla="*/ 1 w 49"/>
              <a:gd name="T1" fmla="*/ 25 h 50"/>
              <a:gd name="T2" fmla="*/ 3 w 49"/>
              <a:gd name="T3" fmla="*/ 25 h 50"/>
              <a:gd name="T4" fmla="*/ 9 w 49"/>
              <a:gd name="T5" fmla="*/ 10 h 50"/>
              <a:gd name="T6" fmla="*/ 24 w 49"/>
              <a:gd name="T7" fmla="*/ 3 h 50"/>
              <a:gd name="T8" fmla="*/ 40 w 49"/>
              <a:gd name="T9" fmla="*/ 10 h 50"/>
              <a:gd name="T10" fmla="*/ 46 w 49"/>
              <a:gd name="T11" fmla="*/ 25 h 50"/>
              <a:gd name="T12" fmla="*/ 40 w 49"/>
              <a:gd name="T13" fmla="*/ 40 h 50"/>
              <a:gd name="T14" fmla="*/ 24 w 49"/>
              <a:gd name="T15" fmla="*/ 47 h 50"/>
              <a:gd name="T16" fmla="*/ 9 w 49"/>
              <a:gd name="T17" fmla="*/ 40 h 50"/>
              <a:gd name="T18" fmla="*/ 3 w 49"/>
              <a:gd name="T19" fmla="*/ 25 h 50"/>
              <a:gd name="T20" fmla="*/ 1 w 49"/>
              <a:gd name="T21" fmla="*/ 25 h 50"/>
              <a:gd name="T22" fmla="*/ 0 w 49"/>
              <a:gd name="T23" fmla="*/ 25 h 50"/>
              <a:gd name="T24" fmla="*/ 24 w 49"/>
              <a:gd name="T25" fmla="*/ 50 h 50"/>
              <a:gd name="T26" fmla="*/ 49 w 49"/>
              <a:gd name="T27" fmla="*/ 25 h 50"/>
              <a:gd name="T28" fmla="*/ 24 w 49"/>
              <a:gd name="T29" fmla="*/ 0 h 50"/>
              <a:gd name="T30" fmla="*/ 0 w 49"/>
              <a:gd name="T31" fmla="*/ 25 h 50"/>
              <a:gd name="T32" fmla="*/ 1 w 49"/>
              <a:gd name="T33" fmla="*/ 25 h 50"/>
              <a:gd name="T34" fmla="*/ 6 w 49"/>
              <a:gd name="T35" fmla="*/ 25 h 50"/>
              <a:gd name="T36" fmla="*/ 4 w 49"/>
              <a:gd name="T37" fmla="*/ 25 h 50"/>
              <a:gd name="T38" fmla="*/ 24 w 49"/>
              <a:gd name="T39" fmla="*/ 45 h 50"/>
              <a:gd name="T40" fmla="*/ 44 w 49"/>
              <a:gd name="T41" fmla="*/ 25 h 50"/>
              <a:gd name="T42" fmla="*/ 24 w 49"/>
              <a:gd name="T43" fmla="*/ 5 h 50"/>
              <a:gd name="T44" fmla="*/ 4 w 49"/>
              <a:gd name="T45" fmla="*/ 25 h 50"/>
              <a:gd name="T46" fmla="*/ 6 w 49"/>
              <a:gd name="T47" fmla="*/ 25 h 50"/>
              <a:gd name="T48" fmla="*/ 7 w 49"/>
              <a:gd name="T49" fmla="*/ 25 h 50"/>
              <a:gd name="T50" fmla="*/ 12 w 49"/>
              <a:gd name="T51" fmla="*/ 13 h 50"/>
              <a:gd name="T52" fmla="*/ 24 w 49"/>
              <a:gd name="T53" fmla="*/ 8 h 50"/>
              <a:gd name="T54" fmla="*/ 36 w 49"/>
              <a:gd name="T55" fmla="*/ 13 h 50"/>
              <a:gd name="T56" fmla="*/ 41 w 49"/>
              <a:gd name="T57" fmla="*/ 25 h 50"/>
              <a:gd name="T58" fmla="*/ 36 w 49"/>
              <a:gd name="T59" fmla="*/ 37 h 50"/>
              <a:gd name="T60" fmla="*/ 24 w 49"/>
              <a:gd name="T61" fmla="*/ 42 h 50"/>
              <a:gd name="T62" fmla="*/ 12 w 49"/>
              <a:gd name="T63" fmla="*/ 37 h 50"/>
              <a:gd name="T64" fmla="*/ 7 w 49"/>
              <a:gd name="T65" fmla="*/ 25 h 50"/>
              <a:gd name="T66" fmla="*/ 6 w 49"/>
              <a:gd name="T6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50">
                <a:moveTo>
                  <a:pt x="1" y="25"/>
                </a:moveTo>
                <a:cubicBezTo>
                  <a:pt x="3" y="25"/>
                  <a:pt x="3" y="25"/>
                  <a:pt x="3" y="25"/>
                </a:cubicBezTo>
                <a:cubicBezTo>
                  <a:pt x="3" y="19"/>
                  <a:pt x="5" y="14"/>
                  <a:pt x="9" y="10"/>
                </a:cubicBezTo>
                <a:cubicBezTo>
                  <a:pt x="13" y="6"/>
                  <a:pt x="18" y="3"/>
                  <a:pt x="24" y="3"/>
                </a:cubicBezTo>
                <a:cubicBezTo>
                  <a:pt x="30" y="3"/>
                  <a:pt x="36" y="6"/>
                  <a:pt x="40" y="10"/>
                </a:cubicBezTo>
                <a:cubicBezTo>
                  <a:pt x="44" y="14"/>
                  <a:pt x="46" y="19"/>
                  <a:pt x="46" y="25"/>
                </a:cubicBezTo>
                <a:cubicBezTo>
                  <a:pt x="46" y="31"/>
                  <a:pt x="44" y="37"/>
                  <a:pt x="40" y="40"/>
                </a:cubicBezTo>
                <a:cubicBezTo>
                  <a:pt x="36" y="44"/>
                  <a:pt x="30" y="47"/>
                  <a:pt x="24" y="47"/>
                </a:cubicBezTo>
                <a:cubicBezTo>
                  <a:pt x="18" y="47"/>
                  <a:pt x="13" y="44"/>
                  <a:pt x="9" y="40"/>
                </a:cubicBezTo>
                <a:cubicBezTo>
                  <a:pt x="5" y="37"/>
                  <a:pt x="3" y="31"/>
                  <a:pt x="3" y="25"/>
                </a:cubicBezTo>
                <a:cubicBezTo>
                  <a:pt x="1" y="25"/>
                  <a:pt x="1" y="25"/>
                  <a:pt x="1" y="25"/>
                </a:cubicBezTo>
                <a:cubicBezTo>
                  <a:pt x="0" y="25"/>
                  <a:pt x="0" y="25"/>
                  <a:pt x="0" y="25"/>
                </a:cubicBezTo>
                <a:cubicBezTo>
                  <a:pt x="0" y="39"/>
                  <a:pt x="11" y="50"/>
                  <a:pt x="24" y="50"/>
                </a:cubicBezTo>
                <a:cubicBezTo>
                  <a:pt x="38" y="50"/>
                  <a:pt x="49" y="39"/>
                  <a:pt x="49" y="25"/>
                </a:cubicBezTo>
                <a:cubicBezTo>
                  <a:pt x="49" y="12"/>
                  <a:pt x="38" y="0"/>
                  <a:pt x="24" y="0"/>
                </a:cubicBezTo>
                <a:cubicBezTo>
                  <a:pt x="11" y="0"/>
                  <a:pt x="0" y="12"/>
                  <a:pt x="0" y="25"/>
                </a:cubicBezTo>
                <a:lnTo>
                  <a:pt x="1" y="25"/>
                </a:lnTo>
                <a:close/>
                <a:moveTo>
                  <a:pt x="6" y="25"/>
                </a:moveTo>
                <a:cubicBezTo>
                  <a:pt x="4" y="25"/>
                  <a:pt x="4" y="25"/>
                  <a:pt x="4" y="25"/>
                </a:cubicBezTo>
                <a:cubicBezTo>
                  <a:pt x="4" y="36"/>
                  <a:pt x="13" y="45"/>
                  <a:pt x="24" y="45"/>
                </a:cubicBezTo>
                <a:cubicBezTo>
                  <a:pt x="36" y="45"/>
                  <a:pt x="44" y="36"/>
                  <a:pt x="44" y="25"/>
                </a:cubicBezTo>
                <a:cubicBezTo>
                  <a:pt x="44" y="14"/>
                  <a:pt x="36" y="5"/>
                  <a:pt x="24" y="5"/>
                </a:cubicBezTo>
                <a:cubicBezTo>
                  <a:pt x="13" y="5"/>
                  <a:pt x="4" y="14"/>
                  <a:pt x="4" y="25"/>
                </a:cubicBezTo>
                <a:cubicBezTo>
                  <a:pt x="6" y="25"/>
                  <a:pt x="6" y="25"/>
                  <a:pt x="6" y="25"/>
                </a:cubicBezTo>
                <a:cubicBezTo>
                  <a:pt x="7" y="25"/>
                  <a:pt x="7" y="25"/>
                  <a:pt x="7" y="25"/>
                </a:cubicBezTo>
                <a:cubicBezTo>
                  <a:pt x="7" y="20"/>
                  <a:pt x="9" y="16"/>
                  <a:pt x="12" y="13"/>
                </a:cubicBezTo>
                <a:cubicBezTo>
                  <a:pt x="16" y="10"/>
                  <a:pt x="20" y="8"/>
                  <a:pt x="24" y="8"/>
                </a:cubicBezTo>
                <a:cubicBezTo>
                  <a:pt x="29" y="8"/>
                  <a:pt x="33" y="10"/>
                  <a:pt x="36" y="13"/>
                </a:cubicBezTo>
                <a:cubicBezTo>
                  <a:pt x="40" y="16"/>
                  <a:pt x="41" y="20"/>
                  <a:pt x="41" y="25"/>
                </a:cubicBezTo>
                <a:cubicBezTo>
                  <a:pt x="41" y="30"/>
                  <a:pt x="40" y="34"/>
                  <a:pt x="36" y="37"/>
                </a:cubicBezTo>
                <a:cubicBezTo>
                  <a:pt x="33" y="40"/>
                  <a:pt x="29" y="42"/>
                  <a:pt x="24" y="42"/>
                </a:cubicBezTo>
                <a:cubicBezTo>
                  <a:pt x="20" y="42"/>
                  <a:pt x="16" y="40"/>
                  <a:pt x="12" y="37"/>
                </a:cubicBezTo>
                <a:cubicBezTo>
                  <a:pt x="9" y="34"/>
                  <a:pt x="7" y="30"/>
                  <a:pt x="7" y="25"/>
                </a:cubicBezTo>
                <a:lnTo>
                  <a:pt x="6"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3" name="Freeform 15">
            <a:extLst>
              <a:ext uri="{FF2B5EF4-FFF2-40B4-BE49-F238E27FC236}">
                <a16:creationId xmlns:a16="http://schemas.microsoft.com/office/drawing/2014/main" id="{09F873B0-CC64-4329-B926-224A9C1E8A7F}"/>
              </a:ext>
            </a:extLst>
          </p:cNvPr>
          <p:cNvSpPr>
            <a:spLocks noEditPoints="1"/>
          </p:cNvSpPr>
          <p:nvPr/>
        </p:nvSpPr>
        <p:spPr bwMode="auto">
          <a:xfrm>
            <a:off x="5419972" y="5746169"/>
            <a:ext cx="50612" cy="52637"/>
          </a:xfrm>
          <a:custGeom>
            <a:avLst/>
            <a:gdLst>
              <a:gd name="T0" fmla="*/ 0 w 21"/>
              <a:gd name="T1" fmla="*/ 11 h 22"/>
              <a:gd name="T2" fmla="*/ 10 w 21"/>
              <a:gd name="T3" fmla="*/ 0 h 22"/>
              <a:gd name="T4" fmla="*/ 21 w 21"/>
              <a:gd name="T5" fmla="*/ 11 h 22"/>
              <a:gd name="T6" fmla="*/ 10 w 21"/>
              <a:gd name="T7" fmla="*/ 22 h 22"/>
              <a:gd name="T8" fmla="*/ 0 w 21"/>
              <a:gd name="T9" fmla="*/ 11 h 22"/>
              <a:gd name="T10" fmla="*/ 4 w 21"/>
              <a:gd name="T11" fmla="*/ 11 h 22"/>
              <a:gd name="T12" fmla="*/ 10 w 21"/>
              <a:gd name="T13" fmla="*/ 17 h 22"/>
              <a:gd name="T14" fmla="*/ 17 w 21"/>
              <a:gd name="T15" fmla="*/ 11 h 22"/>
              <a:gd name="T16" fmla="*/ 10 w 21"/>
              <a:gd name="T17" fmla="*/ 5 h 22"/>
              <a:gd name="T18" fmla="*/ 4 w 21"/>
              <a:gd name="T1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2">
                <a:moveTo>
                  <a:pt x="0" y="11"/>
                </a:moveTo>
                <a:cubicBezTo>
                  <a:pt x="0" y="5"/>
                  <a:pt x="5" y="0"/>
                  <a:pt x="10" y="0"/>
                </a:cubicBezTo>
                <a:cubicBezTo>
                  <a:pt x="16" y="0"/>
                  <a:pt x="21" y="5"/>
                  <a:pt x="21" y="11"/>
                </a:cubicBezTo>
                <a:cubicBezTo>
                  <a:pt x="21" y="17"/>
                  <a:pt x="16" y="22"/>
                  <a:pt x="10" y="22"/>
                </a:cubicBezTo>
                <a:cubicBezTo>
                  <a:pt x="5" y="22"/>
                  <a:pt x="0" y="17"/>
                  <a:pt x="0" y="11"/>
                </a:cubicBezTo>
                <a:close/>
                <a:moveTo>
                  <a:pt x="4" y="11"/>
                </a:moveTo>
                <a:cubicBezTo>
                  <a:pt x="4" y="15"/>
                  <a:pt x="7" y="17"/>
                  <a:pt x="10" y="17"/>
                </a:cubicBezTo>
                <a:cubicBezTo>
                  <a:pt x="14" y="17"/>
                  <a:pt x="17" y="15"/>
                  <a:pt x="17" y="11"/>
                </a:cubicBezTo>
                <a:cubicBezTo>
                  <a:pt x="17" y="8"/>
                  <a:pt x="14" y="5"/>
                  <a:pt x="10" y="5"/>
                </a:cubicBezTo>
                <a:cubicBezTo>
                  <a:pt x="7" y="5"/>
                  <a:pt x="4" y="8"/>
                  <a:pt x="4"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4" name="Freeform 16">
            <a:extLst>
              <a:ext uri="{FF2B5EF4-FFF2-40B4-BE49-F238E27FC236}">
                <a16:creationId xmlns:a16="http://schemas.microsoft.com/office/drawing/2014/main" id="{C8461AE9-26F6-40A6-B62D-9354D4B32C99}"/>
              </a:ext>
            </a:extLst>
          </p:cNvPr>
          <p:cNvSpPr>
            <a:spLocks noEditPoints="1"/>
          </p:cNvSpPr>
          <p:nvPr/>
        </p:nvSpPr>
        <p:spPr bwMode="auto">
          <a:xfrm>
            <a:off x="5414910" y="5744145"/>
            <a:ext cx="59723" cy="56686"/>
          </a:xfrm>
          <a:custGeom>
            <a:avLst/>
            <a:gdLst>
              <a:gd name="T0" fmla="*/ 2 w 25"/>
              <a:gd name="T1" fmla="*/ 12 h 24"/>
              <a:gd name="T2" fmla="*/ 3 w 25"/>
              <a:gd name="T3" fmla="*/ 12 h 24"/>
              <a:gd name="T4" fmla="*/ 12 w 25"/>
              <a:gd name="T5" fmla="*/ 3 h 24"/>
              <a:gd name="T6" fmla="*/ 22 w 25"/>
              <a:gd name="T7" fmla="*/ 12 h 24"/>
              <a:gd name="T8" fmla="*/ 12 w 25"/>
              <a:gd name="T9" fmla="*/ 21 h 24"/>
              <a:gd name="T10" fmla="*/ 3 w 25"/>
              <a:gd name="T11" fmla="*/ 12 h 24"/>
              <a:gd name="T12" fmla="*/ 2 w 25"/>
              <a:gd name="T13" fmla="*/ 12 h 24"/>
              <a:gd name="T14" fmla="*/ 0 w 25"/>
              <a:gd name="T15" fmla="*/ 12 h 24"/>
              <a:gd name="T16" fmla="*/ 12 w 25"/>
              <a:gd name="T17" fmla="*/ 24 h 24"/>
              <a:gd name="T18" fmla="*/ 25 w 25"/>
              <a:gd name="T19" fmla="*/ 12 h 24"/>
              <a:gd name="T20" fmla="*/ 12 w 25"/>
              <a:gd name="T21" fmla="*/ 0 h 24"/>
              <a:gd name="T22" fmla="*/ 0 w 25"/>
              <a:gd name="T23" fmla="*/ 12 h 24"/>
              <a:gd name="T24" fmla="*/ 2 w 25"/>
              <a:gd name="T25" fmla="*/ 12 h 24"/>
              <a:gd name="T26" fmla="*/ 6 w 25"/>
              <a:gd name="T27" fmla="*/ 12 h 24"/>
              <a:gd name="T28" fmla="*/ 5 w 25"/>
              <a:gd name="T29" fmla="*/ 12 h 24"/>
              <a:gd name="T30" fmla="*/ 12 w 25"/>
              <a:gd name="T31" fmla="*/ 20 h 24"/>
              <a:gd name="T32" fmla="*/ 20 w 25"/>
              <a:gd name="T33" fmla="*/ 12 h 24"/>
              <a:gd name="T34" fmla="*/ 12 w 25"/>
              <a:gd name="T35" fmla="*/ 5 h 24"/>
              <a:gd name="T36" fmla="*/ 5 w 25"/>
              <a:gd name="T37" fmla="*/ 12 h 24"/>
              <a:gd name="T38" fmla="*/ 6 w 25"/>
              <a:gd name="T39" fmla="*/ 12 h 24"/>
              <a:gd name="T40" fmla="*/ 8 w 25"/>
              <a:gd name="T41" fmla="*/ 12 h 24"/>
              <a:gd name="T42" fmla="*/ 12 w 25"/>
              <a:gd name="T43" fmla="*/ 8 h 24"/>
              <a:gd name="T44" fmla="*/ 17 w 25"/>
              <a:gd name="T45" fmla="*/ 12 h 24"/>
              <a:gd name="T46" fmla="*/ 12 w 25"/>
              <a:gd name="T47" fmla="*/ 17 h 24"/>
              <a:gd name="T48" fmla="*/ 8 w 25"/>
              <a:gd name="T49" fmla="*/ 12 h 24"/>
              <a:gd name="T50" fmla="*/ 6 w 25"/>
              <a:gd name="T5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4">
                <a:moveTo>
                  <a:pt x="2" y="12"/>
                </a:moveTo>
                <a:cubicBezTo>
                  <a:pt x="3" y="12"/>
                  <a:pt x="3" y="12"/>
                  <a:pt x="3" y="12"/>
                </a:cubicBezTo>
                <a:cubicBezTo>
                  <a:pt x="3" y="7"/>
                  <a:pt x="7" y="3"/>
                  <a:pt x="12" y="3"/>
                </a:cubicBezTo>
                <a:cubicBezTo>
                  <a:pt x="18" y="3"/>
                  <a:pt x="22" y="7"/>
                  <a:pt x="22" y="12"/>
                </a:cubicBezTo>
                <a:cubicBezTo>
                  <a:pt x="22" y="17"/>
                  <a:pt x="18" y="21"/>
                  <a:pt x="12" y="21"/>
                </a:cubicBezTo>
                <a:cubicBezTo>
                  <a:pt x="7" y="21"/>
                  <a:pt x="3" y="17"/>
                  <a:pt x="3" y="12"/>
                </a:cubicBezTo>
                <a:cubicBezTo>
                  <a:pt x="2" y="12"/>
                  <a:pt x="2" y="12"/>
                  <a:pt x="2" y="12"/>
                </a:cubicBezTo>
                <a:cubicBezTo>
                  <a:pt x="0" y="12"/>
                  <a:pt x="0" y="12"/>
                  <a:pt x="0" y="12"/>
                </a:cubicBezTo>
                <a:cubicBezTo>
                  <a:pt x="0" y="19"/>
                  <a:pt x="6" y="24"/>
                  <a:pt x="12" y="24"/>
                </a:cubicBezTo>
                <a:cubicBezTo>
                  <a:pt x="19" y="24"/>
                  <a:pt x="25" y="19"/>
                  <a:pt x="25" y="12"/>
                </a:cubicBezTo>
                <a:cubicBezTo>
                  <a:pt x="25" y="5"/>
                  <a:pt x="19" y="0"/>
                  <a:pt x="12" y="0"/>
                </a:cubicBezTo>
                <a:cubicBezTo>
                  <a:pt x="6" y="0"/>
                  <a:pt x="0" y="5"/>
                  <a:pt x="0" y="12"/>
                </a:cubicBezTo>
                <a:lnTo>
                  <a:pt x="2" y="12"/>
                </a:lnTo>
                <a:close/>
                <a:moveTo>
                  <a:pt x="6" y="12"/>
                </a:moveTo>
                <a:cubicBezTo>
                  <a:pt x="5" y="12"/>
                  <a:pt x="5" y="12"/>
                  <a:pt x="5" y="12"/>
                </a:cubicBezTo>
                <a:cubicBezTo>
                  <a:pt x="5" y="16"/>
                  <a:pt x="8" y="20"/>
                  <a:pt x="12" y="20"/>
                </a:cubicBezTo>
                <a:cubicBezTo>
                  <a:pt x="17" y="20"/>
                  <a:pt x="20" y="16"/>
                  <a:pt x="20" y="12"/>
                </a:cubicBezTo>
                <a:cubicBezTo>
                  <a:pt x="20" y="8"/>
                  <a:pt x="17" y="5"/>
                  <a:pt x="12" y="5"/>
                </a:cubicBezTo>
                <a:cubicBezTo>
                  <a:pt x="8" y="5"/>
                  <a:pt x="5" y="8"/>
                  <a:pt x="5" y="12"/>
                </a:cubicBezTo>
                <a:cubicBezTo>
                  <a:pt x="6" y="12"/>
                  <a:pt x="6" y="12"/>
                  <a:pt x="6" y="12"/>
                </a:cubicBezTo>
                <a:cubicBezTo>
                  <a:pt x="8" y="12"/>
                  <a:pt x="8" y="12"/>
                  <a:pt x="8" y="12"/>
                </a:cubicBezTo>
                <a:cubicBezTo>
                  <a:pt x="8" y="10"/>
                  <a:pt x="10" y="8"/>
                  <a:pt x="12" y="8"/>
                </a:cubicBezTo>
                <a:cubicBezTo>
                  <a:pt x="15" y="8"/>
                  <a:pt x="17" y="10"/>
                  <a:pt x="17" y="12"/>
                </a:cubicBezTo>
                <a:cubicBezTo>
                  <a:pt x="17" y="15"/>
                  <a:pt x="15" y="17"/>
                  <a:pt x="12" y="17"/>
                </a:cubicBezTo>
                <a:cubicBezTo>
                  <a:pt x="10" y="17"/>
                  <a:pt x="8" y="15"/>
                  <a:pt x="8" y="12"/>
                </a:cubicBezTo>
                <a:lnTo>
                  <a:pt x="6" y="1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5" name="Freeform 17">
            <a:extLst>
              <a:ext uri="{FF2B5EF4-FFF2-40B4-BE49-F238E27FC236}">
                <a16:creationId xmlns:a16="http://schemas.microsoft.com/office/drawing/2014/main" id="{5BACA4CA-F723-4A0D-A4B4-2B0F2B8E4B86}"/>
              </a:ext>
            </a:extLst>
          </p:cNvPr>
          <p:cNvSpPr>
            <a:spLocks noEditPoints="1"/>
          </p:cNvSpPr>
          <p:nvPr/>
        </p:nvSpPr>
        <p:spPr bwMode="auto">
          <a:xfrm>
            <a:off x="6003025" y="5620651"/>
            <a:ext cx="69845" cy="69845"/>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6"/>
                  <a:pt x="7" y="0"/>
                  <a:pt x="15" y="0"/>
                </a:cubicBezTo>
                <a:cubicBezTo>
                  <a:pt x="23" y="0"/>
                  <a:pt x="29" y="6"/>
                  <a:pt x="29" y="14"/>
                </a:cubicBezTo>
                <a:cubicBezTo>
                  <a:pt x="29" y="22"/>
                  <a:pt x="23"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6" name="Freeform 18">
            <a:extLst>
              <a:ext uri="{FF2B5EF4-FFF2-40B4-BE49-F238E27FC236}">
                <a16:creationId xmlns:a16="http://schemas.microsoft.com/office/drawing/2014/main" id="{71AD192F-C3B7-442B-BB03-F53C9EB9CD44}"/>
              </a:ext>
            </a:extLst>
          </p:cNvPr>
          <p:cNvSpPr>
            <a:spLocks noEditPoints="1"/>
          </p:cNvSpPr>
          <p:nvPr/>
        </p:nvSpPr>
        <p:spPr bwMode="auto">
          <a:xfrm>
            <a:off x="6001001" y="5618626"/>
            <a:ext cx="76931" cy="74906"/>
          </a:xfrm>
          <a:custGeom>
            <a:avLst/>
            <a:gdLst>
              <a:gd name="T0" fmla="*/ 16 w 32"/>
              <a:gd name="T1" fmla="*/ 30 h 31"/>
              <a:gd name="T2" fmla="*/ 16 w 32"/>
              <a:gd name="T3" fmla="*/ 28 h 31"/>
              <a:gd name="T4" fmla="*/ 7 w 32"/>
              <a:gd name="T5" fmla="*/ 24 h 31"/>
              <a:gd name="T6" fmla="*/ 3 w 32"/>
              <a:gd name="T7" fmla="*/ 15 h 31"/>
              <a:gd name="T8" fmla="*/ 7 w 32"/>
              <a:gd name="T9" fmla="*/ 6 h 31"/>
              <a:gd name="T10" fmla="*/ 16 w 32"/>
              <a:gd name="T11" fmla="*/ 2 h 31"/>
              <a:gd name="T12" fmla="*/ 25 w 32"/>
              <a:gd name="T13" fmla="*/ 6 h 31"/>
              <a:gd name="T14" fmla="*/ 29 w 32"/>
              <a:gd name="T15" fmla="*/ 15 h 31"/>
              <a:gd name="T16" fmla="*/ 25 w 32"/>
              <a:gd name="T17" fmla="*/ 24 h 31"/>
              <a:gd name="T18" fmla="*/ 16 w 32"/>
              <a:gd name="T19" fmla="*/ 28 h 31"/>
              <a:gd name="T20" fmla="*/ 16 w 32"/>
              <a:gd name="T21" fmla="*/ 30 h 31"/>
              <a:gd name="T22" fmla="*/ 16 w 32"/>
              <a:gd name="T23" fmla="*/ 31 h 31"/>
              <a:gd name="T24" fmla="*/ 32 w 32"/>
              <a:gd name="T25" fmla="*/ 15 h 31"/>
              <a:gd name="T26" fmla="*/ 16 w 32"/>
              <a:gd name="T27" fmla="*/ 0 h 31"/>
              <a:gd name="T28" fmla="*/ 0 w 32"/>
              <a:gd name="T29" fmla="*/ 15 h 31"/>
              <a:gd name="T30" fmla="*/ 16 w 32"/>
              <a:gd name="T31" fmla="*/ 31 h 31"/>
              <a:gd name="T32" fmla="*/ 16 w 32"/>
              <a:gd name="T33" fmla="*/ 30 h 31"/>
              <a:gd name="T34" fmla="*/ 16 w 32"/>
              <a:gd name="T35" fmla="*/ 6 h 31"/>
              <a:gd name="T36" fmla="*/ 16 w 32"/>
              <a:gd name="T37" fmla="*/ 4 h 31"/>
              <a:gd name="T38" fmla="*/ 5 w 32"/>
              <a:gd name="T39" fmla="*/ 15 h 31"/>
              <a:gd name="T40" fmla="*/ 16 w 32"/>
              <a:gd name="T41" fmla="*/ 26 h 31"/>
              <a:gd name="T42" fmla="*/ 27 w 32"/>
              <a:gd name="T43" fmla="*/ 15 h 31"/>
              <a:gd name="T44" fmla="*/ 16 w 32"/>
              <a:gd name="T45" fmla="*/ 4 h 31"/>
              <a:gd name="T46" fmla="*/ 16 w 32"/>
              <a:gd name="T47" fmla="*/ 6 h 31"/>
              <a:gd name="T48" fmla="*/ 16 w 32"/>
              <a:gd name="T49" fmla="*/ 7 h 31"/>
              <a:gd name="T50" fmla="*/ 24 w 32"/>
              <a:gd name="T51" fmla="*/ 15 h 31"/>
              <a:gd name="T52" fmla="*/ 16 w 32"/>
              <a:gd name="T53" fmla="*/ 23 h 31"/>
              <a:gd name="T54" fmla="*/ 8 w 32"/>
              <a:gd name="T55" fmla="*/ 15 h 31"/>
              <a:gd name="T56" fmla="*/ 16 w 32"/>
              <a:gd name="T57" fmla="*/ 7 h 31"/>
              <a:gd name="T58" fmla="*/ 16 w 32"/>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16" y="30"/>
                </a:moveTo>
                <a:cubicBezTo>
                  <a:pt x="16" y="28"/>
                  <a:pt x="16" y="28"/>
                  <a:pt x="16" y="28"/>
                </a:cubicBezTo>
                <a:cubicBezTo>
                  <a:pt x="12" y="28"/>
                  <a:pt x="9" y="27"/>
                  <a:pt x="7" y="24"/>
                </a:cubicBezTo>
                <a:cubicBezTo>
                  <a:pt x="4" y="22"/>
                  <a:pt x="3" y="19"/>
                  <a:pt x="3" y="15"/>
                </a:cubicBezTo>
                <a:cubicBezTo>
                  <a:pt x="3" y="12"/>
                  <a:pt x="4" y="9"/>
                  <a:pt x="7" y="6"/>
                </a:cubicBezTo>
                <a:cubicBezTo>
                  <a:pt x="9" y="4"/>
                  <a:pt x="12" y="3"/>
                  <a:pt x="16" y="2"/>
                </a:cubicBezTo>
                <a:cubicBezTo>
                  <a:pt x="19" y="3"/>
                  <a:pt x="22" y="4"/>
                  <a:pt x="25" y="6"/>
                </a:cubicBezTo>
                <a:cubicBezTo>
                  <a:pt x="27" y="9"/>
                  <a:pt x="29" y="12"/>
                  <a:pt x="29" y="15"/>
                </a:cubicBezTo>
                <a:cubicBezTo>
                  <a:pt x="29" y="19"/>
                  <a:pt x="27" y="22"/>
                  <a:pt x="25" y="24"/>
                </a:cubicBezTo>
                <a:cubicBezTo>
                  <a:pt x="22" y="27"/>
                  <a:pt x="19" y="28"/>
                  <a:pt x="16" y="28"/>
                </a:cubicBezTo>
                <a:cubicBezTo>
                  <a:pt x="16" y="30"/>
                  <a:pt x="16" y="30"/>
                  <a:pt x="16" y="30"/>
                </a:cubicBezTo>
                <a:cubicBezTo>
                  <a:pt x="16" y="31"/>
                  <a:pt x="16" y="31"/>
                  <a:pt x="16" y="31"/>
                </a:cubicBezTo>
                <a:cubicBezTo>
                  <a:pt x="24" y="31"/>
                  <a:pt x="32" y="24"/>
                  <a:pt x="32" y="15"/>
                </a:cubicBezTo>
                <a:cubicBezTo>
                  <a:pt x="32" y="7"/>
                  <a:pt x="24" y="0"/>
                  <a:pt x="16" y="0"/>
                </a:cubicBezTo>
                <a:cubicBezTo>
                  <a:pt x="7" y="0"/>
                  <a:pt x="0" y="7"/>
                  <a:pt x="0" y="15"/>
                </a:cubicBezTo>
                <a:cubicBezTo>
                  <a:pt x="0" y="24"/>
                  <a:pt x="7" y="31"/>
                  <a:pt x="16" y="31"/>
                </a:cubicBezTo>
                <a:lnTo>
                  <a:pt x="16" y="30"/>
                </a:lnTo>
                <a:close/>
                <a:moveTo>
                  <a:pt x="16" y="6"/>
                </a:moveTo>
                <a:cubicBezTo>
                  <a:pt x="16" y="4"/>
                  <a:pt x="16" y="4"/>
                  <a:pt x="16" y="4"/>
                </a:cubicBezTo>
                <a:cubicBezTo>
                  <a:pt x="10" y="4"/>
                  <a:pt x="5" y="9"/>
                  <a:pt x="5" y="15"/>
                </a:cubicBezTo>
                <a:cubicBezTo>
                  <a:pt x="5" y="21"/>
                  <a:pt x="10" y="26"/>
                  <a:pt x="16" y="26"/>
                </a:cubicBezTo>
                <a:cubicBezTo>
                  <a:pt x="22" y="26"/>
                  <a:pt x="27" y="21"/>
                  <a:pt x="27" y="15"/>
                </a:cubicBezTo>
                <a:cubicBezTo>
                  <a:pt x="27" y="9"/>
                  <a:pt x="22" y="4"/>
                  <a:pt x="16" y="4"/>
                </a:cubicBezTo>
                <a:cubicBezTo>
                  <a:pt x="16" y="6"/>
                  <a:pt x="16" y="6"/>
                  <a:pt x="16" y="6"/>
                </a:cubicBezTo>
                <a:cubicBezTo>
                  <a:pt x="16" y="7"/>
                  <a:pt x="16" y="7"/>
                  <a:pt x="16" y="7"/>
                </a:cubicBezTo>
                <a:cubicBezTo>
                  <a:pt x="20" y="7"/>
                  <a:pt x="24" y="11"/>
                  <a:pt x="24" y="15"/>
                </a:cubicBezTo>
                <a:cubicBezTo>
                  <a:pt x="24" y="20"/>
                  <a:pt x="20" y="23"/>
                  <a:pt x="16" y="23"/>
                </a:cubicBezTo>
                <a:cubicBezTo>
                  <a:pt x="11" y="23"/>
                  <a:pt x="8" y="20"/>
                  <a:pt x="8" y="15"/>
                </a:cubicBezTo>
                <a:cubicBezTo>
                  <a:pt x="8"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19">
            <a:extLst>
              <a:ext uri="{FF2B5EF4-FFF2-40B4-BE49-F238E27FC236}">
                <a16:creationId xmlns:a16="http://schemas.microsoft.com/office/drawing/2014/main" id="{43040A79-5470-4754-9754-3B274215BFF7}"/>
              </a:ext>
            </a:extLst>
          </p:cNvPr>
          <p:cNvSpPr>
            <a:spLocks noEditPoints="1"/>
          </p:cNvSpPr>
          <p:nvPr/>
        </p:nvSpPr>
        <p:spPr bwMode="auto">
          <a:xfrm>
            <a:off x="5085930" y="6176374"/>
            <a:ext cx="66808" cy="69845"/>
          </a:xfrm>
          <a:custGeom>
            <a:avLst/>
            <a:gdLst>
              <a:gd name="T0" fmla="*/ 0 w 28"/>
              <a:gd name="T1" fmla="*/ 15 h 29"/>
              <a:gd name="T2" fmla="*/ 14 w 28"/>
              <a:gd name="T3" fmla="*/ 0 h 29"/>
              <a:gd name="T4" fmla="*/ 28 w 28"/>
              <a:gd name="T5" fmla="*/ 15 h 29"/>
              <a:gd name="T6" fmla="*/ 14 w 28"/>
              <a:gd name="T7" fmla="*/ 29 h 29"/>
              <a:gd name="T8" fmla="*/ 0 w 28"/>
              <a:gd name="T9" fmla="*/ 15 h 29"/>
              <a:gd name="T10" fmla="*/ 4 w 28"/>
              <a:gd name="T11" fmla="*/ 15 h 29"/>
              <a:gd name="T12" fmla="*/ 14 w 28"/>
              <a:gd name="T13" fmla="*/ 24 h 29"/>
              <a:gd name="T14" fmla="*/ 24 w 28"/>
              <a:gd name="T15" fmla="*/ 15 h 29"/>
              <a:gd name="T16" fmla="*/ 14 w 28"/>
              <a:gd name="T17" fmla="*/ 5 h 29"/>
              <a:gd name="T18" fmla="*/ 4 w 28"/>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9">
                <a:moveTo>
                  <a:pt x="0" y="15"/>
                </a:moveTo>
                <a:cubicBezTo>
                  <a:pt x="0" y="7"/>
                  <a:pt x="6" y="0"/>
                  <a:pt x="14" y="0"/>
                </a:cubicBezTo>
                <a:cubicBezTo>
                  <a:pt x="22" y="0"/>
                  <a:pt x="28" y="7"/>
                  <a:pt x="28" y="15"/>
                </a:cubicBezTo>
                <a:cubicBezTo>
                  <a:pt x="28" y="22"/>
                  <a:pt x="22" y="29"/>
                  <a:pt x="14" y="29"/>
                </a:cubicBezTo>
                <a:cubicBezTo>
                  <a:pt x="6" y="29"/>
                  <a:pt x="0" y="22"/>
                  <a:pt x="0" y="15"/>
                </a:cubicBezTo>
                <a:close/>
                <a:moveTo>
                  <a:pt x="4" y="15"/>
                </a:moveTo>
                <a:cubicBezTo>
                  <a:pt x="4" y="20"/>
                  <a:pt x="9" y="24"/>
                  <a:pt x="14" y="24"/>
                </a:cubicBezTo>
                <a:cubicBezTo>
                  <a:pt x="19" y="24"/>
                  <a:pt x="24" y="20"/>
                  <a:pt x="24" y="15"/>
                </a:cubicBezTo>
                <a:cubicBezTo>
                  <a:pt x="24" y="9"/>
                  <a:pt x="19" y="5"/>
                  <a:pt x="14" y="5"/>
                </a:cubicBezTo>
                <a:cubicBezTo>
                  <a:pt x="9" y="5"/>
                  <a:pt x="4" y="9"/>
                  <a:pt x="4" y="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Freeform 20">
            <a:extLst>
              <a:ext uri="{FF2B5EF4-FFF2-40B4-BE49-F238E27FC236}">
                <a16:creationId xmlns:a16="http://schemas.microsoft.com/office/drawing/2014/main" id="{1A232D3B-A942-454E-B098-F1C4679CC89A}"/>
              </a:ext>
            </a:extLst>
          </p:cNvPr>
          <p:cNvSpPr>
            <a:spLocks noEditPoints="1"/>
          </p:cNvSpPr>
          <p:nvPr/>
        </p:nvSpPr>
        <p:spPr bwMode="auto">
          <a:xfrm>
            <a:off x="5080869" y="6173337"/>
            <a:ext cx="76931" cy="74906"/>
          </a:xfrm>
          <a:custGeom>
            <a:avLst/>
            <a:gdLst>
              <a:gd name="T0" fmla="*/ 2 w 32"/>
              <a:gd name="T1" fmla="*/ 16 h 31"/>
              <a:gd name="T2" fmla="*/ 3 w 32"/>
              <a:gd name="T3" fmla="*/ 16 h 31"/>
              <a:gd name="T4" fmla="*/ 7 w 32"/>
              <a:gd name="T5" fmla="*/ 6 h 31"/>
              <a:gd name="T6" fmla="*/ 16 w 32"/>
              <a:gd name="T7" fmla="*/ 3 h 31"/>
              <a:gd name="T8" fmla="*/ 25 w 32"/>
              <a:gd name="T9" fmla="*/ 6 h 31"/>
              <a:gd name="T10" fmla="*/ 29 w 32"/>
              <a:gd name="T11" fmla="*/ 16 h 31"/>
              <a:gd name="T12" fmla="*/ 25 w 32"/>
              <a:gd name="T13" fmla="*/ 25 h 31"/>
              <a:gd name="T14" fmla="*/ 16 w 32"/>
              <a:gd name="T15" fmla="*/ 28 h 31"/>
              <a:gd name="T16" fmla="*/ 7 w 32"/>
              <a:gd name="T17" fmla="*/ 25 h 31"/>
              <a:gd name="T18" fmla="*/ 3 w 32"/>
              <a:gd name="T19" fmla="*/ 16 h 31"/>
              <a:gd name="T20" fmla="*/ 2 w 32"/>
              <a:gd name="T21" fmla="*/ 16 h 31"/>
              <a:gd name="T22" fmla="*/ 0 w 32"/>
              <a:gd name="T23" fmla="*/ 16 h 31"/>
              <a:gd name="T24" fmla="*/ 16 w 32"/>
              <a:gd name="T25" fmla="*/ 31 h 31"/>
              <a:gd name="T26" fmla="*/ 32 w 32"/>
              <a:gd name="T27" fmla="*/ 16 h 31"/>
              <a:gd name="T28" fmla="*/ 16 w 32"/>
              <a:gd name="T29" fmla="*/ 0 h 31"/>
              <a:gd name="T30" fmla="*/ 0 w 32"/>
              <a:gd name="T31" fmla="*/ 16 h 31"/>
              <a:gd name="T32" fmla="*/ 2 w 32"/>
              <a:gd name="T33" fmla="*/ 16 h 31"/>
              <a:gd name="T34" fmla="*/ 6 w 32"/>
              <a:gd name="T35" fmla="*/ 16 h 31"/>
              <a:gd name="T36" fmla="*/ 5 w 32"/>
              <a:gd name="T37" fmla="*/ 16 h 31"/>
              <a:gd name="T38" fmla="*/ 16 w 32"/>
              <a:gd name="T39" fmla="*/ 27 h 31"/>
              <a:gd name="T40" fmla="*/ 27 w 32"/>
              <a:gd name="T41" fmla="*/ 16 h 31"/>
              <a:gd name="T42" fmla="*/ 16 w 32"/>
              <a:gd name="T43" fmla="*/ 4 h 31"/>
              <a:gd name="T44" fmla="*/ 5 w 32"/>
              <a:gd name="T45" fmla="*/ 16 h 31"/>
              <a:gd name="T46" fmla="*/ 6 w 32"/>
              <a:gd name="T47" fmla="*/ 16 h 31"/>
              <a:gd name="T48" fmla="*/ 8 w 32"/>
              <a:gd name="T49" fmla="*/ 16 h 31"/>
              <a:gd name="T50" fmla="*/ 16 w 32"/>
              <a:gd name="T51" fmla="*/ 7 h 31"/>
              <a:gd name="T52" fmla="*/ 24 w 32"/>
              <a:gd name="T53" fmla="*/ 16 h 31"/>
              <a:gd name="T54" fmla="*/ 16 w 32"/>
              <a:gd name="T55" fmla="*/ 24 h 31"/>
              <a:gd name="T56" fmla="*/ 8 w 32"/>
              <a:gd name="T57" fmla="*/ 16 h 31"/>
              <a:gd name="T58" fmla="*/ 6 w 32"/>
              <a:gd name="T59"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31">
                <a:moveTo>
                  <a:pt x="2" y="16"/>
                </a:moveTo>
                <a:cubicBezTo>
                  <a:pt x="3" y="16"/>
                  <a:pt x="3" y="16"/>
                  <a:pt x="3" y="16"/>
                </a:cubicBezTo>
                <a:cubicBezTo>
                  <a:pt x="3" y="12"/>
                  <a:pt x="5" y="9"/>
                  <a:pt x="7" y="6"/>
                </a:cubicBezTo>
                <a:cubicBezTo>
                  <a:pt x="9" y="4"/>
                  <a:pt x="13" y="3"/>
                  <a:pt x="16" y="3"/>
                </a:cubicBezTo>
                <a:cubicBezTo>
                  <a:pt x="20" y="3"/>
                  <a:pt x="23" y="4"/>
                  <a:pt x="25" y="6"/>
                </a:cubicBezTo>
                <a:cubicBezTo>
                  <a:pt x="27" y="9"/>
                  <a:pt x="29" y="12"/>
                  <a:pt x="29" y="16"/>
                </a:cubicBezTo>
                <a:cubicBezTo>
                  <a:pt x="29" y="19"/>
                  <a:pt x="27" y="22"/>
                  <a:pt x="25" y="25"/>
                </a:cubicBezTo>
                <a:cubicBezTo>
                  <a:pt x="23" y="27"/>
                  <a:pt x="20" y="28"/>
                  <a:pt x="16" y="28"/>
                </a:cubicBezTo>
                <a:cubicBezTo>
                  <a:pt x="13" y="28"/>
                  <a:pt x="9" y="27"/>
                  <a:pt x="7" y="25"/>
                </a:cubicBezTo>
                <a:cubicBezTo>
                  <a:pt x="5" y="22"/>
                  <a:pt x="3" y="19"/>
                  <a:pt x="3" y="16"/>
                </a:cubicBezTo>
                <a:cubicBezTo>
                  <a:pt x="2" y="16"/>
                  <a:pt x="2" y="16"/>
                  <a:pt x="2" y="16"/>
                </a:cubicBezTo>
                <a:cubicBezTo>
                  <a:pt x="0" y="16"/>
                  <a:pt x="0" y="16"/>
                  <a:pt x="0" y="16"/>
                </a:cubicBezTo>
                <a:cubicBezTo>
                  <a:pt x="0" y="24"/>
                  <a:pt x="7" y="31"/>
                  <a:pt x="16" y="31"/>
                </a:cubicBezTo>
                <a:cubicBezTo>
                  <a:pt x="25" y="31"/>
                  <a:pt x="32" y="24"/>
                  <a:pt x="32" y="16"/>
                </a:cubicBezTo>
                <a:cubicBezTo>
                  <a:pt x="32" y="7"/>
                  <a:pt x="25" y="0"/>
                  <a:pt x="16" y="0"/>
                </a:cubicBezTo>
                <a:cubicBezTo>
                  <a:pt x="7" y="0"/>
                  <a:pt x="0" y="7"/>
                  <a:pt x="0" y="16"/>
                </a:cubicBezTo>
                <a:lnTo>
                  <a:pt x="2" y="16"/>
                </a:lnTo>
                <a:close/>
                <a:moveTo>
                  <a:pt x="6" y="16"/>
                </a:moveTo>
                <a:cubicBezTo>
                  <a:pt x="5" y="16"/>
                  <a:pt x="5" y="16"/>
                  <a:pt x="5" y="16"/>
                </a:cubicBezTo>
                <a:cubicBezTo>
                  <a:pt x="5" y="22"/>
                  <a:pt x="10" y="27"/>
                  <a:pt x="16" y="27"/>
                </a:cubicBezTo>
                <a:cubicBezTo>
                  <a:pt x="22" y="27"/>
                  <a:pt x="27" y="22"/>
                  <a:pt x="27" y="16"/>
                </a:cubicBezTo>
                <a:cubicBezTo>
                  <a:pt x="27" y="9"/>
                  <a:pt x="22" y="4"/>
                  <a:pt x="16" y="4"/>
                </a:cubicBezTo>
                <a:cubicBezTo>
                  <a:pt x="10" y="4"/>
                  <a:pt x="5" y="9"/>
                  <a:pt x="5" y="16"/>
                </a:cubicBezTo>
                <a:cubicBezTo>
                  <a:pt x="6" y="16"/>
                  <a:pt x="6" y="16"/>
                  <a:pt x="6" y="16"/>
                </a:cubicBezTo>
                <a:cubicBezTo>
                  <a:pt x="8" y="16"/>
                  <a:pt x="8" y="16"/>
                  <a:pt x="8" y="16"/>
                </a:cubicBezTo>
                <a:cubicBezTo>
                  <a:pt x="8" y="11"/>
                  <a:pt x="12" y="7"/>
                  <a:pt x="16" y="7"/>
                </a:cubicBezTo>
                <a:cubicBezTo>
                  <a:pt x="21" y="7"/>
                  <a:pt x="24" y="11"/>
                  <a:pt x="24" y="16"/>
                </a:cubicBezTo>
                <a:cubicBezTo>
                  <a:pt x="24" y="20"/>
                  <a:pt x="21" y="24"/>
                  <a:pt x="16" y="24"/>
                </a:cubicBezTo>
                <a:cubicBezTo>
                  <a:pt x="12" y="24"/>
                  <a:pt x="8" y="20"/>
                  <a:pt x="8" y="16"/>
                </a:cubicBezTo>
                <a:lnTo>
                  <a:pt x="6" y="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9" name="Freeform 21">
            <a:extLst>
              <a:ext uri="{FF2B5EF4-FFF2-40B4-BE49-F238E27FC236}">
                <a16:creationId xmlns:a16="http://schemas.microsoft.com/office/drawing/2014/main" id="{4A7A755C-8A86-48B4-A2D7-C87F1F4A4E73}"/>
              </a:ext>
            </a:extLst>
          </p:cNvPr>
          <p:cNvSpPr>
            <a:spLocks noEditPoints="1"/>
          </p:cNvSpPr>
          <p:nvPr/>
        </p:nvSpPr>
        <p:spPr bwMode="auto">
          <a:xfrm>
            <a:off x="4610175" y="6087296"/>
            <a:ext cx="78955" cy="96163"/>
          </a:xfrm>
          <a:custGeom>
            <a:avLst/>
            <a:gdLst>
              <a:gd name="T0" fmla="*/ 0 w 78"/>
              <a:gd name="T1" fmla="*/ 47 h 95"/>
              <a:gd name="T2" fmla="*/ 78 w 78"/>
              <a:gd name="T3" fmla="*/ 0 h 95"/>
              <a:gd name="T4" fmla="*/ 78 w 78"/>
              <a:gd name="T5" fmla="*/ 95 h 95"/>
              <a:gd name="T6" fmla="*/ 0 w 78"/>
              <a:gd name="T7" fmla="*/ 47 h 95"/>
              <a:gd name="T8" fmla="*/ 21 w 78"/>
              <a:gd name="T9" fmla="*/ 47 h 95"/>
              <a:gd name="T10" fmla="*/ 69 w 78"/>
              <a:gd name="T11" fmla="*/ 76 h 95"/>
              <a:gd name="T12" fmla="*/ 69 w 78"/>
              <a:gd name="T13" fmla="*/ 21 h 95"/>
              <a:gd name="T14" fmla="*/ 21 w 78"/>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5">
                <a:moveTo>
                  <a:pt x="0" y="47"/>
                </a:moveTo>
                <a:lnTo>
                  <a:pt x="78" y="0"/>
                </a:lnTo>
                <a:lnTo>
                  <a:pt x="78" y="95"/>
                </a:lnTo>
                <a:lnTo>
                  <a:pt x="0" y="47"/>
                </a:lnTo>
                <a:close/>
                <a:moveTo>
                  <a:pt x="21" y="47"/>
                </a:moveTo>
                <a:lnTo>
                  <a:pt x="69" y="76"/>
                </a:lnTo>
                <a:lnTo>
                  <a:pt x="69"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0" name="Freeform 22">
            <a:extLst>
              <a:ext uri="{FF2B5EF4-FFF2-40B4-BE49-F238E27FC236}">
                <a16:creationId xmlns:a16="http://schemas.microsoft.com/office/drawing/2014/main" id="{E4DD2D6D-2DB2-4B80-8065-92ED12430984}"/>
              </a:ext>
            </a:extLst>
          </p:cNvPr>
          <p:cNvSpPr>
            <a:spLocks noEditPoints="1"/>
          </p:cNvSpPr>
          <p:nvPr/>
        </p:nvSpPr>
        <p:spPr bwMode="auto">
          <a:xfrm>
            <a:off x="4603089"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5 w 90"/>
              <a:gd name="T17" fmla="*/ 55 h 105"/>
              <a:gd name="T18" fmla="*/ 90 w 90"/>
              <a:gd name="T19" fmla="*/ 105 h 105"/>
              <a:gd name="T20" fmla="*/ 90 w 90"/>
              <a:gd name="T21" fmla="*/ 0 h 105"/>
              <a:gd name="T22" fmla="*/ 0 w 90"/>
              <a:gd name="T23" fmla="*/ 52 h 105"/>
              <a:gd name="T24" fmla="*/ 5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1 w 90"/>
              <a:gd name="T43" fmla="*/ 55 h 105"/>
              <a:gd name="T44" fmla="*/ 71 w 90"/>
              <a:gd name="T45" fmla="*/ 31 h 105"/>
              <a:gd name="T46" fmla="*/ 71 w 90"/>
              <a:gd name="T47" fmla="*/ 74 h 105"/>
              <a:gd name="T48" fmla="*/ 31 w 90"/>
              <a:gd name="T49" fmla="*/ 50 h 105"/>
              <a:gd name="T50" fmla="*/ 28 w 90"/>
              <a:gd name="T51" fmla="*/ 52 h 105"/>
              <a:gd name="T52" fmla="*/ 31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5" y="55"/>
                </a:lnTo>
                <a:lnTo>
                  <a:pt x="90" y="105"/>
                </a:lnTo>
                <a:lnTo>
                  <a:pt x="90" y="0"/>
                </a:lnTo>
                <a:lnTo>
                  <a:pt x="0" y="52"/>
                </a:lnTo>
                <a:lnTo>
                  <a:pt x="5" y="55"/>
                </a:lnTo>
                <a:lnTo>
                  <a:pt x="7" y="52"/>
                </a:lnTo>
                <a:close/>
                <a:moveTo>
                  <a:pt x="28" y="52"/>
                </a:moveTo>
                <a:lnTo>
                  <a:pt x="26" y="55"/>
                </a:lnTo>
                <a:lnTo>
                  <a:pt x="78" y="86"/>
                </a:lnTo>
                <a:lnTo>
                  <a:pt x="78" y="19"/>
                </a:lnTo>
                <a:lnTo>
                  <a:pt x="21" y="52"/>
                </a:lnTo>
                <a:lnTo>
                  <a:pt x="26" y="55"/>
                </a:lnTo>
                <a:lnTo>
                  <a:pt x="28" y="52"/>
                </a:lnTo>
                <a:lnTo>
                  <a:pt x="31" y="55"/>
                </a:lnTo>
                <a:lnTo>
                  <a:pt x="71" y="31"/>
                </a:lnTo>
                <a:lnTo>
                  <a:pt x="71" y="74"/>
                </a:lnTo>
                <a:lnTo>
                  <a:pt x="31" y="50"/>
                </a:lnTo>
                <a:lnTo>
                  <a:pt x="28" y="52"/>
                </a:lnTo>
                <a:lnTo>
                  <a:pt x="31"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1" name="Freeform 23">
            <a:extLst>
              <a:ext uri="{FF2B5EF4-FFF2-40B4-BE49-F238E27FC236}">
                <a16:creationId xmlns:a16="http://schemas.microsoft.com/office/drawing/2014/main" id="{A20AE99A-768C-45FB-984F-E157D04E7A90}"/>
              </a:ext>
            </a:extLst>
          </p:cNvPr>
          <p:cNvSpPr>
            <a:spLocks noEditPoints="1"/>
          </p:cNvSpPr>
          <p:nvPr/>
        </p:nvSpPr>
        <p:spPr bwMode="auto">
          <a:xfrm>
            <a:off x="4504901" y="6087296"/>
            <a:ext cx="80980" cy="96163"/>
          </a:xfrm>
          <a:custGeom>
            <a:avLst/>
            <a:gdLst>
              <a:gd name="T0" fmla="*/ 0 w 80"/>
              <a:gd name="T1" fmla="*/ 47 h 95"/>
              <a:gd name="T2" fmla="*/ 80 w 80"/>
              <a:gd name="T3" fmla="*/ 0 h 95"/>
              <a:gd name="T4" fmla="*/ 80 w 80"/>
              <a:gd name="T5" fmla="*/ 95 h 95"/>
              <a:gd name="T6" fmla="*/ 0 w 80"/>
              <a:gd name="T7" fmla="*/ 47 h 95"/>
              <a:gd name="T8" fmla="*/ 21 w 80"/>
              <a:gd name="T9" fmla="*/ 47 h 95"/>
              <a:gd name="T10" fmla="*/ 68 w 80"/>
              <a:gd name="T11" fmla="*/ 76 h 95"/>
              <a:gd name="T12" fmla="*/ 68 w 80"/>
              <a:gd name="T13" fmla="*/ 21 h 95"/>
              <a:gd name="T14" fmla="*/ 21 w 80"/>
              <a:gd name="T15" fmla="*/ 47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5">
                <a:moveTo>
                  <a:pt x="0" y="47"/>
                </a:moveTo>
                <a:lnTo>
                  <a:pt x="80" y="0"/>
                </a:lnTo>
                <a:lnTo>
                  <a:pt x="80" y="95"/>
                </a:lnTo>
                <a:lnTo>
                  <a:pt x="0" y="47"/>
                </a:lnTo>
                <a:close/>
                <a:moveTo>
                  <a:pt x="21" y="47"/>
                </a:moveTo>
                <a:lnTo>
                  <a:pt x="68" y="76"/>
                </a:lnTo>
                <a:lnTo>
                  <a:pt x="68" y="21"/>
                </a:lnTo>
                <a:lnTo>
                  <a:pt x="21" y="4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4">
            <a:extLst>
              <a:ext uri="{FF2B5EF4-FFF2-40B4-BE49-F238E27FC236}">
                <a16:creationId xmlns:a16="http://schemas.microsoft.com/office/drawing/2014/main" id="{C28A0ADF-B052-4BE2-8F66-A19D73F2FE53}"/>
              </a:ext>
            </a:extLst>
          </p:cNvPr>
          <p:cNvSpPr>
            <a:spLocks noEditPoints="1"/>
          </p:cNvSpPr>
          <p:nvPr/>
        </p:nvSpPr>
        <p:spPr bwMode="auto">
          <a:xfrm>
            <a:off x="4497815" y="6082235"/>
            <a:ext cx="91102" cy="106286"/>
          </a:xfrm>
          <a:custGeom>
            <a:avLst/>
            <a:gdLst>
              <a:gd name="T0" fmla="*/ 7 w 90"/>
              <a:gd name="T1" fmla="*/ 52 h 105"/>
              <a:gd name="T2" fmla="*/ 7 w 90"/>
              <a:gd name="T3" fmla="*/ 55 h 105"/>
              <a:gd name="T4" fmla="*/ 83 w 90"/>
              <a:gd name="T5" fmla="*/ 12 h 105"/>
              <a:gd name="T6" fmla="*/ 83 w 90"/>
              <a:gd name="T7" fmla="*/ 93 h 105"/>
              <a:gd name="T8" fmla="*/ 7 w 90"/>
              <a:gd name="T9" fmla="*/ 50 h 105"/>
              <a:gd name="T10" fmla="*/ 7 w 90"/>
              <a:gd name="T11" fmla="*/ 52 h 105"/>
              <a:gd name="T12" fmla="*/ 7 w 90"/>
              <a:gd name="T13" fmla="*/ 55 h 105"/>
              <a:gd name="T14" fmla="*/ 7 w 90"/>
              <a:gd name="T15" fmla="*/ 52 h 105"/>
              <a:gd name="T16" fmla="*/ 4 w 90"/>
              <a:gd name="T17" fmla="*/ 55 h 105"/>
              <a:gd name="T18" fmla="*/ 90 w 90"/>
              <a:gd name="T19" fmla="*/ 105 h 105"/>
              <a:gd name="T20" fmla="*/ 90 w 90"/>
              <a:gd name="T21" fmla="*/ 0 h 105"/>
              <a:gd name="T22" fmla="*/ 0 w 90"/>
              <a:gd name="T23" fmla="*/ 52 h 105"/>
              <a:gd name="T24" fmla="*/ 4 w 90"/>
              <a:gd name="T25" fmla="*/ 55 h 105"/>
              <a:gd name="T26" fmla="*/ 7 w 90"/>
              <a:gd name="T27" fmla="*/ 52 h 105"/>
              <a:gd name="T28" fmla="*/ 28 w 90"/>
              <a:gd name="T29" fmla="*/ 52 h 105"/>
              <a:gd name="T30" fmla="*/ 26 w 90"/>
              <a:gd name="T31" fmla="*/ 55 h 105"/>
              <a:gd name="T32" fmla="*/ 78 w 90"/>
              <a:gd name="T33" fmla="*/ 86 h 105"/>
              <a:gd name="T34" fmla="*/ 78 w 90"/>
              <a:gd name="T35" fmla="*/ 19 h 105"/>
              <a:gd name="T36" fmla="*/ 21 w 90"/>
              <a:gd name="T37" fmla="*/ 52 h 105"/>
              <a:gd name="T38" fmla="*/ 26 w 90"/>
              <a:gd name="T39" fmla="*/ 55 h 105"/>
              <a:gd name="T40" fmla="*/ 28 w 90"/>
              <a:gd name="T41" fmla="*/ 52 h 105"/>
              <a:gd name="T42" fmla="*/ 30 w 90"/>
              <a:gd name="T43" fmla="*/ 55 h 105"/>
              <a:gd name="T44" fmla="*/ 71 w 90"/>
              <a:gd name="T45" fmla="*/ 31 h 105"/>
              <a:gd name="T46" fmla="*/ 71 w 90"/>
              <a:gd name="T47" fmla="*/ 74 h 105"/>
              <a:gd name="T48" fmla="*/ 30 w 90"/>
              <a:gd name="T49" fmla="*/ 50 h 105"/>
              <a:gd name="T50" fmla="*/ 28 w 90"/>
              <a:gd name="T51" fmla="*/ 52 h 105"/>
              <a:gd name="T52" fmla="*/ 30 w 90"/>
              <a:gd name="T53" fmla="*/ 55 h 105"/>
              <a:gd name="T54" fmla="*/ 28 w 90"/>
              <a:gd name="T55" fmla="*/ 5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5">
                <a:moveTo>
                  <a:pt x="7" y="52"/>
                </a:moveTo>
                <a:lnTo>
                  <a:pt x="7" y="55"/>
                </a:lnTo>
                <a:lnTo>
                  <a:pt x="83" y="12"/>
                </a:lnTo>
                <a:lnTo>
                  <a:pt x="83" y="93"/>
                </a:lnTo>
                <a:lnTo>
                  <a:pt x="7" y="50"/>
                </a:lnTo>
                <a:lnTo>
                  <a:pt x="7" y="52"/>
                </a:lnTo>
                <a:lnTo>
                  <a:pt x="7" y="55"/>
                </a:lnTo>
                <a:lnTo>
                  <a:pt x="7" y="52"/>
                </a:lnTo>
                <a:lnTo>
                  <a:pt x="4" y="55"/>
                </a:lnTo>
                <a:lnTo>
                  <a:pt x="90" y="105"/>
                </a:lnTo>
                <a:lnTo>
                  <a:pt x="90" y="0"/>
                </a:lnTo>
                <a:lnTo>
                  <a:pt x="0" y="52"/>
                </a:lnTo>
                <a:lnTo>
                  <a:pt x="4" y="55"/>
                </a:lnTo>
                <a:lnTo>
                  <a:pt x="7" y="52"/>
                </a:lnTo>
                <a:close/>
                <a:moveTo>
                  <a:pt x="28" y="52"/>
                </a:moveTo>
                <a:lnTo>
                  <a:pt x="26" y="55"/>
                </a:lnTo>
                <a:lnTo>
                  <a:pt x="78" y="86"/>
                </a:lnTo>
                <a:lnTo>
                  <a:pt x="78" y="19"/>
                </a:lnTo>
                <a:lnTo>
                  <a:pt x="21" y="52"/>
                </a:lnTo>
                <a:lnTo>
                  <a:pt x="26" y="55"/>
                </a:lnTo>
                <a:lnTo>
                  <a:pt x="28" y="52"/>
                </a:lnTo>
                <a:lnTo>
                  <a:pt x="30" y="55"/>
                </a:lnTo>
                <a:lnTo>
                  <a:pt x="71" y="31"/>
                </a:lnTo>
                <a:lnTo>
                  <a:pt x="71" y="74"/>
                </a:lnTo>
                <a:lnTo>
                  <a:pt x="30" y="50"/>
                </a:lnTo>
                <a:lnTo>
                  <a:pt x="28" y="52"/>
                </a:lnTo>
                <a:lnTo>
                  <a:pt x="30" y="55"/>
                </a:lnTo>
                <a:lnTo>
                  <a:pt x="28" y="5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3" name="Freeform 25">
            <a:extLst>
              <a:ext uri="{FF2B5EF4-FFF2-40B4-BE49-F238E27FC236}">
                <a16:creationId xmlns:a16="http://schemas.microsoft.com/office/drawing/2014/main" id="{60E90381-9EEE-4344-B92C-1B3A25CC51E3}"/>
              </a:ext>
            </a:extLst>
          </p:cNvPr>
          <p:cNvSpPr>
            <a:spLocks noEditPoints="1"/>
          </p:cNvSpPr>
          <p:nvPr/>
        </p:nvSpPr>
        <p:spPr bwMode="auto">
          <a:xfrm>
            <a:off x="11578476" y="6202692"/>
            <a:ext cx="110335" cy="112359"/>
          </a:xfrm>
          <a:custGeom>
            <a:avLst/>
            <a:gdLst>
              <a:gd name="T0" fmla="*/ 0 w 46"/>
              <a:gd name="T1" fmla="*/ 24 h 47"/>
              <a:gd name="T2" fmla="*/ 23 w 46"/>
              <a:gd name="T3" fmla="*/ 0 h 47"/>
              <a:gd name="T4" fmla="*/ 46 w 46"/>
              <a:gd name="T5" fmla="*/ 24 h 47"/>
              <a:gd name="T6" fmla="*/ 23 w 46"/>
              <a:gd name="T7" fmla="*/ 47 h 47"/>
              <a:gd name="T8" fmla="*/ 0 w 46"/>
              <a:gd name="T9" fmla="*/ 24 h 47"/>
              <a:gd name="T10" fmla="*/ 5 w 46"/>
              <a:gd name="T11" fmla="*/ 24 h 47"/>
              <a:gd name="T12" fmla="*/ 23 w 46"/>
              <a:gd name="T13" fmla="*/ 42 h 47"/>
              <a:gd name="T14" fmla="*/ 42 w 46"/>
              <a:gd name="T15" fmla="*/ 24 h 47"/>
              <a:gd name="T16" fmla="*/ 23 w 46"/>
              <a:gd name="T17" fmla="*/ 5 h 47"/>
              <a:gd name="T18" fmla="*/ 5 w 46"/>
              <a:gd name="T19"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0" y="24"/>
                </a:moveTo>
                <a:cubicBezTo>
                  <a:pt x="0" y="11"/>
                  <a:pt x="10" y="0"/>
                  <a:pt x="23" y="0"/>
                </a:cubicBezTo>
                <a:cubicBezTo>
                  <a:pt x="36" y="0"/>
                  <a:pt x="46" y="11"/>
                  <a:pt x="46" y="24"/>
                </a:cubicBezTo>
                <a:cubicBezTo>
                  <a:pt x="46" y="36"/>
                  <a:pt x="36" y="47"/>
                  <a:pt x="23" y="47"/>
                </a:cubicBezTo>
                <a:cubicBezTo>
                  <a:pt x="10" y="47"/>
                  <a:pt x="0" y="36"/>
                  <a:pt x="0" y="24"/>
                </a:cubicBezTo>
                <a:close/>
                <a:moveTo>
                  <a:pt x="5" y="24"/>
                </a:moveTo>
                <a:cubicBezTo>
                  <a:pt x="5" y="34"/>
                  <a:pt x="13" y="42"/>
                  <a:pt x="23" y="42"/>
                </a:cubicBezTo>
                <a:cubicBezTo>
                  <a:pt x="33" y="42"/>
                  <a:pt x="42" y="34"/>
                  <a:pt x="42" y="24"/>
                </a:cubicBezTo>
                <a:cubicBezTo>
                  <a:pt x="42" y="13"/>
                  <a:pt x="33" y="5"/>
                  <a:pt x="23" y="5"/>
                </a:cubicBezTo>
                <a:cubicBezTo>
                  <a:pt x="13" y="5"/>
                  <a:pt x="5" y="13"/>
                  <a:pt x="5" y="2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4" name="Freeform 26">
            <a:extLst>
              <a:ext uri="{FF2B5EF4-FFF2-40B4-BE49-F238E27FC236}">
                <a16:creationId xmlns:a16="http://schemas.microsoft.com/office/drawing/2014/main" id="{747C703A-AB3A-4A2B-88AD-B70982C3B7EA}"/>
              </a:ext>
            </a:extLst>
          </p:cNvPr>
          <p:cNvSpPr>
            <a:spLocks noEditPoints="1"/>
          </p:cNvSpPr>
          <p:nvPr/>
        </p:nvSpPr>
        <p:spPr bwMode="auto">
          <a:xfrm>
            <a:off x="11573415" y="6199655"/>
            <a:ext cx="119445" cy="118433"/>
          </a:xfrm>
          <a:custGeom>
            <a:avLst/>
            <a:gdLst>
              <a:gd name="T0" fmla="*/ 2 w 50"/>
              <a:gd name="T1" fmla="*/ 25 h 49"/>
              <a:gd name="T2" fmla="*/ 3 w 50"/>
              <a:gd name="T3" fmla="*/ 25 h 49"/>
              <a:gd name="T4" fmla="*/ 10 w 50"/>
              <a:gd name="T5" fmla="*/ 9 h 49"/>
              <a:gd name="T6" fmla="*/ 25 w 50"/>
              <a:gd name="T7" fmla="*/ 3 h 49"/>
              <a:gd name="T8" fmla="*/ 40 w 50"/>
              <a:gd name="T9" fmla="*/ 9 h 49"/>
              <a:gd name="T10" fmla="*/ 47 w 50"/>
              <a:gd name="T11" fmla="*/ 25 h 49"/>
              <a:gd name="T12" fmla="*/ 40 w 50"/>
              <a:gd name="T13" fmla="*/ 40 h 49"/>
              <a:gd name="T14" fmla="*/ 25 w 50"/>
              <a:gd name="T15" fmla="*/ 46 h 49"/>
              <a:gd name="T16" fmla="*/ 10 w 50"/>
              <a:gd name="T17" fmla="*/ 40 h 49"/>
              <a:gd name="T18" fmla="*/ 3 w 50"/>
              <a:gd name="T19" fmla="*/ 25 h 49"/>
              <a:gd name="T20" fmla="*/ 2 w 50"/>
              <a:gd name="T21" fmla="*/ 25 h 49"/>
              <a:gd name="T22" fmla="*/ 0 w 50"/>
              <a:gd name="T23" fmla="*/ 25 h 49"/>
              <a:gd name="T24" fmla="*/ 25 w 50"/>
              <a:gd name="T25" fmla="*/ 49 h 49"/>
              <a:gd name="T26" fmla="*/ 50 w 50"/>
              <a:gd name="T27" fmla="*/ 25 h 49"/>
              <a:gd name="T28" fmla="*/ 25 w 50"/>
              <a:gd name="T29" fmla="*/ 0 h 49"/>
              <a:gd name="T30" fmla="*/ 0 w 50"/>
              <a:gd name="T31" fmla="*/ 25 h 49"/>
              <a:gd name="T32" fmla="*/ 2 w 50"/>
              <a:gd name="T33" fmla="*/ 25 h 49"/>
              <a:gd name="T34" fmla="*/ 7 w 50"/>
              <a:gd name="T35" fmla="*/ 25 h 49"/>
              <a:gd name="T36" fmla="*/ 5 w 50"/>
              <a:gd name="T37" fmla="*/ 25 h 49"/>
              <a:gd name="T38" fmla="*/ 25 w 50"/>
              <a:gd name="T39" fmla="*/ 45 h 49"/>
              <a:gd name="T40" fmla="*/ 45 w 50"/>
              <a:gd name="T41" fmla="*/ 25 h 49"/>
              <a:gd name="T42" fmla="*/ 25 w 50"/>
              <a:gd name="T43" fmla="*/ 5 h 49"/>
              <a:gd name="T44" fmla="*/ 5 w 50"/>
              <a:gd name="T45" fmla="*/ 25 h 49"/>
              <a:gd name="T46" fmla="*/ 7 w 50"/>
              <a:gd name="T47" fmla="*/ 25 h 49"/>
              <a:gd name="T48" fmla="*/ 8 w 50"/>
              <a:gd name="T49" fmla="*/ 25 h 49"/>
              <a:gd name="T50" fmla="*/ 13 w 50"/>
              <a:gd name="T51" fmla="*/ 13 h 49"/>
              <a:gd name="T52" fmla="*/ 25 w 50"/>
              <a:gd name="T53" fmla="*/ 8 h 49"/>
              <a:gd name="T54" fmla="*/ 37 w 50"/>
              <a:gd name="T55" fmla="*/ 13 h 49"/>
              <a:gd name="T56" fmla="*/ 42 w 50"/>
              <a:gd name="T57" fmla="*/ 25 h 49"/>
              <a:gd name="T58" fmla="*/ 37 w 50"/>
              <a:gd name="T59" fmla="*/ 37 h 49"/>
              <a:gd name="T60" fmla="*/ 25 w 50"/>
              <a:gd name="T61" fmla="*/ 42 h 49"/>
              <a:gd name="T62" fmla="*/ 13 w 50"/>
              <a:gd name="T63" fmla="*/ 37 h 49"/>
              <a:gd name="T64" fmla="*/ 8 w 50"/>
              <a:gd name="T65" fmla="*/ 25 h 49"/>
              <a:gd name="T66" fmla="*/ 7 w 50"/>
              <a:gd name="T6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49">
                <a:moveTo>
                  <a:pt x="2" y="25"/>
                </a:moveTo>
                <a:cubicBezTo>
                  <a:pt x="3" y="25"/>
                  <a:pt x="3" y="25"/>
                  <a:pt x="3" y="25"/>
                </a:cubicBezTo>
                <a:cubicBezTo>
                  <a:pt x="3" y="19"/>
                  <a:pt x="6" y="13"/>
                  <a:pt x="10" y="9"/>
                </a:cubicBezTo>
                <a:cubicBezTo>
                  <a:pt x="14" y="5"/>
                  <a:pt x="19" y="3"/>
                  <a:pt x="25" y="3"/>
                </a:cubicBezTo>
                <a:cubicBezTo>
                  <a:pt x="31" y="3"/>
                  <a:pt x="36" y="5"/>
                  <a:pt x="40" y="9"/>
                </a:cubicBezTo>
                <a:cubicBezTo>
                  <a:pt x="44" y="13"/>
                  <a:pt x="47" y="19"/>
                  <a:pt x="47" y="25"/>
                </a:cubicBezTo>
                <a:cubicBezTo>
                  <a:pt x="47" y="31"/>
                  <a:pt x="44" y="36"/>
                  <a:pt x="40" y="40"/>
                </a:cubicBezTo>
                <a:cubicBezTo>
                  <a:pt x="36" y="44"/>
                  <a:pt x="31" y="46"/>
                  <a:pt x="25" y="46"/>
                </a:cubicBezTo>
                <a:cubicBezTo>
                  <a:pt x="19" y="46"/>
                  <a:pt x="14" y="44"/>
                  <a:pt x="10" y="40"/>
                </a:cubicBezTo>
                <a:cubicBezTo>
                  <a:pt x="6" y="36"/>
                  <a:pt x="3" y="31"/>
                  <a:pt x="3" y="25"/>
                </a:cubicBezTo>
                <a:cubicBezTo>
                  <a:pt x="2" y="25"/>
                  <a:pt x="2" y="25"/>
                  <a:pt x="2" y="25"/>
                </a:cubicBezTo>
                <a:cubicBezTo>
                  <a:pt x="0" y="25"/>
                  <a:pt x="0" y="25"/>
                  <a:pt x="0" y="25"/>
                </a:cubicBezTo>
                <a:cubicBezTo>
                  <a:pt x="0" y="38"/>
                  <a:pt x="11" y="49"/>
                  <a:pt x="25" y="49"/>
                </a:cubicBezTo>
                <a:cubicBezTo>
                  <a:pt x="39" y="49"/>
                  <a:pt x="50" y="38"/>
                  <a:pt x="50" y="25"/>
                </a:cubicBezTo>
                <a:cubicBezTo>
                  <a:pt x="50" y="11"/>
                  <a:pt x="39" y="0"/>
                  <a:pt x="25" y="0"/>
                </a:cubicBezTo>
                <a:cubicBezTo>
                  <a:pt x="11" y="0"/>
                  <a:pt x="0" y="11"/>
                  <a:pt x="0" y="25"/>
                </a:cubicBezTo>
                <a:lnTo>
                  <a:pt x="2" y="25"/>
                </a:lnTo>
                <a:close/>
                <a:moveTo>
                  <a:pt x="7" y="25"/>
                </a:moveTo>
                <a:cubicBezTo>
                  <a:pt x="5" y="25"/>
                  <a:pt x="5" y="25"/>
                  <a:pt x="5" y="25"/>
                </a:cubicBezTo>
                <a:cubicBezTo>
                  <a:pt x="5" y="36"/>
                  <a:pt x="14" y="45"/>
                  <a:pt x="25" y="45"/>
                </a:cubicBezTo>
                <a:cubicBezTo>
                  <a:pt x="36" y="45"/>
                  <a:pt x="45" y="36"/>
                  <a:pt x="45" y="25"/>
                </a:cubicBezTo>
                <a:cubicBezTo>
                  <a:pt x="45" y="14"/>
                  <a:pt x="36" y="5"/>
                  <a:pt x="25" y="5"/>
                </a:cubicBezTo>
                <a:cubicBezTo>
                  <a:pt x="14" y="5"/>
                  <a:pt x="5" y="14"/>
                  <a:pt x="5" y="25"/>
                </a:cubicBezTo>
                <a:cubicBezTo>
                  <a:pt x="7" y="25"/>
                  <a:pt x="7" y="25"/>
                  <a:pt x="7" y="25"/>
                </a:cubicBezTo>
                <a:cubicBezTo>
                  <a:pt x="8" y="25"/>
                  <a:pt x="8" y="25"/>
                  <a:pt x="8" y="25"/>
                </a:cubicBezTo>
                <a:cubicBezTo>
                  <a:pt x="8" y="20"/>
                  <a:pt x="10" y="16"/>
                  <a:pt x="13" y="13"/>
                </a:cubicBezTo>
                <a:cubicBezTo>
                  <a:pt x="16" y="9"/>
                  <a:pt x="20" y="8"/>
                  <a:pt x="25" y="8"/>
                </a:cubicBezTo>
                <a:cubicBezTo>
                  <a:pt x="30" y="8"/>
                  <a:pt x="34" y="9"/>
                  <a:pt x="37" y="13"/>
                </a:cubicBezTo>
                <a:cubicBezTo>
                  <a:pt x="40" y="16"/>
                  <a:pt x="42" y="20"/>
                  <a:pt x="42" y="25"/>
                </a:cubicBezTo>
                <a:cubicBezTo>
                  <a:pt x="42" y="29"/>
                  <a:pt x="40" y="33"/>
                  <a:pt x="37" y="37"/>
                </a:cubicBezTo>
                <a:cubicBezTo>
                  <a:pt x="34" y="40"/>
                  <a:pt x="30" y="42"/>
                  <a:pt x="25" y="42"/>
                </a:cubicBezTo>
                <a:cubicBezTo>
                  <a:pt x="20" y="42"/>
                  <a:pt x="16" y="40"/>
                  <a:pt x="13" y="37"/>
                </a:cubicBezTo>
                <a:cubicBezTo>
                  <a:pt x="10" y="33"/>
                  <a:pt x="8" y="29"/>
                  <a:pt x="8" y="25"/>
                </a:cubicBezTo>
                <a:lnTo>
                  <a:pt x="7" y="2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5" name="Freeform 27">
            <a:extLst>
              <a:ext uri="{FF2B5EF4-FFF2-40B4-BE49-F238E27FC236}">
                <a16:creationId xmlns:a16="http://schemas.microsoft.com/office/drawing/2014/main" id="{29F01649-B303-4B2E-8CE6-38F2AC360F35}"/>
              </a:ext>
            </a:extLst>
          </p:cNvPr>
          <p:cNvSpPr>
            <a:spLocks noEditPoints="1"/>
          </p:cNvSpPr>
          <p:nvPr/>
        </p:nvSpPr>
        <p:spPr bwMode="auto">
          <a:xfrm>
            <a:off x="11606819" y="6234072"/>
            <a:ext cx="52637" cy="49600"/>
          </a:xfrm>
          <a:custGeom>
            <a:avLst/>
            <a:gdLst>
              <a:gd name="T0" fmla="*/ 0 w 22"/>
              <a:gd name="T1" fmla="*/ 11 h 21"/>
              <a:gd name="T2" fmla="*/ 11 w 22"/>
              <a:gd name="T3" fmla="*/ 0 h 21"/>
              <a:gd name="T4" fmla="*/ 22 w 22"/>
              <a:gd name="T5" fmla="*/ 11 h 21"/>
              <a:gd name="T6" fmla="*/ 11 w 22"/>
              <a:gd name="T7" fmla="*/ 21 h 21"/>
              <a:gd name="T8" fmla="*/ 0 w 22"/>
              <a:gd name="T9" fmla="*/ 11 h 21"/>
              <a:gd name="T10" fmla="*/ 5 w 22"/>
              <a:gd name="T11" fmla="*/ 11 h 21"/>
              <a:gd name="T12" fmla="*/ 11 w 22"/>
              <a:gd name="T13" fmla="*/ 17 h 21"/>
              <a:gd name="T14" fmla="*/ 17 w 22"/>
              <a:gd name="T15" fmla="*/ 11 h 21"/>
              <a:gd name="T16" fmla="*/ 11 w 22"/>
              <a:gd name="T17" fmla="*/ 4 h 21"/>
              <a:gd name="T18" fmla="*/ 5 w 22"/>
              <a:gd name="T1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11"/>
                </a:moveTo>
                <a:cubicBezTo>
                  <a:pt x="0" y="5"/>
                  <a:pt x="5" y="0"/>
                  <a:pt x="11" y="0"/>
                </a:cubicBezTo>
                <a:cubicBezTo>
                  <a:pt x="17" y="0"/>
                  <a:pt x="22" y="5"/>
                  <a:pt x="22" y="11"/>
                </a:cubicBezTo>
                <a:cubicBezTo>
                  <a:pt x="22" y="17"/>
                  <a:pt x="17" y="21"/>
                  <a:pt x="11" y="21"/>
                </a:cubicBezTo>
                <a:cubicBezTo>
                  <a:pt x="5" y="21"/>
                  <a:pt x="0" y="17"/>
                  <a:pt x="0" y="11"/>
                </a:cubicBezTo>
                <a:close/>
                <a:moveTo>
                  <a:pt x="5" y="11"/>
                </a:moveTo>
                <a:cubicBezTo>
                  <a:pt x="5" y="14"/>
                  <a:pt x="8" y="17"/>
                  <a:pt x="11" y="17"/>
                </a:cubicBezTo>
                <a:cubicBezTo>
                  <a:pt x="14" y="17"/>
                  <a:pt x="17" y="14"/>
                  <a:pt x="17" y="11"/>
                </a:cubicBezTo>
                <a:cubicBezTo>
                  <a:pt x="17" y="7"/>
                  <a:pt x="14" y="4"/>
                  <a:pt x="11" y="4"/>
                </a:cubicBezTo>
                <a:cubicBezTo>
                  <a:pt x="8" y="4"/>
                  <a:pt x="5" y="7"/>
                  <a:pt x="5" y="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6" name="Freeform 28">
            <a:extLst>
              <a:ext uri="{FF2B5EF4-FFF2-40B4-BE49-F238E27FC236}">
                <a16:creationId xmlns:a16="http://schemas.microsoft.com/office/drawing/2014/main" id="{41CE3925-42BB-4F50-A968-9B7ACCFC8830}"/>
              </a:ext>
            </a:extLst>
          </p:cNvPr>
          <p:cNvSpPr>
            <a:spLocks noEditPoints="1"/>
          </p:cNvSpPr>
          <p:nvPr/>
        </p:nvSpPr>
        <p:spPr bwMode="auto">
          <a:xfrm>
            <a:off x="11604794" y="6229010"/>
            <a:ext cx="57698" cy="59723"/>
          </a:xfrm>
          <a:custGeom>
            <a:avLst/>
            <a:gdLst>
              <a:gd name="T0" fmla="*/ 1 w 24"/>
              <a:gd name="T1" fmla="*/ 13 h 25"/>
              <a:gd name="T2" fmla="*/ 3 w 24"/>
              <a:gd name="T3" fmla="*/ 13 h 25"/>
              <a:gd name="T4" fmla="*/ 12 w 24"/>
              <a:gd name="T5" fmla="*/ 3 h 25"/>
              <a:gd name="T6" fmla="*/ 21 w 24"/>
              <a:gd name="T7" fmla="*/ 13 h 25"/>
              <a:gd name="T8" fmla="*/ 12 w 24"/>
              <a:gd name="T9" fmla="*/ 22 h 25"/>
              <a:gd name="T10" fmla="*/ 3 w 24"/>
              <a:gd name="T11" fmla="*/ 13 h 25"/>
              <a:gd name="T12" fmla="*/ 1 w 24"/>
              <a:gd name="T13" fmla="*/ 13 h 25"/>
              <a:gd name="T14" fmla="*/ 0 w 24"/>
              <a:gd name="T15" fmla="*/ 13 h 25"/>
              <a:gd name="T16" fmla="*/ 12 w 24"/>
              <a:gd name="T17" fmla="*/ 25 h 25"/>
              <a:gd name="T18" fmla="*/ 24 w 24"/>
              <a:gd name="T19" fmla="*/ 13 h 25"/>
              <a:gd name="T20" fmla="*/ 12 w 24"/>
              <a:gd name="T21" fmla="*/ 0 h 25"/>
              <a:gd name="T22" fmla="*/ 0 w 24"/>
              <a:gd name="T23" fmla="*/ 13 h 25"/>
              <a:gd name="T24" fmla="*/ 1 w 24"/>
              <a:gd name="T25" fmla="*/ 13 h 25"/>
              <a:gd name="T26" fmla="*/ 6 w 24"/>
              <a:gd name="T27" fmla="*/ 13 h 25"/>
              <a:gd name="T28" fmla="*/ 4 w 24"/>
              <a:gd name="T29" fmla="*/ 13 h 25"/>
              <a:gd name="T30" fmla="*/ 12 w 24"/>
              <a:gd name="T31" fmla="*/ 20 h 25"/>
              <a:gd name="T32" fmla="*/ 20 w 24"/>
              <a:gd name="T33" fmla="*/ 13 h 25"/>
              <a:gd name="T34" fmla="*/ 12 w 24"/>
              <a:gd name="T35" fmla="*/ 5 h 25"/>
              <a:gd name="T36" fmla="*/ 4 w 24"/>
              <a:gd name="T37" fmla="*/ 13 h 25"/>
              <a:gd name="T38" fmla="*/ 6 w 24"/>
              <a:gd name="T39" fmla="*/ 13 h 25"/>
              <a:gd name="T40" fmla="*/ 7 w 24"/>
              <a:gd name="T41" fmla="*/ 13 h 25"/>
              <a:gd name="T42" fmla="*/ 12 w 24"/>
              <a:gd name="T43" fmla="*/ 8 h 25"/>
              <a:gd name="T44" fmla="*/ 17 w 24"/>
              <a:gd name="T45" fmla="*/ 13 h 25"/>
              <a:gd name="T46" fmla="*/ 12 w 24"/>
              <a:gd name="T47" fmla="*/ 17 h 25"/>
              <a:gd name="T48" fmla="*/ 7 w 24"/>
              <a:gd name="T49" fmla="*/ 13 h 25"/>
              <a:gd name="T50" fmla="*/ 6 w 24"/>
              <a:gd name="T5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5">
                <a:moveTo>
                  <a:pt x="1" y="13"/>
                </a:moveTo>
                <a:cubicBezTo>
                  <a:pt x="3" y="13"/>
                  <a:pt x="3" y="13"/>
                  <a:pt x="3" y="13"/>
                </a:cubicBezTo>
                <a:cubicBezTo>
                  <a:pt x="3" y="7"/>
                  <a:pt x="7" y="3"/>
                  <a:pt x="12" y="3"/>
                </a:cubicBezTo>
                <a:cubicBezTo>
                  <a:pt x="17" y="3"/>
                  <a:pt x="21" y="7"/>
                  <a:pt x="21" y="13"/>
                </a:cubicBezTo>
                <a:cubicBezTo>
                  <a:pt x="21" y="18"/>
                  <a:pt x="17" y="22"/>
                  <a:pt x="12" y="22"/>
                </a:cubicBezTo>
                <a:cubicBezTo>
                  <a:pt x="7" y="22"/>
                  <a:pt x="3" y="18"/>
                  <a:pt x="3" y="13"/>
                </a:cubicBezTo>
                <a:cubicBezTo>
                  <a:pt x="1" y="13"/>
                  <a:pt x="1" y="13"/>
                  <a:pt x="1" y="13"/>
                </a:cubicBezTo>
                <a:cubicBezTo>
                  <a:pt x="0" y="13"/>
                  <a:pt x="0" y="13"/>
                  <a:pt x="0" y="13"/>
                </a:cubicBezTo>
                <a:cubicBezTo>
                  <a:pt x="0" y="19"/>
                  <a:pt x="5" y="25"/>
                  <a:pt x="12" y="25"/>
                </a:cubicBezTo>
                <a:cubicBezTo>
                  <a:pt x="19" y="25"/>
                  <a:pt x="24" y="19"/>
                  <a:pt x="24" y="13"/>
                </a:cubicBezTo>
                <a:cubicBezTo>
                  <a:pt x="24" y="6"/>
                  <a:pt x="19" y="0"/>
                  <a:pt x="12" y="0"/>
                </a:cubicBezTo>
                <a:cubicBezTo>
                  <a:pt x="5" y="0"/>
                  <a:pt x="0" y="6"/>
                  <a:pt x="0" y="13"/>
                </a:cubicBezTo>
                <a:lnTo>
                  <a:pt x="1" y="13"/>
                </a:lnTo>
                <a:close/>
                <a:moveTo>
                  <a:pt x="6" y="13"/>
                </a:moveTo>
                <a:cubicBezTo>
                  <a:pt x="4" y="13"/>
                  <a:pt x="4" y="13"/>
                  <a:pt x="4" y="13"/>
                </a:cubicBezTo>
                <a:cubicBezTo>
                  <a:pt x="4" y="17"/>
                  <a:pt x="8" y="20"/>
                  <a:pt x="12" y="20"/>
                </a:cubicBezTo>
                <a:cubicBezTo>
                  <a:pt x="16" y="20"/>
                  <a:pt x="20" y="17"/>
                  <a:pt x="20" y="13"/>
                </a:cubicBezTo>
                <a:cubicBezTo>
                  <a:pt x="20" y="8"/>
                  <a:pt x="16" y="5"/>
                  <a:pt x="12" y="5"/>
                </a:cubicBezTo>
                <a:cubicBezTo>
                  <a:pt x="8" y="5"/>
                  <a:pt x="4" y="8"/>
                  <a:pt x="4" y="13"/>
                </a:cubicBezTo>
                <a:cubicBezTo>
                  <a:pt x="6" y="13"/>
                  <a:pt x="6" y="13"/>
                  <a:pt x="6" y="13"/>
                </a:cubicBezTo>
                <a:cubicBezTo>
                  <a:pt x="7" y="13"/>
                  <a:pt x="7" y="13"/>
                  <a:pt x="7" y="13"/>
                </a:cubicBezTo>
                <a:cubicBezTo>
                  <a:pt x="7" y="10"/>
                  <a:pt x="10" y="8"/>
                  <a:pt x="12" y="8"/>
                </a:cubicBezTo>
                <a:cubicBezTo>
                  <a:pt x="15" y="8"/>
                  <a:pt x="17" y="10"/>
                  <a:pt x="17" y="13"/>
                </a:cubicBezTo>
                <a:cubicBezTo>
                  <a:pt x="17" y="15"/>
                  <a:pt x="15" y="17"/>
                  <a:pt x="12" y="17"/>
                </a:cubicBezTo>
                <a:cubicBezTo>
                  <a:pt x="10" y="17"/>
                  <a:pt x="7" y="15"/>
                  <a:pt x="7" y="13"/>
                </a:cubicBezTo>
                <a:lnTo>
                  <a:pt x="6" y="1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7" name="Freeform 29">
            <a:extLst>
              <a:ext uri="{FF2B5EF4-FFF2-40B4-BE49-F238E27FC236}">
                <a16:creationId xmlns:a16="http://schemas.microsoft.com/office/drawing/2014/main" id="{6E63F76B-4084-4E85-9892-3F605EB9CBE7}"/>
              </a:ext>
            </a:extLst>
          </p:cNvPr>
          <p:cNvSpPr>
            <a:spLocks noEditPoints="1"/>
          </p:cNvSpPr>
          <p:nvPr/>
        </p:nvSpPr>
        <p:spPr bwMode="auto">
          <a:xfrm>
            <a:off x="11834574" y="5657091"/>
            <a:ext cx="81992" cy="94139"/>
          </a:xfrm>
          <a:custGeom>
            <a:avLst/>
            <a:gdLst>
              <a:gd name="T0" fmla="*/ 0 w 81"/>
              <a:gd name="T1" fmla="*/ 93 h 93"/>
              <a:gd name="T2" fmla="*/ 0 w 81"/>
              <a:gd name="T3" fmla="*/ 0 h 93"/>
              <a:gd name="T4" fmla="*/ 81 w 81"/>
              <a:gd name="T5" fmla="*/ 45 h 93"/>
              <a:gd name="T6" fmla="*/ 0 w 81"/>
              <a:gd name="T7" fmla="*/ 93 h 93"/>
              <a:gd name="T8" fmla="*/ 10 w 81"/>
              <a:gd name="T9" fmla="*/ 19 h 93"/>
              <a:gd name="T10" fmla="*/ 10 w 81"/>
              <a:gd name="T11" fmla="*/ 74 h 93"/>
              <a:gd name="T12" fmla="*/ 57 w 81"/>
              <a:gd name="T13" fmla="*/ 45 h 93"/>
              <a:gd name="T14" fmla="*/ 10 w 81"/>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93">
                <a:moveTo>
                  <a:pt x="0" y="93"/>
                </a:moveTo>
                <a:lnTo>
                  <a:pt x="0" y="0"/>
                </a:lnTo>
                <a:lnTo>
                  <a:pt x="81" y="45"/>
                </a:lnTo>
                <a:lnTo>
                  <a:pt x="0" y="93"/>
                </a:lnTo>
                <a:close/>
                <a:moveTo>
                  <a:pt x="10" y="19"/>
                </a:moveTo>
                <a:lnTo>
                  <a:pt x="10" y="74"/>
                </a:lnTo>
                <a:lnTo>
                  <a:pt x="57" y="45"/>
                </a:lnTo>
                <a:lnTo>
                  <a:pt x="10"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8" name="Freeform 30">
            <a:extLst>
              <a:ext uri="{FF2B5EF4-FFF2-40B4-BE49-F238E27FC236}">
                <a16:creationId xmlns:a16="http://schemas.microsoft.com/office/drawing/2014/main" id="{BF6A2D58-A949-4662-853A-42D10FC865C2}"/>
              </a:ext>
            </a:extLst>
          </p:cNvPr>
          <p:cNvSpPr>
            <a:spLocks noEditPoints="1"/>
          </p:cNvSpPr>
          <p:nvPr/>
        </p:nvSpPr>
        <p:spPr bwMode="auto">
          <a:xfrm>
            <a:off x="11830525" y="5650006"/>
            <a:ext cx="93127" cy="108310"/>
          </a:xfrm>
          <a:custGeom>
            <a:avLst/>
            <a:gdLst>
              <a:gd name="T0" fmla="*/ 4 w 92"/>
              <a:gd name="T1" fmla="*/ 100 h 107"/>
              <a:gd name="T2" fmla="*/ 7 w 92"/>
              <a:gd name="T3" fmla="*/ 100 h 107"/>
              <a:gd name="T4" fmla="*/ 7 w 92"/>
              <a:gd name="T5" fmla="*/ 12 h 107"/>
              <a:gd name="T6" fmla="*/ 78 w 92"/>
              <a:gd name="T7" fmla="*/ 52 h 107"/>
              <a:gd name="T8" fmla="*/ 2 w 92"/>
              <a:gd name="T9" fmla="*/ 97 h 107"/>
              <a:gd name="T10" fmla="*/ 4 w 92"/>
              <a:gd name="T11" fmla="*/ 100 h 107"/>
              <a:gd name="T12" fmla="*/ 7 w 92"/>
              <a:gd name="T13" fmla="*/ 100 h 107"/>
              <a:gd name="T14" fmla="*/ 4 w 92"/>
              <a:gd name="T15" fmla="*/ 100 h 107"/>
              <a:gd name="T16" fmla="*/ 4 w 92"/>
              <a:gd name="T17" fmla="*/ 102 h 107"/>
              <a:gd name="T18" fmla="*/ 92 w 92"/>
              <a:gd name="T19" fmla="*/ 52 h 107"/>
              <a:gd name="T20" fmla="*/ 0 w 92"/>
              <a:gd name="T21" fmla="*/ 0 h 107"/>
              <a:gd name="T22" fmla="*/ 0 w 92"/>
              <a:gd name="T23" fmla="*/ 107 h 107"/>
              <a:gd name="T24" fmla="*/ 4 w 92"/>
              <a:gd name="T25" fmla="*/ 102 h 107"/>
              <a:gd name="T26" fmla="*/ 4 w 92"/>
              <a:gd name="T27" fmla="*/ 100 h 107"/>
              <a:gd name="T28" fmla="*/ 14 w 92"/>
              <a:gd name="T29" fmla="*/ 26 h 107"/>
              <a:gd name="T30" fmla="*/ 12 w 92"/>
              <a:gd name="T31" fmla="*/ 26 h 107"/>
              <a:gd name="T32" fmla="*/ 12 w 92"/>
              <a:gd name="T33" fmla="*/ 88 h 107"/>
              <a:gd name="T34" fmla="*/ 69 w 92"/>
              <a:gd name="T35" fmla="*/ 52 h 107"/>
              <a:gd name="T36" fmla="*/ 12 w 92"/>
              <a:gd name="T37" fmla="*/ 19 h 107"/>
              <a:gd name="T38" fmla="*/ 12 w 92"/>
              <a:gd name="T39" fmla="*/ 26 h 107"/>
              <a:gd name="T40" fmla="*/ 14 w 92"/>
              <a:gd name="T41" fmla="*/ 26 h 107"/>
              <a:gd name="T42" fmla="*/ 14 w 92"/>
              <a:gd name="T43" fmla="*/ 28 h 107"/>
              <a:gd name="T44" fmla="*/ 54 w 92"/>
              <a:gd name="T45" fmla="*/ 52 h 107"/>
              <a:gd name="T46" fmla="*/ 19 w 92"/>
              <a:gd name="T47" fmla="*/ 74 h 107"/>
              <a:gd name="T48" fmla="*/ 19 w 92"/>
              <a:gd name="T49" fmla="*/ 26 h 107"/>
              <a:gd name="T50" fmla="*/ 14 w 92"/>
              <a:gd name="T51" fmla="*/ 26 h 107"/>
              <a:gd name="T52" fmla="*/ 14 w 92"/>
              <a:gd name="T53" fmla="*/ 28 h 107"/>
              <a:gd name="T54" fmla="*/ 14 w 92"/>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107">
                <a:moveTo>
                  <a:pt x="4" y="100"/>
                </a:moveTo>
                <a:lnTo>
                  <a:pt x="7" y="100"/>
                </a:lnTo>
                <a:lnTo>
                  <a:pt x="7" y="12"/>
                </a:lnTo>
                <a:lnTo>
                  <a:pt x="78" y="52"/>
                </a:lnTo>
                <a:lnTo>
                  <a:pt x="2" y="97"/>
                </a:lnTo>
                <a:lnTo>
                  <a:pt x="4" y="100"/>
                </a:lnTo>
                <a:lnTo>
                  <a:pt x="7" y="100"/>
                </a:lnTo>
                <a:lnTo>
                  <a:pt x="4" y="100"/>
                </a:lnTo>
                <a:lnTo>
                  <a:pt x="4" y="102"/>
                </a:lnTo>
                <a:lnTo>
                  <a:pt x="92" y="52"/>
                </a:lnTo>
                <a:lnTo>
                  <a:pt x="0" y="0"/>
                </a:lnTo>
                <a:lnTo>
                  <a:pt x="0" y="107"/>
                </a:lnTo>
                <a:lnTo>
                  <a:pt x="4" y="102"/>
                </a:lnTo>
                <a:lnTo>
                  <a:pt x="4" y="100"/>
                </a:lnTo>
                <a:close/>
                <a:moveTo>
                  <a:pt x="14" y="26"/>
                </a:moveTo>
                <a:lnTo>
                  <a:pt x="12" y="26"/>
                </a:lnTo>
                <a:lnTo>
                  <a:pt x="12" y="88"/>
                </a:lnTo>
                <a:lnTo>
                  <a:pt x="69" y="52"/>
                </a:lnTo>
                <a:lnTo>
                  <a:pt x="12" y="19"/>
                </a:lnTo>
                <a:lnTo>
                  <a:pt x="12" y="26"/>
                </a:lnTo>
                <a:lnTo>
                  <a:pt x="14" y="26"/>
                </a:lnTo>
                <a:lnTo>
                  <a:pt x="14" y="28"/>
                </a:lnTo>
                <a:lnTo>
                  <a:pt x="54" y="52"/>
                </a:lnTo>
                <a:lnTo>
                  <a:pt x="19" y="74"/>
                </a:lnTo>
                <a:lnTo>
                  <a:pt x="19" y="26"/>
                </a:lnTo>
                <a:lnTo>
                  <a:pt x="14" y="26"/>
                </a:lnTo>
                <a:lnTo>
                  <a:pt x="14"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89" name="Freeform 31">
            <a:extLst>
              <a:ext uri="{FF2B5EF4-FFF2-40B4-BE49-F238E27FC236}">
                <a16:creationId xmlns:a16="http://schemas.microsoft.com/office/drawing/2014/main" id="{EDFAA406-C385-4516-9AC7-93F531A7B0DF}"/>
              </a:ext>
            </a:extLst>
          </p:cNvPr>
          <p:cNvSpPr>
            <a:spLocks noEditPoints="1"/>
          </p:cNvSpPr>
          <p:nvPr/>
        </p:nvSpPr>
        <p:spPr bwMode="auto">
          <a:xfrm>
            <a:off x="11938836" y="5657091"/>
            <a:ext cx="80980" cy="94139"/>
          </a:xfrm>
          <a:custGeom>
            <a:avLst/>
            <a:gdLst>
              <a:gd name="T0" fmla="*/ 0 w 80"/>
              <a:gd name="T1" fmla="*/ 93 h 93"/>
              <a:gd name="T2" fmla="*/ 0 w 80"/>
              <a:gd name="T3" fmla="*/ 0 h 93"/>
              <a:gd name="T4" fmla="*/ 80 w 80"/>
              <a:gd name="T5" fmla="*/ 45 h 93"/>
              <a:gd name="T6" fmla="*/ 0 w 80"/>
              <a:gd name="T7" fmla="*/ 93 h 93"/>
              <a:gd name="T8" fmla="*/ 11 w 80"/>
              <a:gd name="T9" fmla="*/ 19 h 93"/>
              <a:gd name="T10" fmla="*/ 11 w 80"/>
              <a:gd name="T11" fmla="*/ 74 h 93"/>
              <a:gd name="T12" fmla="*/ 59 w 80"/>
              <a:gd name="T13" fmla="*/ 45 h 93"/>
              <a:gd name="T14" fmla="*/ 11 w 80"/>
              <a:gd name="T15" fmla="*/ 1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93">
                <a:moveTo>
                  <a:pt x="0" y="93"/>
                </a:moveTo>
                <a:lnTo>
                  <a:pt x="0" y="0"/>
                </a:lnTo>
                <a:lnTo>
                  <a:pt x="80" y="45"/>
                </a:lnTo>
                <a:lnTo>
                  <a:pt x="0" y="93"/>
                </a:lnTo>
                <a:close/>
                <a:moveTo>
                  <a:pt x="11" y="19"/>
                </a:moveTo>
                <a:lnTo>
                  <a:pt x="11" y="74"/>
                </a:lnTo>
                <a:lnTo>
                  <a:pt x="59" y="45"/>
                </a:lnTo>
                <a:lnTo>
                  <a:pt x="11" y="1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0" name="Freeform 32">
            <a:extLst>
              <a:ext uri="{FF2B5EF4-FFF2-40B4-BE49-F238E27FC236}">
                <a16:creationId xmlns:a16="http://schemas.microsoft.com/office/drawing/2014/main" id="{C0BE317D-EF9C-4C8A-829B-090B6A103667}"/>
              </a:ext>
            </a:extLst>
          </p:cNvPr>
          <p:cNvSpPr>
            <a:spLocks noEditPoints="1"/>
          </p:cNvSpPr>
          <p:nvPr/>
        </p:nvSpPr>
        <p:spPr bwMode="auto">
          <a:xfrm>
            <a:off x="11935799" y="5650006"/>
            <a:ext cx="91102" cy="108310"/>
          </a:xfrm>
          <a:custGeom>
            <a:avLst/>
            <a:gdLst>
              <a:gd name="T0" fmla="*/ 3 w 90"/>
              <a:gd name="T1" fmla="*/ 100 h 107"/>
              <a:gd name="T2" fmla="*/ 7 w 90"/>
              <a:gd name="T3" fmla="*/ 100 h 107"/>
              <a:gd name="T4" fmla="*/ 7 w 90"/>
              <a:gd name="T5" fmla="*/ 12 h 107"/>
              <a:gd name="T6" fmla="*/ 76 w 90"/>
              <a:gd name="T7" fmla="*/ 52 h 107"/>
              <a:gd name="T8" fmla="*/ 3 w 90"/>
              <a:gd name="T9" fmla="*/ 97 h 107"/>
              <a:gd name="T10" fmla="*/ 3 w 90"/>
              <a:gd name="T11" fmla="*/ 100 h 107"/>
              <a:gd name="T12" fmla="*/ 7 w 90"/>
              <a:gd name="T13" fmla="*/ 100 h 107"/>
              <a:gd name="T14" fmla="*/ 3 w 90"/>
              <a:gd name="T15" fmla="*/ 100 h 107"/>
              <a:gd name="T16" fmla="*/ 5 w 90"/>
              <a:gd name="T17" fmla="*/ 102 h 107"/>
              <a:gd name="T18" fmla="*/ 90 w 90"/>
              <a:gd name="T19" fmla="*/ 52 h 107"/>
              <a:gd name="T20" fmla="*/ 0 w 90"/>
              <a:gd name="T21" fmla="*/ 0 h 107"/>
              <a:gd name="T22" fmla="*/ 0 w 90"/>
              <a:gd name="T23" fmla="*/ 107 h 107"/>
              <a:gd name="T24" fmla="*/ 5 w 90"/>
              <a:gd name="T25" fmla="*/ 102 h 107"/>
              <a:gd name="T26" fmla="*/ 3 w 90"/>
              <a:gd name="T27" fmla="*/ 100 h 107"/>
              <a:gd name="T28" fmla="*/ 14 w 90"/>
              <a:gd name="T29" fmla="*/ 26 h 107"/>
              <a:gd name="T30" fmla="*/ 12 w 90"/>
              <a:gd name="T31" fmla="*/ 26 h 107"/>
              <a:gd name="T32" fmla="*/ 12 w 90"/>
              <a:gd name="T33" fmla="*/ 88 h 107"/>
              <a:gd name="T34" fmla="*/ 69 w 90"/>
              <a:gd name="T35" fmla="*/ 52 h 107"/>
              <a:gd name="T36" fmla="*/ 12 w 90"/>
              <a:gd name="T37" fmla="*/ 19 h 107"/>
              <a:gd name="T38" fmla="*/ 12 w 90"/>
              <a:gd name="T39" fmla="*/ 26 h 107"/>
              <a:gd name="T40" fmla="*/ 14 w 90"/>
              <a:gd name="T41" fmla="*/ 26 h 107"/>
              <a:gd name="T42" fmla="*/ 12 w 90"/>
              <a:gd name="T43" fmla="*/ 28 h 107"/>
              <a:gd name="T44" fmla="*/ 55 w 90"/>
              <a:gd name="T45" fmla="*/ 52 h 107"/>
              <a:gd name="T46" fmla="*/ 19 w 90"/>
              <a:gd name="T47" fmla="*/ 74 h 107"/>
              <a:gd name="T48" fmla="*/ 19 w 90"/>
              <a:gd name="T49" fmla="*/ 26 h 107"/>
              <a:gd name="T50" fmla="*/ 14 w 90"/>
              <a:gd name="T51" fmla="*/ 26 h 107"/>
              <a:gd name="T52" fmla="*/ 12 w 90"/>
              <a:gd name="T53" fmla="*/ 28 h 107"/>
              <a:gd name="T54" fmla="*/ 14 w 90"/>
              <a:gd name="T55"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107">
                <a:moveTo>
                  <a:pt x="3" y="100"/>
                </a:moveTo>
                <a:lnTo>
                  <a:pt x="7" y="100"/>
                </a:lnTo>
                <a:lnTo>
                  <a:pt x="7" y="12"/>
                </a:lnTo>
                <a:lnTo>
                  <a:pt x="76" y="52"/>
                </a:lnTo>
                <a:lnTo>
                  <a:pt x="3" y="97"/>
                </a:lnTo>
                <a:lnTo>
                  <a:pt x="3" y="100"/>
                </a:lnTo>
                <a:lnTo>
                  <a:pt x="7" y="100"/>
                </a:lnTo>
                <a:lnTo>
                  <a:pt x="3" y="100"/>
                </a:lnTo>
                <a:lnTo>
                  <a:pt x="5" y="102"/>
                </a:lnTo>
                <a:lnTo>
                  <a:pt x="90" y="52"/>
                </a:lnTo>
                <a:lnTo>
                  <a:pt x="0" y="0"/>
                </a:lnTo>
                <a:lnTo>
                  <a:pt x="0" y="107"/>
                </a:lnTo>
                <a:lnTo>
                  <a:pt x="5" y="102"/>
                </a:lnTo>
                <a:lnTo>
                  <a:pt x="3" y="100"/>
                </a:lnTo>
                <a:close/>
                <a:moveTo>
                  <a:pt x="14" y="26"/>
                </a:moveTo>
                <a:lnTo>
                  <a:pt x="12" y="26"/>
                </a:lnTo>
                <a:lnTo>
                  <a:pt x="12" y="88"/>
                </a:lnTo>
                <a:lnTo>
                  <a:pt x="69" y="52"/>
                </a:lnTo>
                <a:lnTo>
                  <a:pt x="12" y="19"/>
                </a:lnTo>
                <a:lnTo>
                  <a:pt x="12" y="26"/>
                </a:lnTo>
                <a:lnTo>
                  <a:pt x="14" y="26"/>
                </a:lnTo>
                <a:lnTo>
                  <a:pt x="12" y="28"/>
                </a:lnTo>
                <a:lnTo>
                  <a:pt x="55" y="52"/>
                </a:lnTo>
                <a:lnTo>
                  <a:pt x="19" y="74"/>
                </a:lnTo>
                <a:lnTo>
                  <a:pt x="19" y="26"/>
                </a:lnTo>
                <a:lnTo>
                  <a:pt x="14" y="26"/>
                </a:lnTo>
                <a:lnTo>
                  <a:pt x="12" y="28"/>
                </a:lnTo>
                <a:lnTo>
                  <a:pt x="14" y="2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Freeform 33">
            <a:extLst>
              <a:ext uri="{FF2B5EF4-FFF2-40B4-BE49-F238E27FC236}">
                <a16:creationId xmlns:a16="http://schemas.microsoft.com/office/drawing/2014/main" id="{9CF74DD3-1975-45C0-AA4A-607C684E6C8A}"/>
              </a:ext>
            </a:extLst>
          </p:cNvPr>
          <p:cNvSpPr>
            <a:spLocks noEditPoints="1"/>
          </p:cNvSpPr>
          <p:nvPr/>
        </p:nvSpPr>
        <p:spPr bwMode="auto">
          <a:xfrm>
            <a:off x="11282900" y="5892945"/>
            <a:ext cx="69845" cy="68833"/>
          </a:xfrm>
          <a:custGeom>
            <a:avLst/>
            <a:gdLst>
              <a:gd name="T0" fmla="*/ 15 w 29"/>
              <a:gd name="T1" fmla="*/ 29 h 29"/>
              <a:gd name="T2" fmla="*/ 0 w 29"/>
              <a:gd name="T3" fmla="*/ 15 h 29"/>
              <a:gd name="T4" fmla="*/ 15 w 29"/>
              <a:gd name="T5" fmla="*/ 0 h 29"/>
              <a:gd name="T6" fmla="*/ 29 w 29"/>
              <a:gd name="T7" fmla="*/ 15 h 29"/>
              <a:gd name="T8" fmla="*/ 15 w 29"/>
              <a:gd name="T9" fmla="*/ 29 h 29"/>
              <a:gd name="T10" fmla="*/ 15 w 29"/>
              <a:gd name="T11" fmla="*/ 5 h 29"/>
              <a:gd name="T12" fmla="*/ 5 w 29"/>
              <a:gd name="T13" fmla="*/ 15 h 29"/>
              <a:gd name="T14" fmla="*/ 15 w 29"/>
              <a:gd name="T15" fmla="*/ 24 h 29"/>
              <a:gd name="T16" fmla="*/ 24 w 29"/>
              <a:gd name="T17" fmla="*/ 15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5"/>
                </a:cubicBezTo>
                <a:cubicBezTo>
                  <a:pt x="0" y="7"/>
                  <a:pt x="7" y="0"/>
                  <a:pt x="15" y="0"/>
                </a:cubicBezTo>
                <a:cubicBezTo>
                  <a:pt x="22" y="0"/>
                  <a:pt x="29" y="7"/>
                  <a:pt x="29" y="15"/>
                </a:cubicBezTo>
                <a:cubicBezTo>
                  <a:pt x="29" y="22"/>
                  <a:pt x="22" y="29"/>
                  <a:pt x="15" y="29"/>
                </a:cubicBezTo>
                <a:close/>
                <a:moveTo>
                  <a:pt x="15" y="5"/>
                </a:moveTo>
                <a:cubicBezTo>
                  <a:pt x="9" y="5"/>
                  <a:pt x="5" y="9"/>
                  <a:pt x="5" y="15"/>
                </a:cubicBezTo>
                <a:cubicBezTo>
                  <a:pt x="5" y="20"/>
                  <a:pt x="9" y="24"/>
                  <a:pt x="15" y="24"/>
                </a:cubicBezTo>
                <a:cubicBezTo>
                  <a:pt x="20" y="24"/>
                  <a:pt x="24" y="20"/>
                  <a:pt x="24" y="15"/>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2" name="Freeform 34">
            <a:extLst>
              <a:ext uri="{FF2B5EF4-FFF2-40B4-BE49-F238E27FC236}">
                <a16:creationId xmlns:a16="http://schemas.microsoft.com/office/drawing/2014/main" id="{C28578B6-CF2F-4B64-B2BF-BE5C9E3771BE}"/>
              </a:ext>
            </a:extLst>
          </p:cNvPr>
          <p:cNvSpPr>
            <a:spLocks noEditPoints="1"/>
          </p:cNvSpPr>
          <p:nvPr/>
        </p:nvSpPr>
        <p:spPr bwMode="auto">
          <a:xfrm>
            <a:off x="11279863" y="5889908"/>
            <a:ext cx="74906" cy="74906"/>
          </a:xfrm>
          <a:custGeom>
            <a:avLst/>
            <a:gdLst>
              <a:gd name="T0" fmla="*/ 16 w 31"/>
              <a:gd name="T1" fmla="*/ 30 h 31"/>
              <a:gd name="T2" fmla="*/ 16 w 31"/>
              <a:gd name="T3" fmla="*/ 28 h 31"/>
              <a:gd name="T4" fmla="*/ 6 w 31"/>
              <a:gd name="T5" fmla="*/ 25 h 31"/>
              <a:gd name="T6" fmla="*/ 3 w 31"/>
              <a:gd name="T7" fmla="*/ 16 h 31"/>
              <a:gd name="T8" fmla="*/ 6 w 31"/>
              <a:gd name="T9" fmla="*/ 7 h 31"/>
              <a:gd name="T10" fmla="*/ 16 w 31"/>
              <a:gd name="T11" fmla="*/ 3 h 31"/>
              <a:gd name="T12" fmla="*/ 25 w 31"/>
              <a:gd name="T13" fmla="*/ 7 h 31"/>
              <a:gd name="T14" fmla="*/ 28 w 31"/>
              <a:gd name="T15" fmla="*/ 16 h 31"/>
              <a:gd name="T16" fmla="*/ 25 w 31"/>
              <a:gd name="T17" fmla="*/ 25 h 31"/>
              <a:gd name="T18" fmla="*/ 16 w 31"/>
              <a:gd name="T19" fmla="*/ 28 h 31"/>
              <a:gd name="T20" fmla="*/ 16 w 31"/>
              <a:gd name="T21" fmla="*/ 30 h 31"/>
              <a:gd name="T22" fmla="*/ 16 w 31"/>
              <a:gd name="T23" fmla="*/ 31 h 31"/>
              <a:gd name="T24" fmla="*/ 31 w 31"/>
              <a:gd name="T25" fmla="*/ 16 h 31"/>
              <a:gd name="T26" fmla="*/ 16 w 31"/>
              <a:gd name="T27" fmla="*/ 0 h 31"/>
              <a:gd name="T28" fmla="*/ 0 w 31"/>
              <a:gd name="T29" fmla="*/ 16 h 31"/>
              <a:gd name="T30" fmla="*/ 16 w 31"/>
              <a:gd name="T31" fmla="*/ 31 h 31"/>
              <a:gd name="T32" fmla="*/ 16 w 31"/>
              <a:gd name="T33" fmla="*/ 30 h 31"/>
              <a:gd name="T34" fmla="*/ 16 w 31"/>
              <a:gd name="T35" fmla="*/ 6 h 31"/>
              <a:gd name="T36" fmla="*/ 16 w 31"/>
              <a:gd name="T37" fmla="*/ 4 h 31"/>
              <a:gd name="T38" fmla="*/ 4 w 31"/>
              <a:gd name="T39" fmla="*/ 16 h 31"/>
              <a:gd name="T40" fmla="*/ 16 w 31"/>
              <a:gd name="T41" fmla="*/ 27 h 31"/>
              <a:gd name="T42" fmla="*/ 27 w 31"/>
              <a:gd name="T43" fmla="*/ 16 h 31"/>
              <a:gd name="T44" fmla="*/ 16 w 31"/>
              <a:gd name="T45" fmla="*/ 4 h 31"/>
              <a:gd name="T46" fmla="*/ 16 w 31"/>
              <a:gd name="T47" fmla="*/ 6 h 31"/>
              <a:gd name="T48" fmla="*/ 16 w 31"/>
              <a:gd name="T49" fmla="*/ 7 h 31"/>
              <a:gd name="T50" fmla="*/ 24 w 31"/>
              <a:gd name="T51" fmla="*/ 16 h 31"/>
              <a:gd name="T52" fmla="*/ 16 w 31"/>
              <a:gd name="T53" fmla="*/ 24 h 31"/>
              <a:gd name="T54" fmla="*/ 7 w 31"/>
              <a:gd name="T55" fmla="*/ 16 h 31"/>
              <a:gd name="T56" fmla="*/ 16 w 31"/>
              <a:gd name="T57" fmla="*/ 7 h 31"/>
              <a:gd name="T58" fmla="*/ 16 w 31"/>
              <a:gd name="T5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31">
                <a:moveTo>
                  <a:pt x="16" y="30"/>
                </a:moveTo>
                <a:cubicBezTo>
                  <a:pt x="16" y="28"/>
                  <a:pt x="16" y="28"/>
                  <a:pt x="16" y="28"/>
                </a:cubicBezTo>
                <a:cubicBezTo>
                  <a:pt x="12" y="28"/>
                  <a:pt x="9" y="27"/>
                  <a:pt x="6" y="25"/>
                </a:cubicBezTo>
                <a:cubicBezTo>
                  <a:pt x="4" y="22"/>
                  <a:pt x="3" y="19"/>
                  <a:pt x="3" y="16"/>
                </a:cubicBezTo>
                <a:cubicBezTo>
                  <a:pt x="3" y="12"/>
                  <a:pt x="4" y="9"/>
                  <a:pt x="6" y="7"/>
                </a:cubicBezTo>
                <a:cubicBezTo>
                  <a:pt x="9" y="4"/>
                  <a:pt x="12" y="3"/>
                  <a:pt x="16" y="3"/>
                </a:cubicBezTo>
                <a:cubicBezTo>
                  <a:pt x="19" y="3"/>
                  <a:pt x="22" y="4"/>
                  <a:pt x="25" y="7"/>
                </a:cubicBezTo>
                <a:cubicBezTo>
                  <a:pt x="27" y="9"/>
                  <a:pt x="28" y="12"/>
                  <a:pt x="28" y="16"/>
                </a:cubicBezTo>
                <a:cubicBezTo>
                  <a:pt x="28" y="19"/>
                  <a:pt x="27" y="22"/>
                  <a:pt x="25" y="25"/>
                </a:cubicBezTo>
                <a:cubicBezTo>
                  <a:pt x="22" y="27"/>
                  <a:pt x="19" y="28"/>
                  <a:pt x="16" y="28"/>
                </a:cubicBezTo>
                <a:cubicBezTo>
                  <a:pt x="16" y="30"/>
                  <a:pt x="16" y="30"/>
                  <a:pt x="16" y="30"/>
                </a:cubicBezTo>
                <a:cubicBezTo>
                  <a:pt x="16" y="31"/>
                  <a:pt x="16" y="31"/>
                  <a:pt x="16" y="31"/>
                </a:cubicBezTo>
                <a:cubicBezTo>
                  <a:pt x="24" y="31"/>
                  <a:pt x="31" y="24"/>
                  <a:pt x="31" y="16"/>
                </a:cubicBezTo>
                <a:cubicBezTo>
                  <a:pt x="31" y="7"/>
                  <a:pt x="24" y="0"/>
                  <a:pt x="16" y="0"/>
                </a:cubicBezTo>
                <a:cubicBezTo>
                  <a:pt x="7" y="0"/>
                  <a:pt x="0" y="7"/>
                  <a:pt x="0" y="16"/>
                </a:cubicBezTo>
                <a:cubicBezTo>
                  <a:pt x="0" y="24"/>
                  <a:pt x="7" y="31"/>
                  <a:pt x="16" y="31"/>
                </a:cubicBezTo>
                <a:lnTo>
                  <a:pt x="16" y="30"/>
                </a:lnTo>
                <a:close/>
                <a:moveTo>
                  <a:pt x="16" y="6"/>
                </a:moveTo>
                <a:cubicBezTo>
                  <a:pt x="16" y="4"/>
                  <a:pt x="16" y="4"/>
                  <a:pt x="16" y="4"/>
                </a:cubicBezTo>
                <a:cubicBezTo>
                  <a:pt x="9" y="4"/>
                  <a:pt x="4" y="9"/>
                  <a:pt x="4" y="16"/>
                </a:cubicBezTo>
                <a:cubicBezTo>
                  <a:pt x="4" y="22"/>
                  <a:pt x="9" y="27"/>
                  <a:pt x="16" y="27"/>
                </a:cubicBezTo>
                <a:cubicBezTo>
                  <a:pt x="22" y="27"/>
                  <a:pt x="27" y="22"/>
                  <a:pt x="27" y="16"/>
                </a:cubicBezTo>
                <a:cubicBezTo>
                  <a:pt x="27" y="9"/>
                  <a:pt x="22" y="4"/>
                  <a:pt x="16" y="4"/>
                </a:cubicBezTo>
                <a:cubicBezTo>
                  <a:pt x="16" y="6"/>
                  <a:pt x="16" y="6"/>
                  <a:pt x="16" y="6"/>
                </a:cubicBezTo>
                <a:cubicBezTo>
                  <a:pt x="16" y="7"/>
                  <a:pt x="16" y="7"/>
                  <a:pt x="16" y="7"/>
                </a:cubicBezTo>
                <a:cubicBezTo>
                  <a:pt x="20" y="7"/>
                  <a:pt x="24" y="11"/>
                  <a:pt x="24" y="16"/>
                </a:cubicBezTo>
                <a:cubicBezTo>
                  <a:pt x="24" y="20"/>
                  <a:pt x="20" y="24"/>
                  <a:pt x="16" y="24"/>
                </a:cubicBezTo>
                <a:cubicBezTo>
                  <a:pt x="11" y="24"/>
                  <a:pt x="7" y="20"/>
                  <a:pt x="7" y="16"/>
                </a:cubicBezTo>
                <a:cubicBezTo>
                  <a:pt x="7" y="11"/>
                  <a:pt x="11" y="7"/>
                  <a:pt x="16" y="7"/>
                </a:cubicBezTo>
                <a:lnTo>
                  <a:pt x="16"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3" name="Freeform 35">
            <a:extLst>
              <a:ext uri="{FF2B5EF4-FFF2-40B4-BE49-F238E27FC236}">
                <a16:creationId xmlns:a16="http://schemas.microsoft.com/office/drawing/2014/main" id="{9B23F82E-968A-4BDF-B657-332D629056ED}"/>
              </a:ext>
            </a:extLst>
          </p:cNvPr>
          <p:cNvSpPr>
            <a:spLocks noEditPoints="1"/>
          </p:cNvSpPr>
          <p:nvPr/>
        </p:nvSpPr>
        <p:spPr bwMode="auto">
          <a:xfrm>
            <a:off x="11071341" y="5496144"/>
            <a:ext cx="86041" cy="45551"/>
          </a:xfrm>
          <a:custGeom>
            <a:avLst/>
            <a:gdLst>
              <a:gd name="T0" fmla="*/ 85 w 85"/>
              <a:gd name="T1" fmla="*/ 45 h 45"/>
              <a:gd name="T2" fmla="*/ 0 w 85"/>
              <a:gd name="T3" fmla="*/ 45 h 45"/>
              <a:gd name="T4" fmla="*/ 0 w 85"/>
              <a:gd name="T5" fmla="*/ 0 h 45"/>
              <a:gd name="T6" fmla="*/ 85 w 85"/>
              <a:gd name="T7" fmla="*/ 0 h 45"/>
              <a:gd name="T8" fmla="*/ 85 w 85"/>
              <a:gd name="T9" fmla="*/ 45 h 45"/>
              <a:gd name="T10" fmla="*/ 9 w 85"/>
              <a:gd name="T11" fmla="*/ 36 h 45"/>
              <a:gd name="T12" fmla="*/ 73 w 85"/>
              <a:gd name="T13" fmla="*/ 36 h 45"/>
              <a:gd name="T14" fmla="*/ 73 w 85"/>
              <a:gd name="T15" fmla="*/ 12 h 45"/>
              <a:gd name="T16" fmla="*/ 9 w 85"/>
              <a:gd name="T17" fmla="*/ 12 h 45"/>
              <a:gd name="T18" fmla="*/ 9 w 85"/>
              <a:gd name="T19" fmla="*/ 3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45">
                <a:moveTo>
                  <a:pt x="85" y="45"/>
                </a:moveTo>
                <a:lnTo>
                  <a:pt x="0" y="45"/>
                </a:lnTo>
                <a:lnTo>
                  <a:pt x="0" y="0"/>
                </a:lnTo>
                <a:lnTo>
                  <a:pt x="85" y="0"/>
                </a:lnTo>
                <a:lnTo>
                  <a:pt x="85" y="45"/>
                </a:lnTo>
                <a:close/>
                <a:moveTo>
                  <a:pt x="9" y="36"/>
                </a:moveTo>
                <a:lnTo>
                  <a:pt x="73" y="36"/>
                </a:lnTo>
                <a:lnTo>
                  <a:pt x="73" y="12"/>
                </a:lnTo>
                <a:lnTo>
                  <a:pt x="9" y="12"/>
                </a:lnTo>
                <a:lnTo>
                  <a:pt x="9" y="3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4" name="Freeform 36">
            <a:extLst>
              <a:ext uri="{FF2B5EF4-FFF2-40B4-BE49-F238E27FC236}">
                <a16:creationId xmlns:a16="http://schemas.microsoft.com/office/drawing/2014/main" id="{86CB239B-609C-4A8E-8F56-77051A1E43D2}"/>
              </a:ext>
            </a:extLst>
          </p:cNvPr>
          <p:cNvSpPr>
            <a:spLocks noEditPoints="1"/>
          </p:cNvSpPr>
          <p:nvPr/>
        </p:nvSpPr>
        <p:spPr bwMode="auto">
          <a:xfrm>
            <a:off x="11066280" y="5494120"/>
            <a:ext cx="94139" cy="52637"/>
          </a:xfrm>
          <a:custGeom>
            <a:avLst/>
            <a:gdLst>
              <a:gd name="T0" fmla="*/ 90 w 93"/>
              <a:gd name="T1" fmla="*/ 47 h 52"/>
              <a:gd name="T2" fmla="*/ 90 w 93"/>
              <a:gd name="T3" fmla="*/ 45 h 52"/>
              <a:gd name="T4" fmla="*/ 7 w 93"/>
              <a:gd name="T5" fmla="*/ 45 h 52"/>
              <a:gd name="T6" fmla="*/ 7 w 93"/>
              <a:gd name="T7" fmla="*/ 7 h 52"/>
              <a:gd name="T8" fmla="*/ 86 w 93"/>
              <a:gd name="T9" fmla="*/ 7 h 52"/>
              <a:gd name="T10" fmla="*/ 86 w 93"/>
              <a:gd name="T11" fmla="*/ 47 h 52"/>
              <a:gd name="T12" fmla="*/ 90 w 93"/>
              <a:gd name="T13" fmla="*/ 47 h 52"/>
              <a:gd name="T14" fmla="*/ 90 w 93"/>
              <a:gd name="T15" fmla="*/ 45 h 52"/>
              <a:gd name="T16" fmla="*/ 90 w 93"/>
              <a:gd name="T17" fmla="*/ 47 h 52"/>
              <a:gd name="T18" fmla="*/ 93 w 93"/>
              <a:gd name="T19" fmla="*/ 47 h 52"/>
              <a:gd name="T20" fmla="*/ 93 w 93"/>
              <a:gd name="T21" fmla="*/ 0 h 52"/>
              <a:gd name="T22" fmla="*/ 0 w 93"/>
              <a:gd name="T23" fmla="*/ 0 h 52"/>
              <a:gd name="T24" fmla="*/ 0 w 93"/>
              <a:gd name="T25" fmla="*/ 52 h 52"/>
              <a:gd name="T26" fmla="*/ 93 w 93"/>
              <a:gd name="T27" fmla="*/ 52 h 52"/>
              <a:gd name="T28" fmla="*/ 93 w 93"/>
              <a:gd name="T29" fmla="*/ 47 h 52"/>
              <a:gd name="T30" fmla="*/ 90 w 93"/>
              <a:gd name="T31" fmla="*/ 47 h 52"/>
              <a:gd name="T32" fmla="*/ 14 w 93"/>
              <a:gd name="T33" fmla="*/ 38 h 52"/>
              <a:gd name="T34" fmla="*/ 14 w 93"/>
              <a:gd name="T35" fmla="*/ 40 h 52"/>
              <a:gd name="T36" fmla="*/ 83 w 93"/>
              <a:gd name="T37" fmla="*/ 40 h 52"/>
              <a:gd name="T38" fmla="*/ 83 w 93"/>
              <a:gd name="T39" fmla="*/ 9 h 52"/>
              <a:gd name="T40" fmla="*/ 12 w 93"/>
              <a:gd name="T41" fmla="*/ 9 h 52"/>
              <a:gd name="T42" fmla="*/ 12 w 93"/>
              <a:gd name="T43" fmla="*/ 40 h 52"/>
              <a:gd name="T44" fmla="*/ 14 w 93"/>
              <a:gd name="T45" fmla="*/ 40 h 52"/>
              <a:gd name="T46" fmla="*/ 14 w 93"/>
              <a:gd name="T47" fmla="*/ 38 h 52"/>
              <a:gd name="T48" fmla="*/ 19 w 93"/>
              <a:gd name="T49" fmla="*/ 38 h 52"/>
              <a:gd name="T50" fmla="*/ 19 w 93"/>
              <a:gd name="T51" fmla="*/ 16 h 52"/>
              <a:gd name="T52" fmla="*/ 76 w 93"/>
              <a:gd name="T53" fmla="*/ 16 h 52"/>
              <a:gd name="T54" fmla="*/ 76 w 93"/>
              <a:gd name="T55" fmla="*/ 33 h 52"/>
              <a:gd name="T56" fmla="*/ 14 w 93"/>
              <a:gd name="T57" fmla="*/ 33 h 52"/>
              <a:gd name="T58" fmla="*/ 14 w 93"/>
              <a:gd name="T59" fmla="*/ 38 h 52"/>
              <a:gd name="T60" fmla="*/ 19 w 93"/>
              <a:gd name="T61" fmla="*/ 38 h 52"/>
              <a:gd name="T62" fmla="*/ 14 w 93"/>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 h="52">
                <a:moveTo>
                  <a:pt x="90" y="47"/>
                </a:moveTo>
                <a:lnTo>
                  <a:pt x="90" y="45"/>
                </a:lnTo>
                <a:lnTo>
                  <a:pt x="7" y="45"/>
                </a:lnTo>
                <a:lnTo>
                  <a:pt x="7" y="7"/>
                </a:lnTo>
                <a:lnTo>
                  <a:pt x="86" y="7"/>
                </a:lnTo>
                <a:lnTo>
                  <a:pt x="86" y="47"/>
                </a:lnTo>
                <a:lnTo>
                  <a:pt x="90" y="47"/>
                </a:lnTo>
                <a:lnTo>
                  <a:pt x="90" y="45"/>
                </a:lnTo>
                <a:lnTo>
                  <a:pt x="90" y="47"/>
                </a:lnTo>
                <a:lnTo>
                  <a:pt x="93" y="47"/>
                </a:lnTo>
                <a:lnTo>
                  <a:pt x="93" y="0"/>
                </a:lnTo>
                <a:lnTo>
                  <a:pt x="0" y="0"/>
                </a:lnTo>
                <a:lnTo>
                  <a:pt x="0" y="52"/>
                </a:lnTo>
                <a:lnTo>
                  <a:pt x="93" y="52"/>
                </a:lnTo>
                <a:lnTo>
                  <a:pt x="93" y="47"/>
                </a:lnTo>
                <a:lnTo>
                  <a:pt x="90" y="47"/>
                </a:lnTo>
                <a:close/>
                <a:moveTo>
                  <a:pt x="14" y="38"/>
                </a:moveTo>
                <a:lnTo>
                  <a:pt x="14" y="40"/>
                </a:lnTo>
                <a:lnTo>
                  <a:pt x="83" y="40"/>
                </a:lnTo>
                <a:lnTo>
                  <a:pt x="83" y="9"/>
                </a:lnTo>
                <a:lnTo>
                  <a:pt x="12" y="9"/>
                </a:lnTo>
                <a:lnTo>
                  <a:pt x="12" y="40"/>
                </a:lnTo>
                <a:lnTo>
                  <a:pt x="14" y="40"/>
                </a:lnTo>
                <a:lnTo>
                  <a:pt x="14" y="38"/>
                </a:lnTo>
                <a:lnTo>
                  <a:pt x="19" y="38"/>
                </a:lnTo>
                <a:lnTo>
                  <a:pt x="19" y="16"/>
                </a:lnTo>
                <a:lnTo>
                  <a:pt x="76" y="16"/>
                </a:lnTo>
                <a:lnTo>
                  <a:pt x="7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5" name="Freeform 37">
            <a:extLst>
              <a:ext uri="{FF2B5EF4-FFF2-40B4-BE49-F238E27FC236}">
                <a16:creationId xmlns:a16="http://schemas.microsoft.com/office/drawing/2014/main" id="{7CA998CE-96C6-4F6E-98AF-087B0E4C2B7A}"/>
              </a:ext>
            </a:extLst>
          </p:cNvPr>
          <p:cNvSpPr>
            <a:spLocks noEditPoints="1"/>
          </p:cNvSpPr>
          <p:nvPr/>
        </p:nvSpPr>
        <p:spPr bwMode="auto">
          <a:xfrm>
            <a:off x="11071341" y="5563965"/>
            <a:ext cx="45551" cy="47576"/>
          </a:xfrm>
          <a:custGeom>
            <a:avLst/>
            <a:gdLst>
              <a:gd name="T0" fmla="*/ 45 w 45"/>
              <a:gd name="T1" fmla="*/ 47 h 47"/>
              <a:gd name="T2" fmla="*/ 0 w 45"/>
              <a:gd name="T3" fmla="*/ 47 h 47"/>
              <a:gd name="T4" fmla="*/ 0 w 45"/>
              <a:gd name="T5" fmla="*/ 0 h 47"/>
              <a:gd name="T6" fmla="*/ 45 w 45"/>
              <a:gd name="T7" fmla="*/ 0 h 47"/>
              <a:gd name="T8" fmla="*/ 45 w 45"/>
              <a:gd name="T9" fmla="*/ 47 h 47"/>
              <a:gd name="T10" fmla="*/ 9 w 45"/>
              <a:gd name="T11" fmla="*/ 35 h 47"/>
              <a:gd name="T12" fmla="*/ 33 w 45"/>
              <a:gd name="T13" fmla="*/ 35 h 47"/>
              <a:gd name="T14" fmla="*/ 33 w 45"/>
              <a:gd name="T15" fmla="*/ 11 h 47"/>
              <a:gd name="T16" fmla="*/ 9 w 45"/>
              <a:gd name="T17" fmla="*/ 11 h 47"/>
              <a:gd name="T18" fmla="*/ 9 w 45"/>
              <a:gd name="T1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7">
                <a:moveTo>
                  <a:pt x="45" y="47"/>
                </a:moveTo>
                <a:lnTo>
                  <a:pt x="0" y="47"/>
                </a:lnTo>
                <a:lnTo>
                  <a:pt x="0" y="0"/>
                </a:lnTo>
                <a:lnTo>
                  <a:pt x="45" y="0"/>
                </a:lnTo>
                <a:lnTo>
                  <a:pt x="45" y="47"/>
                </a:lnTo>
                <a:close/>
                <a:moveTo>
                  <a:pt x="9" y="35"/>
                </a:moveTo>
                <a:lnTo>
                  <a:pt x="33" y="35"/>
                </a:lnTo>
                <a:lnTo>
                  <a:pt x="33" y="11"/>
                </a:lnTo>
                <a:lnTo>
                  <a:pt x="9" y="11"/>
                </a:lnTo>
                <a:lnTo>
                  <a:pt x="9"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6" name="Freeform 38">
            <a:extLst>
              <a:ext uri="{FF2B5EF4-FFF2-40B4-BE49-F238E27FC236}">
                <a16:creationId xmlns:a16="http://schemas.microsoft.com/office/drawing/2014/main" id="{FD168DE7-BDE5-4D22-9923-6F2064F14C4B}"/>
              </a:ext>
            </a:extLst>
          </p:cNvPr>
          <p:cNvSpPr>
            <a:spLocks noEditPoints="1"/>
          </p:cNvSpPr>
          <p:nvPr/>
        </p:nvSpPr>
        <p:spPr bwMode="auto">
          <a:xfrm>
            <a:off x="11066280" y="5560928"/>
            <a:ext cx="55674" cy="52637"/>
          </a:xfrm>
          <a:custGeom>
            <a:avLst/>
            <a:gdLst>
              <a:gd name="T0" fmla="*/ 50 w 55"/>
              <a:gd name="T1" fmla="*/ 50 h 52"/>
              <a:gd name="T2" fmla="*/ 50 w 55"/>
              <a:gd name="T3" fmla="*/ 45 h 52"/>
              <a:gd name="T4" fmla="*/ 7 w 55"/>
              <a:gd name="T5" fmla="*/ 45 h 52"/>
              <a:gd name="T6" fmla="*/ 7 w 55"/>
              <a:gd name="T7" fmla="*/ 7 h 52"/>
              <a:gd name="T8" fmla="*/ 48 w 55"/>
              <a:gd name="T9" fmla="*/ 7 h 52"/>
              <a:gd name="T10" fmla="*/ 48 w 55"/>
              <a:gd name="T11" fmla="*/ 50 h 52"/>
              <a:gd name="T12" fmla="*/ 50 w 55"/>
              <a:gd name="T13" fmla="*/ 50 h 52"/>
              <a:gd name="T14" fmla="*/ 50 w 55"/>
              <a:gd name="T15" fmla="*/ 45 h 52"/>
              <a:gd name="T16" fmla="*/ 50 w 55"/>
              <a:gd name="T17" fmla="*/ 50 h 52"/>
              <a:gd name="T18" fmla="*/ 55 w 55"/>
              <a:gd name="T19" fmla="*/ 50 h 52"/>
              <a:gd name="T20" fmla="*/ 55 w 55"/>
              <a:gd name="T21" fmla="*/ 0 h 52"/>
              <a:gd name="T22" fmla="*/ 0 w 55"/>
              <a:gd name="T23" fmla="*/ 0 h 52"/>
              <a:gd name="T24" fmla="*/ 0 w 55"/>
              <a:gd name="T25" fmla="*/ 52 h 52"/>
              <a:gd name="T26" fmla="*/ 55 w 55"/>
              <a:gd name="T27" fmla="*/ 52 h 52"/>
              <a:gd name="T28" fmla="*/ 55 w 55"/>
              <a:gd name="T29" fmla="*/ 50 h 52"/>
              <a:gd name="T30" fmla="*/ 50 w 55"/>
              <a:gd name="T31" fmla="*/ 50 h 52"/>
              <a:gd name="T32" fmla="*/ 14 w 55"/>
              <a:gd name="T33" fmla="*/ 38 h 52"/>
              <a:gd name="T34" fmla="*/ 14 w 55"/>
              <a:gd name="T35" fmla="*/ 40 h 52"/>
              <a:gd name="T36" fmla="*/ 43 w 55"/>
              <a:gd name="T37" fmla="*/ 40 h 52"/>
              <a:gd name="T38" fmla="*/ 43 w 55"/>
              <a:gd name="T39" fmla="*/ 10 h 52"/>
              <a:gd name="T40" fmla="*/ 12 w 55"/>
              <a:gd name="T41" fmla="*/ 10 h 52"/>
              <a:gd name="T42" fmla="*/ 12 w 55"/>
              <a:gd name="T43" fmla="*/ 40 h 52"/>
              <a:gd name="T44" fmla="*/ 14 w 55"/>
              <a:gd name="T45" fmla="*/ 40 h 52"/>
              <a:gd name="T46" fmla="*/ 14 w 55"/>
              <a:gd name="T47" fmla="*/ 38 h 52"/>
              <a:gd name="T48" fmla="*/ 19 w 55"/>
              <a:gd name="T49" fmla="*/ 38 h 52"/>
              <a:gd name="T50" fmla="*/ 19 w 55"/>
              <a:gd name="T51" fmla="*/ 17 h 52"/>
              <a:gd name="T52" fmla="*/ 36 w 55"/>
              <a:gd name="T53" fmla="*/ 17 h 52"/>
              <a:gd name="T54" fmla="*/ 36 w 55"/>
              <a:gd name="T55" fmla="*/ 33 h 52"/>
              <a:gd name="T56" fmla="*/ 14 w 55"/>
              <a:gd name="T57" fmla="*/ 33 h 52"/>
              <a:gd name="T58" fmla="*/ 14 w 55"/>
              <a:gd name="T59" fmla="*/ 38 h 52"/>
              <a:gd name="T60" fmla="*/ 19 w 55"/>
              <a:gd name="T61" fmla="*/ 38 h 52"/>
              <a:gd name="T62" fmla="*/ 14 w 55"/>
              <a:gd name="T63"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52">
                <a:moveTo>
                  <a:pt x="50" y="50"/>
                </a:moveTo>
                <a:lnTo>
                  <a:pt x="50" y="45"/>
                </a:lnTo>
                <a:lnTo>
                  <a:pt x="7" y="45"/>
                </a:lnTo>
                <a:lnTo>
                  <a:pt x="7" y="7"/>
                </a:lnTo>
                <a:lnTo>
                  <a:pt x="48" y="7"/>
                </a:lnTo>
                <a:lnTo>
                  <a:pt x="48" y="50"/>
                </a:lnTo>
                <a:lnTo>
                  <a:pt x="50" y="50"/>
                </a:lnTo>
                <a:lnTo>
                  <a:pt x="50" y="45"/>
                </a:lnTo>
                <a:lnTo>
                  <a:pt x="50" y="50"/>
                </a:lnTo>
                <a:lnTo>
                  <a:pt x="55" y="50"/>
                </a:lnTo>
                <a:lnTo>
                  <a:pt x="55" y="0"/>
                </a:lnTo>
                <a:lnTo>
                  <a:pt x="0" y="0"/>
                </a:lnTo>
                <a:lnTo>
                  <a:pt x="0" y="52"/>
                </a:lnTo>
                <a:lnTo>
                  <a:pt x="55" y="52"/>
                </a:lnTo>
                <a:lnTo>
                  <a:pt x="55" y="50"/>
                </a:lnTo>
                <a:lnTo>
                  <a:pt x="50" y="50"/>
                </a:lnTo>
                <a:close/>
                <a:moveTo>
                  <a:pt x="14" y="38"/>
                </a:moveTo>
                <a:lnTo>
                  <a:pt x="14" y="40"/>
                </a:lnTo>
                <a:lnTo>
                  <a:pt x="43" y="40"/>
                </a:lnTo>
                <a:lnTo>
                  <a:pt x="43" y="10"/>
                </a:lnTo>
                <a:lnTo>
                  <a:pt x="12" y="10"/>
                </a:lnTo>
                <a:lnTo>
                  <a:pt x="12" y="40"/>
                </a:lnTo>
                <a:lnTo>
                  <a:pt x="14" y="40"/>
                </a:lnTo>
                <a:lnTo>
                  <a:pt x="14" y="38"/>
                </a:lnTo>
                <a:lnTo>
                  <a:pt x="19" y="38"/>
                </a:lnTo>
                <a:lnTo>
                  <a:pt x="19" y="17"/>
                </a:lnTo>
                <a:lnTo>
                  <a:pt x="36" y="17"/>
                </a:lnTo>
                <a:lnTo>
                  <a:pt x="36" y="33"/>
                </a:lnTo>
                <a:lnTo>
                  <a:pt x="14" y="33"/>
                </a:lnTo>
                <a:lnTo>
                  <a:pt x="14" y="38"/>
                </a:lnTo>
                <a:lnTo>
                  <a:pt x="19" y="38"/>
                </a:lnTo>
                <a:lnTo>
                  <a:pt x="14"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7" name="Freeform 39">
            <a:extLst>
              <a:ext uri="{FF2B5EF4-FFF2-40B4-BE49-F238E27FC236}">
                <a16:creationId xmlns:a16="http://schemas.microsoft.com/office/drawing/2014/main" id="{C0A48846-3CA1-4033-A124-EE4557838E03}"/>
              </a:ext>
            </a:extLst>
          </p:cNvPr>
          <p:cNvSpPr>
            <a:spLocks/>
          </p:cNvSpPr>
          <p:nvPr/>
        </p:nvSpPr>
        <p:spPr bwMode="auto">
          <a:xfrm>
            <a:off x="8548824" y="3982837"/>
            <a:ext cx="433241" cy="451462"/>
          </a:xfrm>
          <a:custGeom>
            <a:avLst/>
            <a:gdLst>
              <a:gd name="T0" fmla="*/ 90 w 180"/>
              <a:gd name="T1" fmla="*/ 4 h 188"/>
              <a:gd name="T2" fmla="*/ 90 w 180"/>
              <a:gd name="T3" fmla="*/ 0 h 188"/>
              <a:gd name="T4" fmla="*/ 0 w 180"/>
              <a:gd name="T5" fmla="*/ 90 h 188"/>
              <a:gd name="T6" fmla="*/ 22 w 180"/>
              <a:gd name="T7" fmla="*/ 148 h 188"/>
              <a:gd name="T8" fmla="*/ 25 w 180"/>
              <a:gd name="T9" fmla="*/ 145 h 188"/>
              <a:gd name="T10" fmla="*/ 21 w 180"/>
              <a:gd name="T11" fmla="*/ 143 h 188"/>
              <a:gd name="T12" fmla="*/ 1 w 180"/>
              <a:gd name="T13" fmla="*/ 181 h 188"/>
              <a:gd name="T14" fmla="*/ 2 w 180"/>
              <a:gd name="T15" fmla="*/ 186 h 188"/>
              <a:gd name="T16" fmla="*/ 7 w 180"/>
              <a:gd name="T17" fmla="*/ 187 h 188"/>
              <a:gd name="T18" fmla="*/ 43 w 180"/>
              <a:gd name="T19" fmla="*/ 164 h 188"/>
              <a:gd name="T20" fmla="*/ 41 w 180"/>
              <a:gd name="T21" fmla="*/ 160 h 188"/>
              <a:gd name="T22" fmla="*/ 39 w 180"/>
              <a:gd name="T23" fmla="*/ 164 h 188"/>
              <a:gd name="T24" fmla="*/ 90 w 180"/>
              <a:gd name="T25" fmla="*/ 180 h 188"/>
              <a:gd name="T26" fmla="*/ 180 w 180"/>
              <a:gd name="T27" fmla="*/ 90 h 188"/>
              <a:gd name="T28" fmla="*/ 90 w 180"/>
              <a:gd name="T29" fmla="*/ 0 h 188"/>
              <a:gd name="T30" fmla="*/ 90 w 180"/>
              <a:gd name="T31" fmla="*/ 4 h 188"/>
              <a:gd name="T32" fmla="*/ 90 w 180"/>
              <a:gd name="T33" fmla="*/ 8 h 188"/>
              <a:gd name="T34" fmla="*/ 148 w 180"/>
              <a:gd name="T35" fmla="*/ 32 h 188"/>
              <a:gd name="T36" fmla="*/ 172 w 180"/>
              <a:gd name="T37" fmla="*/ 90 h 188"/>
              <a:gd name="T38" fmla="*/ 148 w 180"/>
              <a:gd name="T39" fmla="*/ 148 h 188"/>
              <a:gd name="T40" fmla="*/ 90 w 180"/>
              <a:gd name="T41" fmla="*/ 172 h 188"/>
              <a:gd name="T42" fmla="*/ 43 w 180"/>
              <a:gd name="T43" fmla="*/ 157 h 188"/>
              <a:gd name="T44" fmla="*/ 39 w 180"/>
              <a:gd name="T45" fmla="*/ 157 h 188"/>
              <a:gd name="T46" fmla="*/ 15 w 180"/>
              <a:gd name="T47" fmla="*/ 172 h 188"/>
              <a:gd name="T48" fmla="*/ 28 w 180"/>
              <a:gd name="T49" fmla="*/ 147 h 188"/>
              <a:gd name="T50" fmla="*/ 28 w 180"/>
              <a:gd name="T51" fmla="*/ 143 h 188"/>
              <a:gd name="T52" fmla="*/ 8 w 180"/>
              <a:gd name="T53" fmla="*/ 90 h 188"/>
              <a:gd name="T54" fmla="*/ 32 w 180"/>
              <a:gd name="T55" fmla="*/ 32 h 188"/>
              <a:gd name="T56" fmla="*/ 90 w 180"/>
              <a:gd name="T57" fmla="*/ 8 h 188"/>
              <a:gd name="T58" fmla="*/ 90 w 180"/>
              <a:gd name="T59" fmla="*/ 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88">
                <a:moveTo>
                  <a:pt x="90" y="4"/>
                </a:moveTo>
                <a:cubicBezTo>
                  <a:pt x="90" y="0"/>
                  <a:pt x="90" y="0"/>
                  <a:pt x="90" y="0"/>
                </a:cubicBezTo>
                <a:cubicBezTo>
                  <a:pt x="41" y="0"/>
                  <a:pt x="0" y="40"/>
                  <a:pt x="0" y="90"/>
                </a:cubicBezTo>
                <a:cubicBezTo>
                  <a:pt x="0" y="112"/>
                  <a:pt x="8" y="132"/>
                  <a:pt x="22" y="148"/>
                </a:cubicBezTo>
                <a:cubicBezTo>
                  <a:pt x="25" y="145"/>
                  <a:pt x="25" y="145"/>
                  <a:pt x="25" y="145"/>
                </a:cubicBezTo>
                <a:cubicBezTo>
                  <a:pt x="21" y="143"/>
                  <a:pt x="21" y="143"/>
                  <a:pt x="21" y="143"/>
                </a:cubicBezTo>
                <a:cubicBezTo>
                  <a:pt x="1" y="181"/>
                  <a:pt x="1" y="181"/>
                  <a:pt x="1" y="181"/>
                </a:cubicBezTo>
                <a:cubicBezTo>
                  <a:pt x="0" y="183"/>
                  <a:pt x="1" y="185"/>
                  <a:pt x="2" y="186"/>
                </a:cubicBezTo>
                <a:cubicBezTo>
                  <a:pt x="3" y="187"/>
                  <a:pt x="5" y="188"/>
                  <a:pt x="7" y="187"/>
                </a:cubicBezTo>
                <a:cubicBezTo>
                  <a:pt x="43" y="164"/>
                  <a:pt x="43" y="164"/>
                  <a:pt x="43" y="164"/>
                </a:cubicBezTo>
                <a:cubicBezTo>
                  <a:pt x="41" y="160"/>
                  <a:pt x="41" y="160"/>
                  <a:pt x="41" y="160"/>
                </a:cubicBezTo>
                <a:cubicBezTo>
                  <a:pt x="39" y="164"/>
                  <a:pt x="39" y="164"/>
                  <a:pt x="39" y="164"/>
                </a:cubicBezTo>
                <a:cubicBezTo>
                  <a:pt x="53" y="174"/>
                  <a:pt x="71" y="180"/>
                  <a:pt x="90" y="180"/>
                </a:cubicBezTo>
                <a:cubicBezTo>
                  <a:pt x="140" y="180"/>
                  <a:pt x="180" y="139"/>
                  <a:pt x="180" y="90"/>
                </a:cubicBezTo>
                <a:cubicBezTo>
                  <a:pt x="180" y="40"/>
                  <a:pt x="140" y="0"/>
                  <a:pt x="90" y="0"/>
                </a:cubicBezTo>
                <a:cubicBezTo>
                  <a:pt x="90" y="4"/>
                  <a:pt x="90" y="4"/>
                  <a:pt x="90" y="4"/>
                </a:cubicBezTo>
                <a:cubicBezTo>
                  <a:pt x="90" y="8"/>
                  <a:pt x="90" y="8"/>
                  <a:pt x="90" y="8"/>
                </a:cubicBezTo>
                <a:cubicBezTo>
                  <a:pt x="113" y="8"/>
                  <a:pt x="133" y="17"/>
                  <a:pt x="148" y="32"/>
                </a:cubicBezTo>
                <a:cubicBezTo>
                  <a:pt x="163" y="47"/>
                  <a:pt x="172" y="67"/>
                  <a:pt x="172" y="90"/>
                </a:cubicBezTo>
                <a:cubicBezTo>
                  <a:pt x="172" y="112"/>
                  <a:pt x="163" y="133"/>
                  <a:pt x="148" y="148"/>
                </a:cubicBezTo>
                <a:cubicBezTo>
                  <a:pt x="133" y="163"/>
                  <a:pt x="113" y="172"/>
                  <a:pt x="90" y="172"/>
                </a:cubicBezTo>
                <a:cubicBezTo>
                  <a:pt x="73" y="172"/>
                  <a:pt x="57" y="166"/>
                  <a:pt x="43" y="157"/>
                </a:cubicBezTo>
                <a:cubicBezTo>
                  <a:pt x="42" y="156"/>
                  <a:pt x="40" y="156"/>
                  <a:pt x="39" y="157"/>
                </a:cubicBezTo>
                <a:cubicBezTo>
                  <a:pt x="15" y="172"/>
                  <a:pt x="15" y="172"/>
                  <a:pt x="15" y="172"/>
                </a:cubicBezTo>
                <a:cubicBezTo>
                  <a:pt x="28" y="147"/>
                  <a:pt x="28" y="147"/>
                  <a:pt x="28" y="147"/>
                </a:cubicBezTo>
                <a:cubicBezTo>
                  <a:pt x="29" y="146"/>
                  <a:pt x="29" y="144"/>
                  <a:pt x="28" y="143"/>
                </a:cubicBezTo>
                <a:cubicBezTo>
                  <a:pt x="16" y="128"/>
                  <a:pt x="8" y="110"/>
                  <a:pt x="8" y="90"/>
                </a:cubicBezTo>
                <a:cubicBezTo>
                  <a:pt x="8" y="67"/>
                  <a:pt x="18" y="47"/>
                  <a:pt x="32" y="32"/>
                </a:cubicBezTo>
                <a:cubicBezTo>
                  <a:pt x="47" y="17"/>
                  <a:pt x="68" y="8"/>
                  <a:pt x="90" y="8"/>
                </a:cubicBezTo>
                <a:lnTo>
                  <a:pt x="90" y="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8" name="Freeform 40">
            <a:extLst>
              <a:ext uri="{FF2B5EF4-FFF2-40B4-BE49-F238E27FC236}">
                <a16:creationId xmlns:a16="http://schemas.microsoft.com/office/drawing/2014/main" id="{24A8079F-89AC-436E-B953-435EE482DCA9}"/>
              </a:ext>
            </a:extLst>
          </p:cNvPr>
          <p:cNvSpPr>
            <a:spLocks/>
          </p:cNvSpPr>
          <p:nvPr/>
        </p:nvSpPr>
        <p:spPr bwMode="auto">
          <a:xfrm>
            <a:off x="8611583" y="4047621"/>
            <a:ext cx="302662" cy="300637"/>
          </a:xfrm>
          <a:custGeom>
            <a:avLst/>
            <a:gdLst>
              <a:gd name="T0" fmla="*/ 122 w 126"/>
              <a:gd name="T1" fmla="*/ 63 h 125"/>
              <a:gd name="T2" fmla="*/ 118 w 126"/>
              <a:gd name="T3" fmla="*/ 63 h 125"/>
              <a:gd name="T4" fmla="*/ 102 w 126"/>
              <a:gd name="T5" fmla="*/ 101 h 125"/>
              <a:gd name="T6" fmla="*/ 63 w 126"/>
              <a:gd name="T7" fmla="*/ 117 h 125"/>
              <a:gd name="T8" fmla="*/ 24 w 126"/>
              <a:gd name="T9" fmla="*/ 101 h 125"/>
              <a:gd name="T10" fmla="*/ 8 w 126"/>
              <a:gd name="T11" fmla="*/ 63 h 125"/>
              <a:gd name="T12" fmla="*/ 24 w 126"/>
              <a:gd name="T13" fmla="*/ 24 h 125"/>
              <a:gd name="T14" fmla="*/ 63 w 126"/>
              <a:gd name="T15" fmla="*/ 8 h 125"/>
              <a:gd name="T16" fmla="*/ 102 w 126"/>
              <a:gd name="T17" fmla="*/ 24 h 125"/>
              <a:gd name="T18" fmla="*/ 118 w 126"/>
              <a:gd name="T19" fmla="*/ 63 h 125"/>
              <a:gd name="T20" fmla="*/ 122 w 126"/>
              <a:gd name="T21" fmla="*/ 63 h 125"/>
              <a:gd name="T22" fmla="*/ 126 w 126"/>
              <a:gd name="T23" fmla="*/ 63 h 125"/>
              <a:gd name="T24" fmla="*/ 63 w 126"/>
              <a:gd name="T25" fmla="*/ 0 h 125"/>
              <a:gd name="T26" fmla="*/ 0 w 126"/>
              <a:gd name="T27" fmla="*/ 63 h 125"/>
              <a:gd name="T28" fmla="*/ 63 w 126"/>
              <a:gd name="T29" fmla="*/ 125 h 125"/>
              <a:gd name="T30" fmla="*/ 126 w 126"/>
              <a:gd name="T31" fmla="*/ 63 h 125"/>
              <a:gd name="T32" fmla="*/ 122 w 126"/>
              <a:gd name="T33"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6" h="125">
                <a:moveTo>
                  <a:pt x="122" y="63"/>
                </a:moveTo>
                <a:cubicBezTo>
                  <a:pt x="118" y="63"/>
                  <a:pt x="118" y="63"/>
                  <a:pt x="118" y="63"/>
                </a:cubicBezTo>
                <a:cubicBezTo>
                  <a:pt x="118" y="78"/>
                  <a:pt x="112" y="91"/>
                  <a:pt x="102" y="101"/>
                </a:cubicBezTo>
                <a:cubicBezTo>
                  <a:pt x="92" y="111"/>
                  <a:pt x="78" y="117"/>
                  <a:pt x="63" y="117"/>
                </a:cubicBezTo>
                <a:cubicBezTo>
                  <a:pt x="48" y="117"/>
                  <a:pt x="34" y="111"/>
                  <a:pt x="24" y="101"/>
                </a:cubicBezTo>
                <a:cubicBezTo>
                  <a:pt x="15" y="91"/>
                  <a:pt x="8" y="78"/>
                  <a:pt x="8" y="63"/>
                </a:cubicBezTo>
                <a:cubicBezTo>
                  <a:pt x="8" y="48"/>
                  <a:pt x="15" y="34"/>
                  <a:pt x="24" y="24"/>
                </a:cubicBezTo>
                <a:cubicBezTo>
                  <a:pt x="34" y="14"/>
                  <a:pt x="48" y="8"/>
                  <a:pt x="63" y="8"/>
                </a:cubicBezTo>
                <a:cubicBezTo>
                  <a:pt x="78" y="8"/>
                  <a:pt x="92" y="14"/>
                  <a:pt x="102" y="24"/>
                </a:cubicBezTo>
                <a:cubicBezTo>
                  <a:pt x="112" y="34"/>
                  <a:pt x="118" y="48"/>
                  <a:pt x="118" y="63"/>
                </a:cubicBezTo>
                <a:cubicBezTo>
                  <a:pt x="122" y="63"/>
                  <a:pt x="122" y="63"/>
                  <a:pt x="122" y="63"/>
                </a:cubicBezTo>
                <a:cubicBezTo>
                  <a:pt x="126" y="63"/>
                  <a:pt x="126" y="63"/>
                  <a:pt x="126" y="63"/>
                </a:cubicBezTo>
                <a:cubicBezTo>
                  <a:pt x="126" y="28"/>
                  <a:pt x="98" y="0"/>
                  <a:pt x="63" y="0"/>
                </a:cubicBezTo>
                <a:cubicBezTo>
                  <a:pt x="28" y="0"/>
                  <a:pt x="0" y="28"/>
                  <a:pt x="0" y="63"/>
                </a:cubicBezTo>
                <a:cubicBezTo>
                  <a:pt x="0" y="97"/>
                  <a:pt x="28" y="125"/>
                  <a:pt x="63" y="125"/>
                </a:cubicBezTo>
                <a:cubicBezTo>
                  <a:pt x="98" y="125"/>
                  <a:pt x="126" y="97"/>
                  <a:pt x="126" y="63"/>
                </a:cubicBezTo>
                <a:lnTo>
                  <a:pt x="122" y="6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99" name="Freeform 41">
            <a:extLst>
              <a:ext uri="{FF2B5EF4-FFF2-40B4-BE49-F238E27FC236}">
                <a16:creationId xmlns:a16="http://schemas.microsoft.com/office/drawing/2014/main" id="{81C621F1-7C8A-4615-8426-9C22F13EC511}"/>
              </a:ext>
            </a:extLst>
          </p:cNvPr>
          <p:cNvSpPr>
            <a:spLocks/>
          </p:cNvSpPr>
          <p:nvPr/>
        </p:nvSpPr>
        <p:spPr bwMode="auto">
          <a:xfrm>
            <a:off x="8698636" y="4098233"/>
            <a:ext cx="131592" cy="187265"/>
          </a:xfrm>
          <a:custGeom>
            <a:avLst/>
            <a:gdLst>
              <a:gd name="T0" fmla="*/ 47 w 55"/>
              <a:gd name="T1" fmla="*/ 2 h 78"/>
              <a:gd name="T2" fmla="*/ 1 w 55"/>
              <a:gd name="T3" fmla="*/ 71 h 78"/>
              <a:gd name="T4" fmla="*/ 2 w 55"/>
              <a:gd name="T5" fmla="*/ 76 h 78"/>
              <a:gd name="T6" fmla="*/ 8 w 55"/>
              <a:gd name="T7" fmla="*/ 75 h 78"/>
              <a:gd name="T8" fmla="*/ 53 w 55"/>
              <a:gd name="T9" fmla="*/ 7 h 78"/>
              <a:gd name="T10" fmla="*/ 52 w 55"/>
              <a:gd name="T11" fmla="*/ 1 h 78"/>
              <a:gd name="T12" fmla="*/ 47 w 55"/>
              <a:gd name="T13" fmla="*/ 2 h 78"/>
            </a:gdLst>
            <a:ahLst/>
            <a:cxnLst>
              <a:cxn ang="0">
                <a:pos x="T0" y="T1"/>
              </a:cxn>
              <a:cxn ang="0">
                <a:pos x="T2" y="T3"/>
              </a:cxn>
              <a:cxn ang="0">
                <a:pos x="T4" y="T5"/>
              </a:cxn>
              <a:cxn ang="0">
                <a:pos x="T6" y="T7"/>
              </a:cxn>
              <a:cxn ang="0">
                <a:pos x="T8" y="T9"/>
              </a:cxn>
              <a:cxn ang="0">
                <a:pos x="T10" y="T11"/>
              </a:cxn>
              <a:cxn ang="0">
                <a:pos x="T12" y="T13"/>
              </a:cxn>
            </a:cxnLst>
            <a:rect l="0" t="0" r="r" b="b"/>
            <a:pathLst>
              <a:path w="55" h="78">
                <a:moveTo>
                  <a:pt x="47" y="2"/>
                </a:moveTo>
                <a:cubicBezTo>
                  <a:pt x="1" y="71"/>
                  <a:pt x="1" y="71"/>
                  <a:pt x="1" y="71"/>
                </a:cubicBezTo>
                <a:cubicBezTo>
                  <a:pt x="0" y="73"/>
                  <a:pt x="1" y="75"/>
                  <a:pt x="2" y="76"/>
                </a:cubicBezTo>
                <a:cubicBezTo>
                  <a:pt x="4" y="78"/>
                  <a:pt x="7" y="77"/>
                  <a:pt x="8" y="75"/>
                </a:cubicBezTo>
                <a:cubicBezTo>
                  <a:pt x="53" y="7"/>
                  <a:pt x="53" y="7"/>
                  <a:pt x="53" y="7"/>
                </a:cubicBezTo>
                <a:cubicBezTo>
                  <a:pt x="55" y="5"/>
                  <a:pt x="54" y="2"/>
                  <a:pt x="52" y="1"/>
                </a:cubicBezTo>
                <a:cubicBezTo>
                  <a:pt x="50" y="0"/>
                  <a:pt x="48" y="0"/>
                  <a:pt x="47" y="2"/>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0" name="Freeform 42">
            <a:extLst>
              <a:ext uri="{FF2B5EF4-FFF2-40B4-BE49-F238E27FC236}">
                <a16:creationId xmlns:a16="http://schemas.microsoft.com/office/drawing/2014/main" id="{E13A57FB-5430-4F4D-9262-E6A55FC02746}"/>
              </a:ext>
            </a:extLst>
          </p:cNvPr>
          <p:cNvSpPr>
            <a:spLocks/>
          </p:cNvSpPr>
          <p:nvPr/>
        </p:nvSpPr>
        <p:spPr bwMode="auto">
          <a:xfrm>
            <a:off x="8681428" y="4100257"/>
            <a:ext cx="66808" cy="101225"/>
          </a:xfrm>
          <a:custGeom>
            <a:avLst/>
            <a:gdLst>
              <a:gd name="T0" fmla="*/ 24 w 28"/>
              <a:gd name="T1" fmla="*/ 28 h 42"/>
              <a:gd name="T2" fmla="*/ 20 w 28"/>
              <a:gd name="T3" fmla="*/ 28 h 42"/>
              <a:gd name="T4" fmla="*/ 14 w 28"/>
              <a:gd name="T5" fmla="*/ 34 h 42"/>
              <a:gd name="T6" fmla="*/ 8 w 28"/>
              <a:gd name="T7" fmla="*/ 28 h 42"/>
              <a:gd name="T8" fmla="*/ 8 w 28"/>
              <a:gd name="T9" fmla="*/ 14 h 42"/>
              <a:gd name="T10" fmla="*/ 14 w 28"/>
              <a:gd name="T11" fmla="*/ 8 h 42"/>
              <a:gd name="T12" fmla="*/ 20 w 28"/>
              <a:gd name="T13" fmla="*/ 14 h 42"/>
              <a:gd name="T14" fmla="*/ 20 w 28"/>
              <a:gd name="T15" fmla="*/ 28 h 42"/>
              <a:gd name="T16" fmla="*/ 24 w 28"/>
              <a:gd name="T17" fmla="*/ 28 h 42"/>
              <a:gd name="T18" fmla="*/ 28 w 28"/>
              <a:gd name="T19" fmla="*/ 28 h 42"/>
              <a:gd name="T20" fmla="*/ 28 w 28"/>
              <a:gd name="T21" fmla="*/ 14 h 42"/>
              <a:gd name="T22" fmla="*/ 14 w 28"/>
              <a:gd name="T23" fmla="*/ 0 h 42"/>
              <a:gd name="T24" fmla="*/ 0 w 28"/>
              <a:gd name="T25" fmla="*/ 14 h 42"/>
              <a:gd name="T26" fmla="*/ 0 w 28"/>
              <a:gd name="T27" fmla="*/ 28 h 42"/>
              <a:gd name="T28" fmla="*/ 14 w 28"/>
              <a:gd name="T29" fmla="*/ 42 h 42"/>
              <a:gd name="T30" fmla="*/ 28 w 28"/>
              <a:gd name="T31" fmla="*/ 28 h 42"/>
              <a:gd name="T32" fmla="*/ 24 w 28"/>
              <a:gd name="T33"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2">
                <a:moveTo>
                  <a:pt x="24" y="28"/>
                </a:moveTo>
                <a:cubicBezTo>
                  <a:pt x="20" y="28"/>
                  <a:pt x="20" y="28"/>
                  <a:pt x="20" y="28"/>
                </a:cubicBezTo>
                <a:cubicBezTo>
                  <a:pt x="20" y="31"/>
                  <a:pt x="17" y="34"/>
                  <a:pt x="14" y="34"/>
                </a:cubicBezTo>
                <a:cubicBezTo>
                  <a:pt x="10" y="34"/>
                  <a:pt x="8" y="31"/>
                  <a:pt x="8" y="28"/>
                </a:cubicBezTo>
                <a:cubicBezTo>
                  <a:pt x="8" y="14"/>
                  <a:pt x="8" y="14"/>
                  <a:pt x="8" y="14"/>
                </a:cubicBezTo>
                <a:cubicBezTo>
                  <a:pt x="8" y="11"/>
                  <a:pt x="10" y="8"/>
                  <a:pt x="14" y="8"/>
                </a:cubicBezTo>
                <a:cubicBezTo>
                  <a:pt x="17" y="8"/>
                  <a:pt x="20" y="11"/>
                  <a:pt x="20" y="14"/>
                </a:cubicBezTo>
                <a:cubicBezTo>
                  <a:pt x="20" y="28"/>
                  <a:pt x="20" y="28"/>
                  <a:pt x="20" y="28"/>
                </a:cubicBezTo>
                <a:cubicBezTo>
                  <a:pt x="24" y="28"/>
                  <a:pt x="24" y="28"/>
                  <a:pt x="24" y="28"/>
                </a:cubicBezTo>
                <a:cubicBezTo>
                  <a:pt x="28" y="28"/>
                  <a:pt x="28" y="28"/>
                  <a:pt x="28" y="28"/>
                </a:cubicBezTo>
                <a:cubicBezTo>
                  <a:pt x="28" y="14"/>
                  <a:pt x="28" y="14"/>
                  <a:pt x="28" y="14"/>
                </a:cubicBezTo>
                <a:cubicBezTo>
                  <a:pt x="28" y="7"/>
                  <a:pt x="21" y="0"/>
                  <a:pt x="14" y="0"/>
                </a:cubicBezTo>
                <a:cubicBezTo>
                  <a:pt x="6" y="0"/>
                  <a:pt x="0" y="7"/>
                  <a:pt x="0" y="14"/>
                </a:cubicBezTo>
                <a:cubicBezTo>
                  <a:pt x="0" y="28"/>
                  <a:pt x="0" y="28"/>
                  <a:pt x="0" y="28"/>
                </a:cubicBezTo>
                <a:cubicBezTo>
                  <a:pt x="0" y="35"/>
                  <a:pt x="6" y="42"/>
                  <a:pt x="14" y="42"/>
                </a:cubicBezTo>
                <a:cubicBezTo>
                  <a:pt x="21" y="42"/>
                  <a:pt x="28" y="35"/>
                  <a:pt x="28" y="28"/>
                </a:cubicBezTo>
                <a:lnTo>
                  <a:pt x="24" y="2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43">
            <a:extLst>
              <a:ext uri="{FF2B5EF4-FFF2-40B4-BE49-F238E27FC236}">
                <a16:creationId xmlns:a16="http://schemas.microsoft.com/office/drawing/2014/main" id="{6FD50FCB-B2A2-4702-B7E9-27779A07C1F5}"/>
              </a:ext>
            </a:extLst>
          </p:cNvPr>
          <p:cNvSpPr>
            <a:spLocks/>
          </p:cNvSpPr>
          <p:nvPr/>
        </p:nvSpPr>
        <p:spPr bwMode="auto">
          <a:xfrm>
            <a:off x="8779616" y="4182249"/>
            <a:ext cx="67820" cy="98188"/>
          </a:xfrm>
          <a:custGeom>
            <a:avLst/>
            <a:gdLst>
              <a:gd name="T0" fmla="*/ 24 w 28"/>
              <a:gd name="T1" fmla="*/ 27 h 41"/>
              <a:gd name="T2" fmla="*/ 20 w 28"/>
              <a:gd name="T3" fmla="*/ 27 h 41"/>
              <a:gd name="T4" fmla="*/ 14 w 28"/>
              <a:gd name="T5" fmla="*/ 33 h 41"/>
              <a:gd name="T6" fmla="*/ 8 w 28"/>
              <a:gd name="T7" fmla="*/ 27 h 41"/>
              <a:gd name="T8" fmla="*/ 8 w 28"/>
              <a:gd name="T9" fmla="*/ 14 h 41"/>
              <a:gd name="T10" fmla="*/ 14 w 28"/>
              <a:gd name="T11" fmla="*/ 8 h 41"/>
              <a:gd name="T12" fmla="*/ 20 w 28"/>
              <a:gd name="T13" fmla="*/ 14 h 41"/>
              <a:gd name="T14" fmla="*/ 20 w 28"/>
              <a:gd name="T15" fmla="*/ 27 h 41"/>
              <a:gd name="T16" fmla="*/ 24 w 28"/>
              <a:gd name="T17" fmla="*/ 27 h 41"/>
              <a:gd name="T18" fmla="*/ 28 w 28"/>
              <a:gd name="T19" fmla="*/ 27 h 41"/>
              <a:gd name="T20" fmla="*/ 28 w 28"/>
              <a:gd name="T21" fmla="*/ 14 h 41"/>
              <a:gd name="T22" fmla="*/ 14 w 28"/>
              <a:gd name="T23" fmla="*/ 0 h 41"/>
              <a:gd name="T24" fmla="*/ 0 w 28"/>
              <a:gd name="T25" fmla="*/ 14 h 41"/>
              <a:gd name="T26" fmla="*/ 0 w 28"/>
              <a:gd name="T27" fmla="*/ 27 h 41"/>
              <a:gd name="T28" fmla="*/ 14 w 28"/>
              <a:gd name="T29" fmla="*/ 41 h 41"/>
              <a:gd name="T30" fmla="*/ 28 w 28"/>
              <a:gd name="T31" fmla="*/ 27 h 41"/>
              <a:gd name="T32" fmla="*/ 24 w 28"/>
              <a:gd name="T33"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1">
                <a:moveTo>
                  <a:pt x="24" y="27"/>
                </a:moveTo>
                <a:cubicBezTo>
                  <a:pt x="20" y="27"/>
                  <a:pt x="20" y="27"/>
                  <a:pt x="20" y="27"/>
                </a:cubicBezTo>
                <a:cubicBezTo>
                  <a:pt x="20" y="31"/>
                  <a:pt x="17" y="33"/>
                  <a:pt x="14" y="33"/>
                </a:cubicBezTo>
                <a:cubicBezTo>
                  <a:pt x="11" y="33"/>
                  <a:pt x="8" y="31"/>
                  <a:pt x="8" y="27"/>
                </a:cubicBezTo>
                <a:cubicBezTo>
                  <a:pt x="8" y="14"/>
                  <a:pt x="8" y="14"/>
                  <a:pt x="8" y="14"/>
                </a:cubicBezTo>
                <a:cubicBezTo>
                  <a:pt x="8" y="11"/>
                  <a:pt x="11" y="8"/>
                  <a:pt x="14" y="8"/>
                </a:cubicBezTo>
                <a:cubicBezTo>
                  <a:pt x="17" y="8"/>
                  <a:pt x="20" y="11"/>
                  <a:pt x="20" y="14"/>
                </a:cubicBezTo>
                <a:cubicBezTo>
                  <a:pt x="20" y="27"/>
                  <a:pt x="20" y="27"/>
                  <a:pt x="20" y="27"/>
                </a:cubicBezTo>
                <a:cubicBezTo>
                  <a:pt x="24" y="27"/>
                  <a:pt x="24" y="27"/>
                  <a:pt x="24" y="27"/>
                </a:cubicBezTo>
                <a:cubicBezTo>
                  <a:pt x="28" y="27"/>
                  <a:pt x="28" y="27"/>
                  <a:pt x="28" y="27"/>
                </a:cubicBezTo>
                <a:cubicBezTo>
                  <a:pt x="28" y="14"/>
                  <a:pt x="28" y="14"/>
                  <a:pt x="28" y="14"/>
                </a:cubicBezTo>
                <a:cubicBezTo>
                  <a:pt x="28" y="6"/>
                  <a:pt x="22" y="0"/>
                  <a:pt x="14" y="0"/>
                </a:cubicBezTo>
                <a:cubicBezTo>
                  <a:pt x="6" y="0"/>
                  <a:pt x="0" y="6"/>
                  <a:pt x="0" y="14"/>
                </a:cubicBezTo>
                <a:cubicBezTo>
                  <a:pt x="0" y="27"/>
                  <a:pt x="0" y="27"/>
                  <a:pt x="0" y="27"/>
                </a:cubicBezTo>
                <a:cubicBezTo>
                  <a:pt x="0" y="35"/>
                  <a:pt x="6" y="41"/>
                  <a:pt x="14" y="41"/>
                </a:cubicBezTo>
                <a:cubicBezTo>
                  <a:pt x="22" y="41"/>
                  <a:pt x="28" y="35"/>
                  <a:pt x="28" y="27"/>
                </a:cubicBezTo>
                <a:lnTo>
                  <a:pt x="24" y="2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2" name="Freeform 44">
            <a:extLst>
              <a:ext uri="{FF2B5EF4-FFF2-40B4-BE49-F238E27FC236}">
                <a16:creationId xmlns:a16="http://schemas.microsoft.com/office/drawing/2014/main" id="{87351DCE-DCEF-4F6E-8E3E-0AA07C951286}"/>
              </a:ext>
            </a:extLst>
          </p:cNvPr>
          <p:cNvSpPr>
            <a:spLocks noEditPoints="1"/>
          </p:cNvSpPr>
          <p:nvPr/>
        </p:nvSpPr>
        <p:spPr bwMode="auto">
          <a:xfrm>
            <a:off x="6832055" y="2339962"/>
            <a:ext cx="69845" cy="68833"/>
          </a:xfrm>
          <a:custGeom>
            <a:avLst/>
            <a:gdLst>
              <a:gd name="T0" fmla="*/ 15 w 29"/>
              <a:gd name="T1" fmla="*/ 29 h 29"/>
              <a:gd name="T2" fmla="*/ 0 w 29"/>
              <a:gd name="T3" fmla="*/ 14 h 29"/>
              <a:gd name="T4" fmla="*/ 15 w 29"/>
              <a:gd name="T5" fmla="*/ 0 h 29"/>
              <a:gd name="T6" fmla="*/ 29 w 29"/>
              <a:gd name="T7" fmla="*/ 14 h 29"/>
              <a:gd name="T8" fmla="*/ 15 w 29"/>
              <a:gd name="T9" fmla="*/ 29 h 29"/>
              <a:gd name="T10" fmla="*/ 15 w 29"/>
              <a:gd name="T11" fmla="*/ 5 h 29"/>
              <a:gd name="T12" fmla="*/ 5 w 29"/>
              <a:gd name="T13" fmla="*/ 14 h 29"/>
              <a:gd name="T14" fmla="*/ 15 w 29"/>
              <a:gd name="T15" fmla="*/ 24 h 29"/>
              <a:gd name="T16" fmla="*/ 24 w 29"/>
              <a:gd name="T17" fmla="*/ 14 h 29"/>
              <a:gd name="T18" fmla="*/ 15 w 29"/>
              <a:gd name="T1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9"/>
                </a:moveTo>
                <a:cubicBezTo>
                  <a:pt x="7" y="29"/>
                  <a:pt x="0" y="22"/>
                  <a:pt x="0" y="14"/>
                </a:cubicBezTo>
                <a:cubicBezTo>
                  <a:pt x="0" y="7"/>
                  <a:pt x="7" y="0"/>
                  <a:pt x="15" y="0"/>
                </a:cubicBezTo>
                <a:cubicBezTo>
                  <a:pt x="22" y="0"/>
                  <a:pt x="29" y="7"/>
                  <a:pt x="29" y="14"/>
                </a:cubicBezTo>
                <a:cubicBezTo>
                  <a:pt x="29" y="22"/>
                  <a:pt x="22" y="29"/>
                  <a:pt x="15" y="29"/>
                </a:cubicBezTo>
                <a:close/>
                <a:moveTo>
                  <a:pt x="15" y="5"/>
                </a:moveTo>
                <a:cubicBezTo>
                  <a:pt x="9" y="5"/>
                  <a:pt x="5" y="9"/>
                  <a:pt x="5" y="14"/>
                </a:cubicBezTo>
                <a:cubicBezTo>
                  <a:pt x="5" y="20"/>
                  <a:pt x="9" y="24"/>
                  <a:pt x="15" y="24"/>
                </a:cubicBezTo>
                <a:cubicBezTo>
                  <a:pt x="20" y="24"/>
                  <a:pt x="24" y="20"/>
                  <a:pt x="24" y="14"/>
                </a:cubicBezTo>
                <a:cubicBezTo>
                  <a:pt x="24" y="9"/>
                  <a:pt x="20" y="5"/>
                  <a:pt x="15" y="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3" name="Freeform 45">
            <a:extLst>
              <a:ext uri="{FF2B5EF4-FFF2-40B4-BE49-F238E27FC236}">
                <a16:creationId xmlns:a16="http://schemas.microsoft.com/office/drawing/2014/main" id="{69AA655C-3DA3-4E54-B98A-33555F63ECED}"/>
              </a:ext>
            </a:extLst>
          </p:cNvPr>
          <p:cNvSpPr>
            <a:spLocks/>
          </p:cNvSpPr>
          <p:nvPr/>
        </p:nvSpPr>
        <p:spPr bwMode="auto">
          <a:xfrm>
            <a:off x="7129655" y="3615392"/>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7"/>
                  <a:pt x="8" y="45"/>
                </a:cubicBezTo>
                <a:cubicBezTo>
                  <a:pt x="0" y="32"/>
                  <a:pt x="3" y="16"/>
                  <a:pt x="16" y="8"/>
                </a:cubicBezTo>
                <a:cubicBezTo>
                  <a:pt x="28" y="0"/>
                  <a:pt x="45" y="3"/>
                  <a:pt x="53" y="16"/>
                </a:cubicBezTo>
                <a:cubicBezTo>
                  <a:pt x="61" y="28"/>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46">
            <a:extLst>
              <a:ext uri="{FF2B5EF4-FFF2-40B4-BE49-F238E27FC236}">
                <a16:creationId xmlns:a16="http://schemas.microsoft.com/office/drawing/2014/main" id="{82F26EA6-B6B4-4EE9-9E75-2B35665D30B7}"/>
              </a:ext>
            </a:extLst>
          </p:cNvPr>
          <p:cNvSpPr>
            <a:spLocks/>
          </p:cNvSpPr>
          <p:nvPr/>
        </p:nvSpPr>
        <p:spPr bwMode="auto">
          <a:xfrm>
            <a:off x="7127630" y="3612355"/>
            <a:ext cx="148800" cy="149812"/>
          </a:xfrm>
          <a:custGeom>
            <a:avLst/>
            <a:gdLst>
              <a:gd name="T0" fmla="*/ 46 w 62"/>
              <a:gd name="T1" fmla="*/ 54 h 62"/>
              <a:gd name="T2" fmla="*/ 44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1 h 62"/>
              <a:gd name="T20" fmla="*/ 46 w 62"/>
              <a:gd name="T21" fmla="*/ 54 h 62"/>
              <a:gd name="T22" fmla="*/ 48 w 62"/>
              <a:gd name="T23" fmla="*/ 57 h 62"/>
              <a:gd name="T24" fmla="*/ 62 w 62"/>
              <a:gd name="T25" fmla="*/ 31 h 62"/>
              <a:gd name="T26" fmla="*/ 57 w 62"/>
              <a:gd name="T27" fmla="*/ 15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1"/>
                  <a:pt x="44" y="51"/>
                  <a:pt x="44" y="51"/>
                </a:cubicBezTo>
                <a:cubicBezTo>
                  <a:pt x="40" y="53"/>
                  <a:pt x="36" y="54"/>
                  <a:pt x="31" y="54"/>
                </a:cubicBezTo>
                <a:cubicBezTo>
                  <a:pt x="24" y="54"/>
                  <a:pt x="16" y="50"/>
                  <a:pt x="12" y="44"/>
                </a:cubicBezTo>
                <a:cubicBezTo>
                  <a:pt x="10" y="40"/>
                  <a:pt x="8" y="35"/>
                  <a:pt x="8" y="31"/>
                </a:cubicBezTo>
                <a:cubicBezTo>
                  <a:pt x="8" y="24"/>
                  <a:pt x="12" y="16"/>
                  <a:pt x="19" y="12"/>
                </a:cubicBezTo>
                <a:cubicBezTo>
                  <a:pt x="23" y="10"/>
                  <a:pt x="27" y="8"/>
                  <a:pt x="31" y="8"/>
                </a:cubicBezTo>
                <a:cubicBezTo>
                  <a:pt x="39" y="8"/>
                  <a:pt x="46" y="12"/>
                  <a:pt x="51" y="19"/>
                </a:cubicBezTo>
                <a:cubicBezTo>
                  <a:pt x="53" y="23"/>
                  <a:pt x="54" y="27"/>
                  <a:pt x="54" y="31"/>
                </a:cubicBezTo>
                <a:cubicBezTo>
                  <a:pt x="54" y="39"/>
                  <a:pt x="50" y="46"/>
                  <a:pt x="44" y="51"/>
                </a:cubicBezTo>
                <a:cubicBezTo>
                  <a:pt x="46" y="54"/>
                  <a:pt x="46" y="54"/>
                  <a:pt x="46" y="54"/>
                </a:cubicBezTo>
                <a:cubicBezTo>
                  <a:pt x="48" y="57"/>
                  <a:pt x="48" y="57"/>
                  <a:pt x="48" y="57"/>
                </a:cubicBezTo>
                <a:cubicBezTo>
                  <a:pt x="57" y="51"/>
                  <a:pt x="62" y="41"/>
                  <a:pt x="62" y="31"/>
                </a:cubicBezTo>
                <a:cubicBezTo>
                  <a:pt x="62" y="26"/>
                  <a:pt x="61" y="20"/>
                  <a:pt x="57" y="15"/>
                </a:cubicBezTo>
                <a:cubicBezTo>
                  <a:pt x="51" y="5"/>
                  <a:pt x="41" y="0"/>
                  <a:pt x="31" y="0"/>
                </a:cubicBezTo>
                <a:cubicBezTo>
                  <a:pt x="26" y="0"/>
                  <a:pt x="20" y="2"/>
                  <a:pt x="15" y="5"/>
                </a:cubicBezTo>
                <a:cubicBezTo>
                  <a:pt x="6" y="11"/>
                  <a:pt x="0" y="21"/>
                  <a:pt x="0" y="31"/>
                </a:cubicBezTo>
                <a:cubicBezTo>
                  <a:pt x="0" y="37"/>
                  <a:pt x="2" y="43"/>
                  <a:pt x="5" y="48"/>
                </a:cubicBezTo>
                <a:cubicBezTo>
                  <a:pt x="11" y="57"/>
                  <a:pt x="21" y="62"/>
                  <a:pt x="31" y="62"/>
                </a:cubicBezTo>
                <a:cubicBezTo>
                  <a:pt x="37" y="62"/>
                  <a:pt x="43" y="61"/>
                  <a:pt x="48" y="57"/>
                </a:cubicBezTo>
                <a:lnTo>
                  <a:pt x="46"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8BBFDA97-AE45-441A-8C61-EB23C907BFAE}"/>
              </a:ext>
            </a:extLst>
          </p:cNvPr>
          <p:cNvSpPr>
            <a:spLocks/>
          </p:cNvSpPr>
          <p:nvPr/>
        </p:nvSpPr>
        <p:spPr bwMode="auto">
          <a:xfrm>
            <a:off x="8131778" y="2788387"/>
            <a:ext cx="1575055" cy="771331"/>
          </a:xfrm>
          <a:custGeom>
            <a:avLst/>
            <a:gdLst>
              <a:gd name="T0" fmla="*/ 645 w 656"/>
              <a:gd name="T1" fmla="*/ 2 h 321"/>
              <a:gd name="T2" fmla="*/ 554 w 656"/>
              <a:gd name="T3" fmla="*/ 97 h 321"/>
              <a:gd name="T4" fmla="*/ 355 w 656"/>
              <a:gd name="T5" fmla="*/ 118 h 321"/>
              <a:gd name="T6" fmla="*/ 351 w 656"/>
              <a:gd name="T7" fmla="*/ 120 h 321"/>
              <a:gd name="T8" fmla="*/ 230 w 656"/>
              <a:gd name="T9" fmla="*/ 270 h 321"/>
              <a:gd name="T10" fmla="*/ 6 w 656"/>
              <a:gd name="T11" fmla="*/ 308 h 321"/>
              <a:gd name="T12" fmla="*/ 1 w 656"/>
              <a:gd name="T13" fmla="*/ 315 h 321"/>
              <a:gd name="T14" fmla="*/ 8 w 656"/>
              <a:gd name="T15" fmla="*/ 320 h 321"/>
              <a:gd name="T16" fmla="*/ 235 w 656"/>
              <a:gd name="T17" fmla="*/ 281 h 321"/>
              <a:gd name="T18" fmla="*/ 238 w 656"/>
              <a:gd name="T19" fmla="*/ 279 h 321"/>
              <a:gd name="T20" fmla="*/ 359 w 656"/>
              <a:gd name="T21" fmla="*/ 130 h 321"/>
              <a:gd name="T22" fmla="*/ 557 w 656"/>
              <a:gd name="T23" fmla="*/ 108 h 321"/>
              <a:gd name="T24" fmla="*/ 561 w 656"/>
              <a:gd name="T25" fmla="*/ 106 h 321"/>
              <a:gd name="T26" fmla="*/ 654 w 656"/>
              <a:gd name="T27" fmla="*/ 11 h 321"/>
              <a:gd name="T28" fmla="*/ 653 w 656"/>
              <a:gd name="T29" fmla="*/ 2 h 321"/>
              <a:gd name="T30" fmla="*/ 645 w 656"/>
              <a:gd name="T31"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6" h="321">
                <a:moveTo>
                  <a:pt x="645" y="2"/>
                </a:moveTo>
                <a:cubicBezTo>
                  <a:pt x="554" y="97"/>
                  <a:pt x="554" y="97"/>
                  <a:pt x="554" y="97"/>
                </a:cubicBezTo>
                <a:cubicBezTo>
                  <a:pt x="355" y="118"/>
                  <a:pt x="355" y="118"/>
                  <a:pt x="355" y="118"/>
                </a:cubicBezTo>
                <a:cubicBezTo>
                  <a:pt x="354" y="118"/>
                  <a:pt x="352" y="119"/>
                  <a:pt x="351" y="120"/>
                </a:cubicBezTo>
                <a:cubicBezTo>
                  <a:pt x="230" y="270"/>
                  <a:pt x="230" y="270"/>
                  <a:pt x="230" y="270"/>
                </a:cubicBezTo>
                <a:cubicBezTo>
                  <a:pt x="6" y="308"/>
                  <a:pt x="6" y="308"/>
                  <a:pt x="6" y="308"/>
                </a:cubicBezTo>
                <a:cubicBezTo>
                  <a:pt x="3" y="309"/>
                  <a:pt x="0" y="312"/>
                  <a:pt x="1" y="315"/>
                </a:cubicBezTo>
                <a:cubicBezTo>
                  <a:pt x="2" y="318"/>
                  <a:pt x="5" y="321"/>
                  <a:pt x="8" y="320"/>
                </a:cubicBezTo>
                <a:cubicBezTo>
                  <a:pt x="235" y="281"/>
                  <a:pt x="235" y="281"/>
                  <a:pt x="235" y="281"/>
                </a:cubicBezTo>
                <a:cubicBezTo>
                  <a:pt x="236" y="281"/>
                  <a:pt x="237" y="280"/>
                  <a:pt x="238" y="279"/>
                </a:cubicBezTo>
                <a:cubicBezTo>
                  <a:pt x="359" y="130"/>
                  <a:pt x="359" y="130"/>
                  <a:pt x="359" y="130"/>
                </a:cubicBezTo>
                <a:cubicBezTo>
                  <a:pt x="557" y="108"/>
                  <a:pt x="557" y="108"/>
                  <a:pt x="557" y="108"/>
                </a:cubicBezTo>
                <a:cubicBezTo>
                  <a:pt x="559" y="108"/>
                  <a:pt x="560" y="107"/>
                  <a:pt x="561" y="106"/>
                </a:cubicBezTo>
                <a:cubicBezTo>
                  <a:pt x="654" y="11"/>
                  <a:pt x="654" y="11"/>
                  <a:pt x="654" y="11"/>
                </a:cubicBezTo>
                <a:cubicBezTo>
                  <a:pt x="656" y="8"/>
                  <a:pt x="656" y="5"/>
                  <a:pt x="653" y="2"/>
                </a:cubicBezTo>
                <a:cubicBezTo>
                  <a:pt x="651" y="0"/>
                  <a:pt x="647" y="0"/>
                  <a:pt x="645" y="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79AD60B0-D39A-48E8-B502-F68C69FD52D7}"/>
              </a:ext>
            </a:extLst>
          </p:cNvPr>
          <p:cNvSpPr>
            <a:spLocks/>
          </p:cNvSpPr>
          <p:nvPr/>
        </p:nvSpPr>
        <p:spPr bwMode="auto">
          <a:xfrm>
            <a:off x="8635877" y="3423065"/>
            <a:ext cx="81992" cy="81992"/>
          </a:xfrm>
          <a:custGeom>
            <a:avLst/>
            <a:gdLst>
              <a:gd name="T0" fmla="*/ 25 w 34"/>
              <a:gd name="T1" fmla="*/ 29 h 34"/>
              <a:gd name="T2" fmla="*/ 4 w 34"/>
              <a:gd name="T3" fmla="*/ 25 h 34"/>
              <a:gd name="T4" fmla="*/ 9 w 34"/>
              <a:gd name="T5" fmla="*/ 4 h 34"/>
              <a:gd name="T6" fmla="*/ 29 w 34"/>
              <a:gd name="T7" fmla="*/ 9 h 34"/>
              <a:gd name="T8" fmla="*/ 25 w 34"/>
              <a:gd name="T9" fmla="*/ 29 h 34"/>
            </a:gdLst>
            <a:ahLst/>
            <a:cxnLst>
              <a:cxn ang="0">
                <a:pos x="T0" y="T1"/>
              </a:cxn>
              <a:cxn ang="0">
                <a:pos x="T2" y="T3"/>
              </a:cxn>
              <a:cxn ang="0">
                <a:pos x="T4" y="T5"/>
              </a:cxn>
              <a:cxn ang="0">
                <a:pos x="T6" y="T7"/>
              </a:cxn>
              <a:cxn ang="0">
                <a:pos x="T8" y="T9"/>
              </a:cxn>
            </a:cxnLst>
            <a:rect l="0" t="0" r="r" b="b"/>
            <a:pathLst>
              <a:path w="34" h="34">
                <a:moveTo>
                  <a:pt x="25" y="29"/>
                </a:moveTo>
                <a:cubicBezTo>
                  <a:pt x="18" y="34"/>
                  <a:pt x="8" y="32"/>
                  <a:pt x="4" y="25"/>
                </a:cubicBezTo>
                <a:cubicBezTo>
                  <a:pt x="0" y="18"/>
                  <a:pt x="2" y="9"/>
                  <a:pt x="9" y="4"/>
                </a:cubicBezTo>
                <a:cubicBezTo>
                  <a:pt x="16" y="0"/>
                  <a:pt x="25" y="2"/>
                  <a:pt x="29" y="9"/>
                </a:cubicBezTo>
                <a:cubicBezTo>
                  <a:pt x="34" y="16"/>
                  <a:pt x="31" y="25"/>
                  <a:pt x="25"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83F2EC32-D75C-4F48-9BF1-F3EDC2F35AE7}"/>
              </a:ext>
            </a:extLst>
          </p:cNvPr>
          <p:cNvSpPr>
            <a:spLocks/>
          </p:cNvSpPr>
          <p:nvPr/>
        </p:nvSpPr>
        <p:spPr bwMode="auto">
          <a:xfrm>
            <a:off x="8630816" y="3418004"/>
            <a:ext cx="89078" cy="91102"/>
          </a:xfrm>
          <a:custGeom>
            <a:avLst/>
            <a:gdLst>
              <a:gd name="T0" fmla="*/ 27 w 37"/>
              <a:gd name="T1" fmla="*/ 31 h 38"/>
              <a:gd name="T2" fmla="*/ 24 w 37"/>
              <a:gd name="T3" fmla="*/ 28 h 38"/>
              <a:gd name="T4" fmla="*/ 19 w 37"/>
              <a:gd name="T5" fmla="*/ 30 h 38"/>
              <a:gd name="T6" fmla="*/ 9 w 37"/>
              <a:gd name="T7" fmla="*/ 25 h 38"/>
              <a:gd name="T8" fmla="*/ 8 w 37"/>
              <a:gd name="T9" fmla="*/ 19 h 38"/>
              <a:gd name="T10" fmla="*/ 13 w 37"/>
              <a:gd name="T11" fmla="*/ 10 h 38"/>
              <a:gd name="T12" fmla="*/ 19 w 37"/>
              <a:gd name="T13" fmla="*/ 8 h 38"/>
              <a:gd name="T14" fmla="*/ 28 w 37"/>
              <a:gd name="T15" fmla="*/ 13 h 38"/>
              <a:gd name="T16" fmla="*/ 29 w 37"/>
              <a:gd name="T17" fmla="*/ 19 h 38"/>
              <a:gd name="T18" fmla="*/ 24 w 37"/>
              <a:gd name="T19" fmla="*/ 28 h 38"/>
              <a:gd name="T20" fmla="*/ 27 w 37"/>
              <a:gd name="T21" fmla="*/ 31 h 38"/>
              <a:gd name="T22" fmla="*/ 29 w 37"/>
              <a:gd name="T23" fmla="*/ 35 h 38"/>
              <a:gd name="T24" fmla="*/ 37 w 37"/>
              <a:gd name="T25" fmla="*/ 19 h 38"/>
              <a:gd name="T26" fmla="*/ 34 w 37"/>
              <a:gd name="T27" fmla="*/ 9 h 38"/>
              <a:gd name="T28" fmla="*/ 19 w 37"/>
              <a:gd name="T29" fmla="*/ 0 h 38"/>
              <a:gd name="T30" fmla="*/ 8 w 37"/>
              <a:gd name="T31" fmla="*/ 3 h 38"/>
              <a:gd name="T32" fmla="*/ 0 w 37"/>
              <a:gd name="T33" fmla="*/ 19 h 38"/>
              <a:gd name="T34" fmla="*/ 3 w 37"/>
              <a:gd name="T35" fmla="*/ 29 h 38"/>
              <a:gd name="T36" fmla="*/ 19 w 37"/>
              <a:gd name="T37" fmla="*/ 38 h 38"/>
              <a:gd name="T38" fmla="*/ 29 w 37"/>
              <a:gd name="T39" fmla="*/ 35 h 38"/>
              <a:gd name="T40" fmla="*/ 27 w 37"/>
              <a:gd name="T4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38">
                <a:moveTo>
                  <a:pt x="27" y="31"/>
                </a:moveTo>
                <a:cubicBezTo>
                  <a:pt x="24" y="28"/>
                  <a:pt x="24" y="28"/>
                  <a:pt x="24" y="28"/>
                </a:cubicBezTo>
                <a:cubicBezTo>
                  <a:pt x="23" y="29"/>
                  <a:pt x="21" y="30"/>
                  <a:pt x="19" y="30"/>
                </a:cubicBezTo>
                <a:cubicBezTo>
                  <a:pt x="15" y="30"/>
                  <a:pt x="11" y="28"/>
                  <a:pt x="9" y="25"/>
                </a:cubicBezTo>
                <a:cubicBezTo>
                  <a:pt x="8" y="23"/>
                  <a:pt x="8" y="21"/>
                  <a:pt x="8" y="19"/>
                </a:cubicBezTo>
                <a:cubicBezTo>
                  <a:pt x="8" y="15"/>
                  <a:pt x="9" y="12"/>
                  <a:pt x="13" y="10"/>
                </a:cubicBezTo>
                <a:cubicBezTo>
                  <a:pt x="15" y="8"/>
                  <a:pt x="17" y="8"/>
                  <a:pt x="19" y="8"/>
                </a:cubicBezTo>
                <a:cubicBezTo>
                  <a:pt x="22" y="8"/>
                  <a:pt x="26" y="10"/>
                  <a:pt x="28" y="13"/>
                </a:cubicBezTo>
                <a:cubicBezTo>
                  <a:pt x="29" y="15"/>
                  <a:pt x="29" y="17"/>
                  <a:pt x="29" y="19"/>
                </a:cubicBezTo>
                <a:cubicBezTo>
                  <a:pt x="29" y="22"/>
                  <a:pt x="28" y="26"/>
                  <a:pt x="24" y="28"/>
                </a:cubicBezTo>
                <a:cubicBezTo>
                  <a:pt x="27" y="31"/>
                  <a:pt x="27" y="31"/>
                  <a:pt x="27" y="31"/>
                </a:cubicBezTo>
                <a:cubicBezTo>
                  <a:pt x="29" y="35"/>
                  <a:pt x="29" y="35"/>
                  <a:pt x="29" y="35"/>
                </a:cubicBezTo>
                <a:cubicBezTo>
                  <a:pt x="34" y="31"/>
                  <a:pt x="37" y="25"/>
                  <a:pt x="37" y="19"/>
                </a:cubicBezTo>
                <a:cubicBezTo>
                  <a:pt x="37" y="15"/>
                  <a:pt x="36" y="12"/>
                  <a:pt x="34" y="9"/>
                </a:cubicBezTo>
                <a:cubicBezTo>
                  <a:pt x="31" y="3"/>
                  <a:pt x="25" y="0"/>
                  <a:pt x="19" y="0"/>
                </a:cubicBezTo>
                <a:cubicBezTo>
                  <a:pt x="15" y="0"/>
                  <a:pt x="12" y="1"/>
                  <a:pt x="8" y="3"/>
                </a:cubicBezTo>
                <a:cubicBezTo>
                  <a:pt x="3" y="6"/>
                  <a:pt x="0" y="13"/>
                  <a:pt x="0" y="19"/>
                </a:cubicBezTo>
                <a:cubicBezTo>
                  <a:pt x="0" y="22"/>
                  <a:pt x="1" y="26"/>
                  <a:pt x="3" y="29"/>
                </a:cubicBezTo>
                <a:cubicBezTo>
                  <a:pt x="6" y="35"/>
                  <a:pt x="12" y="38"/>
                  <a:pt x="19" y="38"/>
                </a:cubicBezTo>
                <a:cubicBezTo>
                  <a:pt x="22" y="38"/>
                  <a:pt x="26" y="37"/>
                  <a:pt x="29" y="35"/>
                </a:cubicBezTo>
                <a:lnTo>
                  <a:pt x="27" y="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0AC3DE7F-80CB-4BC8-9DB1-C68B21A2FF66}"/>
              </a:ext>
            </a:extLst>
          </p:cNvPr>
          <p:cNvSpPr>
            <a:spLocks/>
          </p:cNvSpPr>
          <p:nvPr/>
        </p:nvSpPr>
        <p:spPr bwMode="auto">
          <a:xfrm>
            <a:off x="10586475" y="2586950"/>
            <a:ext cx="148800" cy="148800"/>
          </a:xfrm>
          <a:custGeom>
            <a:avLst/>
            <a:gdLst>
              <a:gd name="T0" fmla="*/ 45 w 62"/>
              <a:gd name="T1" fmla="*/ 54 h 62"/>
              <a:gd name="T2" fmla="*/ 8 w 62"/>
              <a:gd name="T3" fmla="*/ 45 h 62"/>
              <a:gd name="T4" fmla="*/ 16 w 62"/>
              <a:gd name="T5" fmla="*/ 8 h 62"/>
              <a:gd name="T6" fmla="*/ 54 w 62"/>
              <a:gd name="T7" fmla="*/ 17 h 62"/>
              <a:gd name="T8" fmla="*/ 45 w 62"/>
              <a:gd name="T9" fmla="*/ 54 h 62"/>
            </a:gdLst>
            <a:ahLst/>
            <a:cxnLst>
              <a:cxn ang="0">
                <a:pos x="T0" y="T1"/>
              </a:cxn>
              <a:cxn ang="0">
                <a:pos x="T2" y="T3"/>
              </a:cxn>
              <a:cxn ang="0">
                <a:pos x="T4" y="T5"/>
              </a:cxn>
              <a:cxn ang="0">
                <a:pos x="T6" y="T7"/>
              </a:cxn>
              <a:cxn ang="0">
                <a:pos x="T8" y="T9"/>
              </a:cxn>
            </a:cxnLst>
            <a:rect l="0" t="0" r="r" b="b"/>
            <a:pathLst>
              <a:path w="62" h="62">
                <a:moveTo>
                  <a:pt x="45" y="54"/>
                </a:moveTo>
                <a:cubicBezTo>
                  <a:pt x="33" y="62"/>
                  <a:pt x="16" y="58"/>
                  <a:pt x="8" y="45"/>
                </a:cubicBezTo>
                <a:cubicBezTo>
                  <a:pt x="0" y="33"/>
                  <a:pt x="4" y="16"/>
                  <a:pt x="16" y="8"/>
                </a:cubicBezTo>
                <a:cubicBezTo>
                  <a:pt x="29" y="0"/>
                  <a:pt x="46" y="4"/>
                  <a:pt x="54" y="17"/>
                </a:cubicBezTo>
                <a:cubicBezTo>
                  <a:pt x="62" y="29"/>
                  <a:pt x="58" y="46"/>
                  <a:pt x="45"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99740E23-B111-4E2C-ABB3-09491D102FA7}"/>
              </a:ext>
            </a:extLst>
          </p:cNvPr>
          <p:cNvSpPr>
            <a:spLocks/>
          </p:cNvSpPr>
          <p:nvPr/>
        </p:nvSpPr>
        <p:spPr bwMode="auto">
          <a:xfrm>
            <a:off x="10586475" y="2586950"/>
            <a:ext cx="148800" cy="148800"/>
          </a:xfrm>
          <a:custGeom>
            <a:avLst/>
            <a:gdLst>
              <a:gd name="T0" fmla="*/ 45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5 w 62"/>
              <a:gd name="T21" fmla="*/ 54 h 62"/>
              <a:gd name="T22" fmla="*/ 47 w 62"/>
              <a:gd name="T23" fmla="*/ 57 h 62"/>
              <a:gd name="T24" fmla="*/ 62 w 62"/>
              <a:gd name="T25" fmla="*/ 31 h 62"/>
              <a:gd name="T26" fmla="*/ 57 w 62"/>
              <a:gd name="T27" fmla="*/ 14 h 62"/>
              <a:gd name="T28" fmla="*/ 31 w 62"/>
              <a:gd name="T29" fmla="*/ 0 h 62"/>
              <a:gd name="T30" fmla="*/ 14 w 62"/>
              <a:gd name="T31" fmla="*/ 5 h 62"/>
              <a:gd name="T32" fmla="*/ 0 w 62"/>
              <a:gd name="T33" fmla="*/ 31 h 62"/>
              <a:gd name="T34" fmla="*/ 5 w 62"/>
              <a:gd name="T35" fmla="*/ 48 h 62"/>
              <a:gd name="T36" fmla="*/ 31 w 62"/>
              <a:gd name="T37" fmla="*/ 62 h 62"/>
              <a:gd name="T38" fmla="*/ 47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0"/>
                  <a:pt x="43" y="50"/>
                  <a:pt x="43" y="50"/>
                </a:cubicBezTo>
                <a:cubicBezTo>
                  <a:pt x="39" y="53"/>
                  <a:pt x="35" y="54"/>
                  <a:pt x="31" y="54"/>
                </a:cubicBezTo>
                <a:cubicBezTo>
                  <a:pt x="23" y="54"/>
                  <a:pt x="16" y="50"/>
                  <a:pt x="12" y="43"/>
                </a:cubicBezTo>
                <a:cubicBezTo>
                  <a:pt x="9" y="39"/>
                  <a:pt x="8" y="35"/>
                  <a:pt x="8" y="31"/>
                </a:cubicBezTo>
                <a:cubicBezTo>
                  <a:pt x="8" y="23"/>
                  <a:pt x="12" y="16"/>
                  <a:pt x="19" y="12"/>
                </a:cubicBezTo>
                <a:cubicBezTo>
                  <a:pt x="22" y="9"/>
                  <a:pt x="27" y="8"/>
                  <a:pt x="31" y="8"/>
                </a:cubicBezTo>
                <a:cubicBezTo>
                  <a:pt x="38" y="8"/>
                  <a:pt x="46" y="12"/>
                  <a:pt x="50" y="19"/>
                </a:cubicBezTo>
                <a:cubicBezTo>
                  <a:pt x="53" y="23"/>
                  <a:pt x="54" y="27"/>
                  <a:pt x="54" y="31"/>
                </a:cubicBezTo>
                <a:cubicBezTo>
                  <a:pt x="54" y="39"/>
                  <a:pt x="50" y="46"/>
                  <a:pt x="43" y="50"/>
                </a:cubicBezTo>
                <a:cubicBezTo>
                  <a:pt x="45" y="54"/>
                  <a:pt x="45" y="54"/>
                  <a:pt x="45" y="54"/>
                </a:cubicBezTo>
                <a:cubicBezTo>
                  <a:pt x="47" y="57"/>
                  <a:pt x="47" y="57"/>
                  <a:pt x="47" y="57"/>
                </a:cubicBezTo>
                <a:cubicBezTo>
                  <a:pt x="57" y="51"/>
                  <a:pt x="62" y="41"/>
                  <a:pt x="62" y="31"/>
                </a:cubicBezTo>
                <a:cubicBezTo>
                  <a:pt x="62" y="25"/>
                  <a:pt x="60" y="20"/>
                  <a:pt x="57" y="14"/>
                </a:cubicBezTo>
                <a:cubicBezTo>
                  <a:pt x="51" y="5"/>
                  <a:pt x="41" y="0"/>
                  <a:pt x="31" y="0"/>
                </a:cubicBezTo>
                <a:cubicBezTo>
                  <a:pt x="25" y="0"/>
                  <a:pt x="19" y="2"/>
                  <a:pt x="14" y="5"/>
                </a:cubicBezTo>
                <a:cubicBezTo>
                  <a:pt x="5" y="11"/>
                  <a:pt x="0" y="21"/>
                  <a:pt x="0" y="31"/>
                </a:cubicBezTo>
                <a:cubicBezTo>
                  <a:pt x="0" y="37"/>
                  <a:pt x="2" y="42"/>
                  <a:pt x="5" y="48"/>
                </a:cubicBezTo>
                <a:cubicBezTo>
                  <a:pt x="11" y="57"/>
                  <a:pt x="21" y="62"/>
                  <a:pt x="31" y="62"/>
                </a:cubicBezTo>
                <a:cubicBezTo>
                  <a:pt x="37" y="62"/>
                  <a:pt x="42" y="60"/>
                  <a:pt x="47" y="57"/>
                </a:cubicBezTo>
                <a:lnTo>
                  <a:pt x="45" y="54"/>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52">
            <a:extLst>
              <a:ext uri="{FF2B5EF4-FFF2-40B4-BE49-F238E27FC236}">
                <a16:creationId xmlns:a16="http://schemas.microsoft.com/office/drawing/2014/main" id="{B4C96584-395B-482E-826C-29D2B5CF0416}"/>
              </a:ext>
            </a:extLst>
          </p:cNvPr>
          <p:cNvSpPr>
            <a:spLocks/>
          </p:cNvSpPr>
          <p:nvPr/>
        </p:nvSpPr>
        <p:spPr bwMode="auto">
          <a:xfrm>
            <a:off x="8931453" y="3017154"/>
            <a:ext cx="145763" cy="148800"/>
          </a:xfrm>
          <a:custGeom>
            <a:avLst/>
            <a:gdLst>
              <a:gd name="T0" fmla="*/ 45 w 61"/>
              <a:gd name="T1" fmla="*/ 54 h 62"/>
              <a:gd name="T2" fmla="*/ 8 w 61"/>
              <a:gd name="T3" fmla="*/ 46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6"/>
                </a:cubicBezTo>
                <a:cubicBezTo>
                  <a:pt x="0" y="33"/>
                  <a:pt x="4" y="16"/>
                  <a:pt x="16" y="8"/>
                </a:cubicBezTo>
                <a:cubicBezTo>
                  <a:pt x="29"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1" name="Freeform 53">
            <a:extLst>
              <a:ext uri="{FF2B5EF4-FFF2-40B4-BE49-F238E27FC236}">
                <a16:creationId xmlns:a16="http://schemas.microsoft.com/office/drawing/2014/main" id="{C3D89076-7146-40B4-9F85-339860C7803E}"/>
              </a:ext>
            </a:extLst>
          </p:cNvPr>
          <p:cNvSpPr>
            <a:spLocks/>
          </p:cNvSpPr>
          <p:nvPr/>
        </p:nvSpPr>
        <p:spPr bwMode="auto">
          <a:xfrm>
            <a:off x="8931453" y="3017154"/>
            <a:ext cx="145763" cy="148800"/>
          </a:xfrm>
          <a:custGeom>
            <a:avLst/>
            <a:gdLst>
              <a:gd name="T0" fmla="*/ 45 w 61"/>
              <a:gd name="T1" fmla="*/ 54 h 62"/>
              <a:gd name="T2" fmla="*/ 43 w 61"/>
              <a:gd name="T3" fmla="*/ 50 h 62"/>
              <a:gd name="T4" fmla="*/ 31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4 h 62"/>
              <a:gd name="T22" fmla="*/ 47 w 61"/>
              <a:gd name="T23" fmla="*/ 57 h 62"/>
              <a:gd name="T24" fmla="*/ 61 w 61"/>
              <a:gd name="T25" fmla="*/ 31 h 62"/>
              <a:gd name="T26" fmla="*/ 57 w 61"/>
              <a:gd name="T27" fmla="*/ 15 h 62"/>
              <a:gd name="T28" fmla="*/ 30 w 61"/>
              <a:gd name="T29" fmla="*/ 0 h 62"/>
              <a:gd name="T30" fmla="*/ 14 w 61"/>
              <a:gd name="T31" fmla="*/ 5 h 62"/>
              <a:gd name="T32" fmla="*/ 0 w 61"/>
              <a:gd name="T33" fmla="*/ 31 h 62"/>
              <a:gd name="T34" fmla="*/ 4 w 61"/>
              <a:gd name="T35" fmla="*/ 48 h 62"/>
              <a:gd name="T36" fmla="*/ 31 w 61"/>
              <a:gd name="T37" fmla="*/ 62 h 62"/>
              <a:gd name="T38" fmla="*/ 47 w 61"/>
              <a:gd name="T39" fmla="*/ 57 h 62"/>
              <a:gd name="T40" fmla="*/ 45 w 61"/>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4"/>
                </a:moveTo>
                <a:cubicBezTo>
                  <a:pt x="43" y="50"/>
                  <a:pt x="43" y="50"/>
                  <a:pt x="43" y="50"/>
                </a:cubicBezTo>
                <a:cubicBezTo>
                  <a:pt x="39" y="53"/>
                  <a:pt x="35" y="54"/>
                  <a:pt x="31" y="54"/>
                </a:cubicBezTo>
                <a:cubicBezTo>
                  <a:pt x="23" y="54"/>
                  <a:pt x="16" y="50"/>
                  <a:pt x="11" y="43"/>
                </a:cubicBezTo>
                <a:cubicBezTo>
                  <a:pt x="9" y="40"/>
                  <a:pt x="8" y="35"/>
                  <a:pt x="8" y="31"/>
                </a:cubicBezTo>
                <a:cubicBezTo>
                  <a:pt x="8" y="24"/>
                  <a:pt x="11" y="16"/>
                  <a:pt x="18" y="12"/>
                </a:cubicBezTo>
                <a:cubicBezTo>
                  <a:pt x="22" y="9"/>
                  <a:pt x="26" y="8"/>
                  <a:pt x="30" y="8"/>
                </a:cubicBezTo>
                <a:cubicBezTo>
                  <a:pt x="38" y="8"/>
                  <a:pt x="45" y="12"/>
                  <a:pt x="50" y="19"/>
                </a:cubicBezTo>
                <a:cubicBezTo>
                  <a:pt x="52" y="23"/>
                  <a:pt x="53" y="27"/>
                  <a:pt x="53" y="31"/>
                </a:cubicBezTo>
                <a:cubicBezTo>
                  <a:pt x="53" y="39"/>
                  <a:pt x="50" y="46"/>
                  <a:pt x="43" y="50"/>
                </a:cubicBezTo>
                <a:cubicBezTo>
                  <a:pt x="45" y="54"/>
                  <a:pt x="45" y="54"/>
                  <a:pt x="45" y="54"/>
                </a:cubicBezTo>
                <a:cubicBezTo>
                  <a:pt x="47" y="57"/>
                  <a:pt x="47" y="57"/>
                  <a:pt x="47" y="57"/>
                </a:cubicBezTo>
                <a:cubicBezTo>
                  <a:pt x="56" y="51"/>
                  <a:pt x="61" y="41"/>
                  <a:pt x="61" y="31"/>
                </a:cubicBezTo>
                <a:cubicBezTo>
                  <a:pt x="61" y="25"/>
                  <a:pt x="60" y="20"/>
                  <a:pt x="57" y="15"/>
                </a:cubicBezTo>
                <a:cubicBezTo>
                  <a:pt x="51" y="5"/>
                  <a:pt x="41" y="0"/>
                  <a:pt x="30" y="0"/>
                </a:cubicBezTo>
                <a:cubicBezTo>
                  <a:pt x="25" y="0"/>
                  <a:pt x="19" y="2"/>
                  <a:pt x="14" y="5"/>
                </a:cubicBezTo>
                <a:cubicBezTo>
                  <a:pt x="5" y="11"/>
                  <a:pt x="0" y="21"/>
                  <a:pt x="0" y="31"/>
                </a:cubicBezTo>
                <a:cubicBezTo>
                  <a:pt x="0" y="37"/>
                  <a:pt x="1" y="43"/>
                  <a:pt x="4" y="48"/>
                </a:cubicBezTo>
                <a:cubicBezTo>
                  <a:pt x="10" y="57"/>
                  <a:pt x="20" y="62"/>
                  <a:pt x="31" y="62"/>
                </a:cubicBezTo>
                <a:cubicBezTo>
                  <a:pt x="36" y="62"/>
                  <a:pt x="42" y="60"/>
                  <a:pt x="47"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2" name="Freeform 54">
            <a:extLst>
              <a:ext uri="{FF2B5EF4-FFF2-40B4-BE49-F238E27FC236}">
                <a16:creationId xmlns:a16="http://schemas.microsoft.com/office/drawing/2014/main" id="{1E3E8514-F560-43C7-A3B2-2033E0BA2C52}"/>
              </a:ext>
            </a:extLst>
          </p:cNvPr>
          <p:cNvSpPr>
            <a:spLocks/>
          </p:cNvSpPr>
          <p:nvPr/>
        </p:nvSpPr>
        <p:spPr bwMode="auto">
          <a:xfrm>
            <a:off x="9392025" y="2971603"/>
            <a:ext cx="118433" cy="115396"/>
          </a:xfrm>
          <a:custGeom>
            <a:avLst/>
            <a:gdLst>
              <a:gd name="T0" fmla="*/ 36 w 49"/>
              <a:gd name="T1" fmla="*/ 42 h 48"/>
              <a:gd name="T2" fmla="*/ 6 w 49"/>
              <a:gd name="T3" fmla="*/ 36 h 48"/>
              <a:gd name="T4" fmla="*/ 13 w 49"/>
              <a:gd name="T5" fmla="*/ 6 h 48"/>
              <a:gd name="T6" fmla="*/ 43 w 49"/>
              <a:gd name="T7" fmla="*/ 12 h 48"/>
              <a:gd name="T8" fmla="*/ 36 w 49"/>
              <a:gd name="T9" fmla="*/ 42 h 48"/>
            </a:gdLst>
            <a:ahLst/>
            <a:cxnLst>
              <a:cxn ang="0">
                <a:pos x="T0" y="T1"/>
              </a:cxn>
              <a:cxn ang="0">
                <a:pos x="T2" y="T3"/>
              </a:cxn>
              <a:cxn ang="0">
                <a:pos x="T4" y="T5"/>
              </a:cxn>
              <a:cxn ang="0">
                <a:pos x="T6" y="T7"/>
              </a:cxn>
              <a:cxn ang="0">
                <a:pos x="T8" y="T9"/>
              </a:cxn>
            </a:cxnLst>
            <a:rect l="0" t="0" r="r" b="b"/>
            <a:pathLst>
              <a:path w="49" h="48">
                <a:moveTo>
                  <a:pt x="36" y="42"/>
                </a:moveTo>
                <a:cubicBezTo>
                  <a:pt x="26" y="48"/>
                  <a:pt x="13" y="45"/>
                  <a:pt x="6" y="36"/>
                </a:cubicBezTo>
                <a:cubicBezTo>
                  <a:pt x="0" y="26"/>
                  <a:pt x="3" y="12"/>
                  <a:pt x="13" y="6"/>
                </a:cubicBezTo>
                <a:cubicBezTo>
                  <a:pt x="23" y="0"/>
                  <a:pt x="36" y="2"/>
                  <a:pt x="43" y="12"/>
                </a:cubicBezTo>
                <a:cubicBezTo>
                  <a:pt x="49" y="22"/>
                  <a:pt x="46" y="36"/>
                  <a:pt x="36" y="4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55">
            <a:extLst>
              <a:ext uri="{FF2B5EF4-FFF2-40B4-BE49-F238E27FC236}">
                <a16:creationId xmlns:a16="http://schemas.microsoft.com/office/drawing/2014/main" id="{C29D82AD-C822-44D4-AFE2-56F139164BB2}"/>
              </a:ext>
            </a:extLst>
          </p:cNvPr>
          <p:cNvSpPr>
            <a:spLocks/>
          </p:cNvSpPr>
          <p:nvPr/>
        </p:nvSpPr>
        <p:spPr bwMode="auto">
          <a:xfrm>
            <a:off x="9390000" y="2968567"/>
            <a:ext cx="122482" cy="120457"/>
          </a:xfrm>
          <a:custGeom>
            <a:avLst/>
            <a:gdLst>
              <a:gd name="T0" fmla="*/ 37 w 51"/>
              <a:gd name="T1" fmla="*/ 43 h 50"/>
              <a:gd name="T2" fmla="*/ 35 w 51"/>
              <a:gd name="T3" fmla="*/ 40 h 50"/>
              <a:gd name="T4" fmla="*/ 25 w 51"/>
              <a:gd name="T5" fmla="*/ 42 h 50"/>
              <a:gd name="T6" fmla="*/ 11 w 51"/>
              <a:gd name="T7" fmla="*/ 34 h 50"/>
              <a:gd name="T8" fmla="*/ 8 w 51"/>
              <a:gd name="T9" fmla="*/ 25 h 50"/>
              <a:gd name="T10" fmla="*/ 16 w 51"/>
              <a:gd name="T11" fmla="*/ 10 h 50"/>
              <a:gd name="T12" fmla="*/ 25 w 51"/>
              <a:gd name="T13" fmla="*/ 8 h 50"/>
              <a:gd name="T14" fmla="*/ 40 w 51"/>
              <a:gd name="T15" fmla="*/ 16 h 50"/>
              <a:gd name="T16" fmla="*/ 43 w 51"/>
              <a:gd name="T17" fmla="*/ 25 h 50"/>
              <a:gd name="T18" fmla="*/ 35 w 51"/>
              <a:gd name="T19" fmla="*/ 40 h 50"/>
              <a:gd name="T20" fmla="*/ 37 w 51"/>
              <a:gd name="T21" fmla="*/ 43 h 50"/>
              <a:gd name="T22" fmla="*/ 39 w 51"/>
              <a:gd name="T23" fmla="*/ 46 h 50"/>
              <a:gd name="T24" fmla="*/ 51 w 51"/>
              <a:gd name="T25" fmla="*/ 25 h 50"/>
              <a:gd name="T26" fmla="*/ 47 w 51"/>
              <a:gd name="T27" fmla="*/ 11 h 50"/>
              <a:gd name="T28" fmla="*/ 25 w 51"/>
              <a:gd name="T29" fmla="*/ 0 h 50"/>
              <a:gd name="T30" fmla="*/ 12 w 51"/>
              <a:gd name="T31" fmla="*/ 4 h 50"/>
              <a:gd name="T32" fmla="*/ 0 w 51"/>
              <a:gd name="T33" fmla="*/ 25 h 50"/>
              <a:gd name="T34" fmla="*/ 4 w 51"/>
              <a:gd name="T35" fmla="*/ 39 h 50"/>
              <a:gd name="T36" fmla="*/ 25 w 51"/>
              <a:gd name="T37" fmla="*/ 50 h 50"/>
              <a:gd name="T38" fmla="*/ 39 w 51"/>
              <a:gd name="T39" fmla="*/ 46 h 50"/>
              <a:gd name="T40" fmla="*/ 37 w 51"/>
              <a:gd name="T41"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50">
                <a:moveTo>
                  <a:pt x="37" y="43"/>
                </a:moveTo>
                <a:cubicBezTo>
                  <a:pt x="35" y="40"/>
                  <a:pt x="35" y="40"/>
                  <a:pt x="35" y="40"/>
                </a:cubicBezTo>
                <a:cubicBezTo>
                  <a:pt x="32" y="42"/>
                  <a:pt x="29" y="42"/>
                  <a:pt x="25" y="42"/>
                </a:cubicBezTo>
                <a:cubicBezTo>
                  <a:pt x="20" y="42"/>
                  <a:pt x="14" y="40"/>
                  <a:pt x="11" y="34"/>
                </a:cubicBezTo>
                <a:cubicBezTo>
                  <a:pt x="9" y="31"/>
                  <a:pt x="8" y="28"/>
                  <a:pt x="8" y="25"/>
                </a:cubicBezTo>
                <a:cubicBezTo>
                  <a:pt x="8" y="19"/>
                  <a:pt x="11" y="14"/>
                  <a:pt x="16" y="10"/>
                </a:cubicBezTo>
                <a:cubicBezTo>
                  <a:pt x="19" y="8"/>
                  <a:pt x="22" y="8"/>
                  <a:pt x="25" y="8"/>
                </a:cubicBezTo>
                <a:cubicBezTo>
                  <a:pt x="31" y="8"/>
                  <a:pt x="37" y="10"/>
                  <a:pt x="40" y="16"/>
                </a:cubicBezTo>
                <a:cubicBezTo>
                  <a:pt x="42" y="19"/>
                  <a:pt x="43" y="22"/>
                  <a:pt x="43" y="25"/>
                </a:cubicBezTo>
                <a:cubicBezTo>
                  <a:pt x="43" y="31"/>
                  <a:pt x="40" y="36"/>
                  <a:pt x="35" y="40"/>
                </a:cubicBezTo>
                <a:cubicBezTo>
                  <a:pt x="37" y="43"/>
                  <a:pt x="37" y="43"/>
                  <a:pt x="37" y="43"/>
                </a:cubicBezTo>
                <a:cubicBezTo>
                  <a:pt x="39" y="46"/>
                  <a:pt x="39" y="46"/>
                  <a:pt x="39" y="46"/>
                </a:cubicBezTo>
                <a:cubicBezTo>
                  <a:pt x="47" y="42"/>
                  <a:pt x="51" y="33"/>
                  <a:pt x="51" y="25"/>
                </a:cubicBezTo>
                <a:cubicBezTo>
                  <a:pt x="51" y="20"/>
                  <a:pt x="50" y="16"/>
                  <a:pt x="47" y="11"/>
                </a:cubicBezTo>
                <a:cubicBezTo>
                  <a:pt x="42" y="4"/>
                  <a:pt x="34" y="0"/>
                  <a:pt x="25" y="0"/>
                </a:cubicBezTo>
                <a:cubicBezTo>
                  <a:pt x="21" y="0"/>
                  <a:pt x="16" y="1"/>
                  <a:pt x="12" y="4"/>
                </a:cubicBezTo>
                <a:cubicBezTo>
                  <a:pt x="4" y="8"/>
                  <a:pt x="0" y="17"/>
                  <a:pt x="0" y="25"/>
                </a:cubicBezTo>
                <a:cubicBezTo>
                  <a:pt x="0" y="30"/>
                  <a:pt x="1" y="34"/>
                  <a:pt x="4" y="39"/>
                </a:cubicBezTo>
                <a:cubicBezTo>
                  <a:pt x="9" y="46"/>
                  <a:pt x="17" y="50"/>
                  <a:pt x="25" y="50"/>
                </a:cubicBezTo>
                <a:cubicBezTo>
                  <a:pt x="30" y="50"/>
                  <a:pt x="35" y="49"/>
                  <a:pt x="39" y="46"/>
                </a:cubicBezTo>
                <a:lnTo>
                  <a:pt x="37"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56">
            <a:extLst>
              <a:ext uri="{FF2B5EF4-FFF2-40B4-BE49-F238E27FC236}">
                <a16:creationId xmlns:a16="http://schemas.microsoft.com/office/drawing/2014/main" id="{44A97774-BDD4-4CD6-A010-BDB65625E2F0}"/>
              </a:ext>
            </a:extLst>
          </p:cNvPr>
          <p:cNvSpPr>
            <a:spLocks noEditPoints="1"/>
          </p:cNvSpPr>
          <p:nvPr/>
        </p:nvSpPr>
        <p:spPr bwMode="auto">
          <a:xfrm>
            <a:off x="6018209" y="5128699"/>
            <a:ext cx="66808" cy="66808"/>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3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9" y="4"/>
                  <a:pt x="4" y="9"/>
                  <a:pt x="4" y="14"/>
                </a:cubicBezTo>
                <a:cubicBezTo>
                  <a:pt x="4" y="19"/>
                  <a:pt x="9" y="23"/>
                  <a:pt x="14" y="23"/>
                </a:cubicBezTo>
                <a:cubicBezTo>
                  <a:pt x="19" y="23"/>
                  <a:pt x="24" y="19"/>
                  <a:pt x="24" y="14"/>
                </a:cubicBezTo>
                <a:cubicBezTo>
                  <a:pt x="24" y="9"/>
                  <a:pt x="19" y="4"/>
                  <a:pt x="14" y="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Rectangle 57">
            <a:extLst>
              <a:ext uri="{FF2B5EF4-FFF2-40B4-BE49-F238E27FC236}">
                <a16:creationId xmlns:a16="http://schemas.microsoft.com/office/drawing/2014/main" id="{4A0D4A55-3093-49C2-8C71-1BE94D2F509B}"/>
              </a:ext>
            </a:extLst>
          </p:cNvPr>
          <p:cNvSpPr>
            <a:spLocks noChangeArrowheads="1"/>
          </p:cNvSpPr>
          <p:nvPr/>
        </p:nvSpPr>
        <p:spPr bwMode="auto">
          <a:xfrm>
            <a:off x="8109509" y="4756193"/>
            <a:ext cx="166008" cy="2935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Rectangle 58">
            <a:extLst>
              <a:ext uri="{FF2B5EF4-FFF2-40B4-BE49-F238E27FC236}">
                <a16:creationId xmlns:a16="http://schemas.microsoft.com/office/drawing/2014/main" id="{B03300C5-881F-46BF-9600-75817C1C3AFB}"/>
              </a:ext>
            </a:extLst>
          </p:cNvPr>
          <p:cNvSpPr>
            <a:spLocks noChangeArrowheads="1"/>
          </p:cNvSpPr>
          <p:nvPr/>
        </p:nvSpPr>
        <p:spPr bwMode="auto">
          <a:xfrm>
            <a:off x="8109509" y="4679262"/>
            <a:ext cx="166008" cy="3138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Rectangle 59">
            <a:extLst>
              <a:ext uri="{FF2B5EF4-FFF2-40B4-BE49-F238E27FC236}">
                <a16:creationId xmlns:a16="http://schemas.microsoft.com/office/drawing/2014/main" id="{995E551D-16C4-4105-B20A-12DEF78D8EDC}"/>
              </a:ext>
            </a:extLst>
          </p:cNvPr>
          <p:cNvSpPr>
            <a:spLocks noChangeArrowheads="1"/>
          </p:cNvSpPr>
          <p:nvPr/>
        </p:nvSpPr>
        <p:spPr bwMode="auto">
          <a:xfrm>
            <a:off x="8109509" y="4607393"/>
            <a:ext cx="166008" cy="2834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8" name="Freeform 60">
            <a:extLst>
              <a:ext uri="{FF2B5EF4-FFF2-40B4-BE49-F238E27FC236}">
                <a16:creationId xmlns:a16="http://schemas.microsoft.com/office/drawing/2014/main" id="{5FA4B37C-8819-46AA-9AF0-6F632933EE16}"/>
              </a:ext>
            </a:extLst>
          </p:cNvPr>
          <p:cNvSpPr>
            <a:spLocks/>
          </p:cNvSpPr>
          <p:nvPr/>
        </p:nvSpPr>
        <p:spPr bwMode="auto">
          <a:xfrm>
            <a:off x="6366422" y="3963604"/>
            <a:ext cx="88065" cy="86041"/>
          </a:xfrm>
          <a:custGeom>
            <a:avLst/>
            <a:gdLst>
              <a:gd name="T0" fmla="*/ 27 w 37"/>
              <a:gd name="T1" fmla="*/ 31 h 36"/>
              <a:gd name="T2" fmla="*/ 5 w 37"/>
              <a:gd name="T3" fmla="*/ 27 h 36"/>
              <a:gd name="T4" fmla="*/ 10 w 37"/>
              <a:gd name="T5" fmla="*/ 4 h 36"/>
              <a:gd name="T6" fmla="*/ 32 w 37"/>
              <a:gd name="T7" fmla="*/ 9 h 36"/>
              <a:gd name="T8" fmla="*/ 27 w 37"/>
              <a:gd name="T9" fmla="*/ 31 h 36"/>
            </a:gdLst>
            <a:ahLst/>
            <a:cxnLst>
              <a:cxn ang="0">
                <a:pos x="T0" y="T1"/>
              </a:cxn>
              <a:cxn ang="0">
                <a:pos x="T2" y="T3"/>
              </a:cxn>
              <a:cxn ang="0">
                <a:pos x="T4" y="T5"/>
              </a:cxn>
              <a:cxn ang="0">
                <a:pos x="T6" y="T7"/>
              </a:cxn>
              <a:cxn ang="0">
                <a:pos x="T8" y="T9"/>
              </a:cxn>
            </a:cxnLst>
            <a:rect l="0" t="0" r="r" b="b"/>
            <a:pathLst>
              <a:path w="37" h="36">
                <a:moveTo>
                  <a:pt x="27" y="31"/>
                </a:moveTo>
                <a:cubicBezTo>
                  <a:pt x="19" y="36"/>
                  <a:pt x="9" y="34"/>
                  <a:pt x="5" y="27"/>
                </a:cubicBezTo>
                <a:cubicBezTo>
                  <a:pt x="0" y="19"/>
                  <a:pt x="2" y="9"/>
                  <a:pt x="10" y="4"/>
                </a:cubicBezTo>
                <a:cubicBezTo>
                  <a:pt x="17" y="0"/>
                  <a:pt x="27" y="2"/>
                  <a:pt x="32" y="9"/>
                </a:cubicBezTo>
                <a:cubicBezTo>
                  <a:pt x="37" y="17"/>
                  <a:pt x="34" y="27"/>
                  <a:pt x="27" y="3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9" name="Freeform 61">
            <a:extLst>
              <a:ext uri="{FF2B5EF4-FFF2-40B4-BE49-F238E27FC236}">
                <a16:creationId xmlns:a16="http://schemas.microsoft.com/office/drawing/2014/main" id="{3A9CDD08-1A22-478B-BBFD-9FAEAD2F22C3}"/>
              </a:ext>
            </a:extLst>
          </p:cNvPr>
          <p:cNvSpPr>
            <a:spLocks/>
          </p:cNvSpPr>
          <p:nvPr/>
        </p:nvSpPr>
        <p:spPr bwMode="auto">
          <a:xfrm>
            <a:off x="6361360" y="3958543"/>
            <a:ext cx="96163" cy="96163"/>
          </a:xfrm>
          <a:custGeom>
            <a:avLst/>
            <a:gdLst>
              <a:gd name="T0" fmla="*/ 29 w 40"/>
              <a:gd name="T1" fmla="*/ 33 h 40"/>
              <a:gd name="T2" fmla="*/ 27 w 40"/>
              <a:gd name="T3" fmla="*/ 30 h 40"/>
              <a:gd name="T4" fmla="*/ 20 w 40"/>
              <a:gd name="T5" fmla="*/ 32 h 40"/>
              <a:gd name="T6" fmla="*/ 10 w 40"/>
              <a:gd name="T7" fmla="*/ 26 h 40"/>
              <a:gd name="T8" fmla="*/ 8 w 40"/>
              <a:gd name="T9" fmla="*/ 20 h 40"/>
              <a:gd name="T10" fmla="*/ 14 w 40"/>
              <a:gd name="T11" fmla="*/ 10 h 40"/>
              <a:gd name="T12" fmla="*/ 14 w 40"/>
              <a:gd name="T13" fmla="*/ 10 h 40"/>
              <a:gd name="T14" fmla="*/ 20 w 40"/>
              <a:gd name="T15" fmla="*/ 8 h 40"/>
              <a:gd name="T16" fmla="*/ 30 w 40"/>
              <a:gd name="T17" fmla="*/ 13 h 40"/>
              <a:gd name="T18" fmla="*/ 32 w 40"/>
              <a:gd name="T19" fmla="*/ 20 h 40"/>
              <a:gd name="T20" fmla="*/ 27 w 40"/>
              <a:gd name="T21" fmla="*/ 30 h 40"/>
              <a:gd name="T22" fmla="*/ 29 w 40"/>
              <a:gd name="T23" fmla="*/ 33 h 40"/>
              <a:gd name="T24" fmla="*/ 31 w 40"/>
              <a:gd name="T25" fmla="*/ 37 h 40"/>
              <a:gd name="T26" fmla="*/ 40 w 40"/>
              <a:gd name="T27" fmla="*/ 20 h 40"/>
              <a:gd name="T28" fmla="*/ 37 w 40"/>
              <a:gd name="T29" fmla="*/ 9 h 40"/>
              <a:gd name="T30" fmla="*/ 20 w 40"/>
              <a:gd name="T31" fmla="*/ 0 h 40"/>
              <a:gd name="T32" fmla="*/ 9 w 40"/>
              <a:gd name="T33" fmla="*/ 3 h 40"/>
              <a:gd name="T34" fmla="*/ 10 w 40"/>
              <a:gd name="T35" fmla="*/ 3 h 40"/>
              <a:gd name="T36" fmla="*/ 0 w 40"/>
              <a:gd name="T37" fmla="*/ 20 h 40"/>
              <a:gd name="T38" fmla="*/ 3 w 40"/>
              <a:gd name="T39" fmla="*/ 31 h 40"/>
              <a:gd name="T40" fmla="*/ 20 w 40"/>
              <a:gd name="T41" fmla="*/ 40 h 40"/>
              <a:gd name="T42" fmla="*/ 31 w 40"/>
              <a:gd name="T43" fmla="*/ 37 h 40"/>
              <a:gd name="T44" fmla="*/ 29 w 40"/>
              <a:gd name="T45"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0">
                <a:moveTo>
                  <a:pt x="29" y="33"/>
                </a:moveTo>
                <a:cubicBezTo>
                  <a:pt x="27" y="30"/>
                  <a:pt x="27" y="30"/>
                  <a:pt x="27" y="30"/>
                </a:cubicBezTo>
                <a:cubicBezTo>
                  <a:pt x="25" y="31"/>
                  <a:pt x="23" y="32"/>
                  <a:pt x="20" y="32"/>
                </a:cubicBezTo>
                <a:cubicBezTo>
                  <a:pt x="16" y="32"/>
                  <a:pt x="12" y="30"/>
                  <a:pt x="10" y="26"/>
                </a:cubicBezTo>
                <a:cubicBezTo>
                  <a:pt x="9" y="24"/>
                  <a:pt x="8" y="22"/>
                  <a:pt x="8" y="20"/>
                </a:cubicBezTo>
                <a:cubicBezTo>
                  <a:pt x="8" y="16"/>
                  <a:pt x="10" y="12"/>
                  <a:pt x="14" y="10"/>
                </a:cubicBezTo>
                <a:cubicBezTo>
                  <a:pt x="14" y="10"/>
                  <a:pt x="14" y="10"/>
                  <a:pt x="14" y="10"/>
                </a:cubicBezTo>
                <a:cubicBezTo>
                  <a:pt x="16" y="8"/>
                  <a:pt x="18" y="8"/>
                  <a:pt x="20" y="8"/>
                </a:cubicBezTo>
                <a:cubicBezTo>
                  <a:pt x="24" y="8"/>
                  <a:pt x="28" y="10"/>
                  <a:pt x="30" y="13"/>
                </a:cubicBezTo>
                <a:cubicBezTo>
                  <a:pt x="32" y="15"/>
                  <a:pt x="32" y="18"/>
                  <a:pt x="32" y="20"/>
                </a:cubicBezTo>
                <a:cubicBezTo>
                  <a:pt x="32" y="24"/>
                  <a:pt x="30" y="28"/>
                  <a:pt x="27" y="30"/>
                </a:cubicBezTo>
                <a:cubicBezTo>
                  <a:pt x="29" y="33"/>
                  <a:pt x="29" y="33"/>
                  <a:pt x="29" y="33"/>
                </a:cubicBezTo>
                <a:cubicBezTo>
                  <a:pt x="31" y="37"/>
                  <a:pt x="31" y="37"/>
                  <a:pt x="31" y="37"/>
                </a:cubicBezTo>
                <a:cubicBezTo>
                  <a:pt x="37" y="33"/>
                  <a:pt x="40" y="27"/>
                  <a:pt x="40" y="20"/>
                </a:cubicBezTo>
                <a:cubicBezTo>
                  <a:pt x="40" y="16"/>
                  <a:pt x="39" y="12"/>
                  <a:pt x="37" y="9"/>
                </a:cubicBezTo>
                <a:cubicBezTo>
                  <a:pt x="33" y="3"/>
                  <a:pt x="27" y="0"/>
                  <a:pt x="20" y="0"/>
                </a:cubicBezTo>
                <a:cubicBezTo>
                  <a:pt x="17" y="0"/>
                  <a:pt x="13" y="1"/>
                  <a:pt x="9" y="3"/>
                </a:cubicBezTo>
                <a:cubicBezTo>
                  <a:pt x="10" y="3"/>
                  <a:pt x="10" y="3"/>
                  <a:pt x="10" y="3"/>
                </a:cubicBezTo>
                <a:cubicBezTo>
                  <a:pt x="3" y="7"/>
                  <a:pt x="0" y="13"/>
                  <a:pt x="0" y="20"/>
                </a:cubicBezTo>
                <a:cubicBezTo>
                  <a:pt x="0" y="24"/>
                  <a:pt x="1" y="27"/>
                  <a:pt x="3" y="31"/>
                </a:cubicBezTo>
                <a:cubicBezTo>
                  <a:pt x="7" y="37"/>
                  <a:pt x="14" y="40"/>
                  <a:pt x="20" y="40"/>
                </a:cubicBezTo>
                <a:cubicBezTo>
                  <a:pt x="24" y="40"/>
                  <a:pt x="28" y="39"/>
                  <a:pt x="31" y="37"/>
                </a:cubicBezTo>
                <a:lnTo>
                  <a:pt x="29" y="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62">
            <a:extLst>
              <a:ext uri="{FF2B5EF4-FFF2-40B4-BE49-F238E27FC236}">
                <a16:creationId xmlns:a16="http://schemas.microsoft.com/office/drawing/2014/main" id="{DD4D916F-5E08-4EA5-ABF9-FF2A0AF9D21E}"/>
              </a:ext>
            </a:extLst>
          </p:cNvPr>
          <p:cNvSpPr>
            <a:spLocks/>
          </p:cNvSpPr>
          <p:nvPr/>
        </p:nvSpPr>
        <p:spPr bwMode="auto">
          <a:xfrm>
            <a:off x="7187353" y="4525401"/>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5"/>
                  <a:pt x="45"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63">
            <a:extLst>
              <a:ext uri="{FF2B5EF4-FFF2-40B4-BE49-F238E27FC236}">
                <a16:creationId xmlns:a16="http://schemas.microsoft.com/office/drawing/2014/main" id="{9E8E672D-A4D7-4AE1-9E5E-B28F65472F20}"/>
              </a:ext>
            </a:extLst>
          </p:cNvPr>
          <p:cNvSpPr>
            <a:spLocks/>
          </p:cNvSpPr>
          <p:nvPr/>
        </p:nvSpPr>
        <p:spPr bwMode="auto">
          <a:xfrm>
            <a:off x="7185329" y="4525401"/>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1 h 62"/>
              <a:gd name="T12" fmla="*/ 31 w 62"/>
              <a:gd name="T13" fmla="*/ 8 h 62"/>
              <a:gd name="T14" fmla="*/ 51 w 62"/>
              <a:gd name="T15" fmla="*/ 18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2"/>
                  <a:pt x="36" y="54"/>
                  <a:pt x="31" y="54"/>
                </a:cubicBezTo>
                <a:cubicBezTo>
                  <a:pt x="24" y="54"/>
                  <a:pt x="16" y="50"/>
                  <a:pt x="12" y="43"/>
                </a:cubicBezTo>
                <a:cubicBezTo>
                  <a:pt x="10" y="39"/>
                  <a:pt x="8" y="35"/>
                  <a:pt x="8" y="31"/>
                </a:cubicBezTo>
                <a:cubicBezTo>
                  <a:pt x="8" y="23"/>
                  <a:pt x="12" y="16"/>
                  <a:pt x="19" y="11"/>
                </a:cubicBezTo>
                <a:cubicBezTo>
                  <a:pt x="23" y="9"/>
                  <a:pt x="27" y="8"/>
                  <a:pt x="31" y="8"/>
                </a:cubicBezTo>
                <a:cubicBezTo>
                  <a:pt x="39" y="8"/>
                  <a:pt x="46" y="12"/>
                  <a:pt x="51" y="18"/>
                </a:cubicBezTo>
                <a:cubicBezTo>
                  <a:pt x="53" y="22"/>
                  <a:pt x="54" y="26"/>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0"/>
                  <a:pt x="0" y="21"/>
                  <a:pt x="0" y="31"/>
                </a:cubicBezTo>
                <a:cubicBezTo>
                  <a:pt x="0" y="36"/>
                  <a:pt x="2" y="42"/>
                  <a:pt x="5" y="47"/>
                </a:cubicBezTo>
                <a:cubicBezTo>
                  <a:pt x="11" y="56"/>
                  <a:pt x="21" y="62"/>
                  <a:pt x="31" y="62"/>
                </a:cubicBezTo>
                <a:cubicBezTo>
                  <a:pt x="37" y="62"/>
                  <a:pt x="43" y="60"/>
                  <a:pt x="48" y="57"/>
                </a:cubicBezTo>
                <a:lnTo>
                  <a:pt x="46" y="53"/>
                </a:lnTo>
                <a:close/>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64">
            <a:extLst>
              <a:ext uri="{FF2B5EF4-FFF2-40B4-BE49-F238E27FC236}">
                <a16:creationId xmlns:a16="http://schemas.microsoft.com/office/drawing/2014/main" id="{DF6A3945-F967-4022-838F-EACD2AC35FE3}"/>
              </a:ext>
            </a:extLst>
          </p:cNvPr>
          <p:cNvSpPr>
            <a:spLocks/>
          </p:cNvSpPr>
          <p:nvPr/>
        </p:nvSpPr>
        <p:spPr bwMode="auto">
          <a:xfrm>
            <a:off x="7811909" y="422780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3" y="16"/>
                  <a:pt x="16" y="8"/>
                </a:cubicBezTo>
                <a:cubicBezTo>
                  <a:pt x="28"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65">
            <a:extLst>
              <a:ext uri="{FF2B5EF4-FFF2-40B4-BE49-F238E27FC236}">
                <a16:creationId xmlns:a16="http://schemas.microsoft.com/office/drawing/2014/main" id="{8F2CE2BF-6584-41DD-8C40-BBEA8F6F61E4}"/>
              </a:ext>
            </a:extLst>
          </p:cNvPr>
          <p:cNvSpPr>
            <a:spLocks/>
          </p:cNvSpPr>
          <p:nvPr/>
        </p:nvSpPr>
        <p:spPr bwMode="auto">
          <a:xfrm>
            <a:off x="7809884" y="4227800"/>
            <a:ext cx="148800" cy="148800"/>
          </a:xfrm>
          <a:custGeom>
            <a:avLst/>
            <a:gdLst>
              <a:gd name="T0" fmla="*/ 46 w 62"/>
              <a:gd name="T1" fmla="*/ 53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3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3"/>
                </a:moveTo>
                <a:cubicBezTo>
                  <a:pt x="44" y="50"/>
                  <a:pt x="44" y="50"/>
                  <a:pt x="44" y="50"/>
                </a:cubicBezTo>
                <a:cubicBezTo>
                  <a:pt x="40" y="53"/>
                  <a:pt x="35"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2"/>
                  <a:pt x="54" y="27"/>
                  <a:pt x="54" y="31"/>
                </a:cubicBezTo>
                <a:cubicBezTo>
                  <a:pt x="54" y="38"/>
                  <a:pt x="50" y="46"/>
                  <a:pt x="44" y="50"/>
                </a:cubicBezTo>
                <a:cubicBezTo>
                  <a:pt x="46" y="53"/>
                  <a:pt x="46" y="53"/>
                  <a:pt x="46" y="53"/>
                </a:cubicBezTo>
                <a:cubicBezTo>
                  <a:pt x="48" y="57"/>
                  <a:pt x="48" y="57"/>
                  <a:pt x="48" y="57"/>
                </a:cubicBezTo>
                <a:cubicBezTo>
                  <a:pt x="57" y="51"/>
                  <a:pt x="62" y="41"/>
                  <a:pt x="62" y="31"/>
                </a:cubicBezTo>
                <a:cubicBezTo>
                  <a:pt x="62" y="25"/>
                  <a:pt x="61" y="19"/>
                  <a:pt x="57" y="14"/>
                </a:cubicBezTo>
                <a:cubicBezTo>
                  <a:pt x="51" y="5"/>
                  <a:pt x="41" y="0"/>
                  <a:pt x="31" y="0"/>
                </a:cubicBezTo>
                <a:cubicBezTo>
                  <a:pt x="26" y="0"/>
                  <a:pt x="20" y="1"/>
                  <a:pt x="15" y="5"/>
                </a:cubicBezTo>
                <a:cubicBezTo>
                  <a:pt x="5" y="11"/>
                  <a:pt x="0" y="21"/>
                  <a:pt x="0" y="31"/>
                </a:cubicBezTo>
                <a:cubicBezTo>
                  <a:pt x="0" y="36"/>
                  <a:pt x="2" y="42"/>
                  <a:pt x="5" y="47"/>
                </a:cubicBezTo>
                <a:cubicBezTo>
                  <a:pt x="11" y="57"/>
                  <a:pt x="21" y="62"/>
                  <a:pt x="31" y="62"/>
                </a:cubicBezTo>
                <a:cubicBezTo>
                  <a:pt x="37" y="62"/>
                  <a:pt x="43" y="60"/>
                  <a:pt x="48" y="57"/>
                </a:cubicBezTo>
                <a:lnTo>
                  <a:pt x="46"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Freeform 66">
            <a:extLst>
              <a:ext uri="{FF2B5EF4-FFF2-40B4-BE49-F238E27FC236}">
                <a16:creationId xmlns:a16="http://schemas.microsoft.com/office/drawing/2014/main" id="{F918E45A-FA47-44D9-81F3-6911CE9E24D5}"/>
              </a:ext>
            </a:extLst>
          </p:cNvPr>
          <p:cNvSpPr>
            <a:spLocks/>
          </p:cNvSpPr>
          <p:nvPr/>
        </p:nvSpPr>
        <p:spPr bwMode="auto">
          <a:xfrm>
            <a:off x="8222881" y="4390772"/>
            <a:ext cx="108310" cy="108310"/>
          </a:xfrm>
          <a:custGeom>
            <a:avLst/>
            <a:gdLst>
              <a:gd name="T0" fmla="*/ 33 w 45"/>
              <a:gd name="T1" fmla="*/ 39 h 45"/>
              <a:gd name="T2" fmla="*/ 6 w 45"/>
              <a:gd name="T3" fmla="*/ 33 h 45"/>
              <a:gd name="T4" fmla="*/ 12 w 45"/>
              <a:gd name="T5" fmla="*/ 6 h 45"/>
              <a:gd name="T6" fmla="*/ 39 w 45"/>
              <a:gd name="T7" fmla="*/ 12 h 45"/>
              <a:gd name="T8" fmla="*/ 33 w 45"/>
              <a:gd name="T9" fmla="*/ 39 h 45"/>
            </a:gdLst>
            <a:ahLst/>
            <a:cxnLst>
              <a:cxn ang="0">
                <a:pos x="T0" y="T1"/>
              </a:cxn>
              <a:cxn ang="0">
                <a:pos x="T2" y="T3"/>
              </a:cxn>
              <a:cxn ang="0">
                <a:pos x="T4" y="T5"/>
              </a:cxn>
              <a:cxn ang="0">
                <a:pos x="T6" y="T7"/>
              </a:cxn>
              <a:cxn ang="0">
                <a:pos x="T8" y="T9"/>
              </a:cxn>
            </a:cxnLst>
            <a:rect l="0" t="0" r="r" b="b"/>
            <a:pathLst>
              <a:path w="45" h="45">
                <a:moveTo>
                  <a:pt x="33" y="39"/>
                </a:moveTo>
                <a:cubicBezTo>
                  <a:pt x="24" y="45"/>
                  <a:pt x="12" y="42"/>
                  <a:pt x="6" y="33"/>
                </a:cubicBezTo>
                <a:cubicBezTo>
                  <a:pt x="0" y="24"/>
                  <a:pt x="3" y="11"/>
                  <a:pt x="12" y="6"/>
                </a:cubicBezTo>
                <a:cubicBezTo>
                  <a:pt x="21" y="0"/>
                  <a:pt x="33" y="3"/>
                  <a:pt x="39" y="12"/>
                </a:cubicBezTo>
                <a:cubicBezTo>
                  <a:pt x="45" y="21"/>
                  <a:pt x="42" y="33"/>
                  <a:pt x="33" y="3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Freeform 67">
            <a:extLst>
              <a:ext uri="{FF2B5EF4-FFF2-40B4-BE49-F238E27FC236}">
                <a16:creationId xmlns:a16="http://schemas.microsoft.com/office/drawing/2014/main" id="{7210E89B-40F7-4D5D-9B77-0BD19A39BE76}"/>
              </a:ext>
            </a:extLst>
          </p:cNvPr>
          <p:cNvSpPr>
            <a:spLocks/>
          </p:cNvSpPr>
          <p:nvPr/>
        </p:nvSpPr>
        <p:spPr bwMode="auto">
          <a:xfrm>
            <a:off x="8219844" y="4388748"/>
            <a:ext cx="113372" cy="113372"/>
          </a:xfrm>
          <a:custGeom>
            <a:avLst/>
            <a:gdLst>
              <a:gd name="T0" fmla="*/ 34 w 47"/>
              <a:gd name="T1" fmla="*/ 40 h 47"/>
              <a:gd name="T2" fmla="*/ 32 w 47"/>
              <a:gd name="T3" fmla="*/ 37 h 47"/>
              <a:gd name="T4" fmla="*/ 23 w 47"/>
              <a:gd name="T5" fmla="*/ 39 h 47"/>
              <a:gd name="T6" fmla="*/ 10 w 47"/>
              <a:gd name="T7" fmla="*/ 32 h 47"/>
              <a:gd name="T8" fmla="*/ 8 w 47"/>
              <a:gd name="T9" fmla="*/ 23 h 47"/>
              <a:gd name="T10" fmla="*/ 15 w 47"/>
              <a:gd name="T11" fmla="*/ 10 h 47"/>
              <a:gd name="T12" fmla="*/ 23 w 47"/>
              <a:gd name="T13" fmla="*/ 8 h 47"/>
              <a:gd name="T14" fmla="*/ 37 w 47"/>
              <a:gd name="T15" fmla="*/ 15 h 47"/>
              <a:gd name="T16" fmla="*/ 39 w 47"/>
              <a:gd name="T17" fmla="*/ 23 h 47"/>
              <a:gd name="T18" fmla="*/ 32 w 47"/>
              <a:gd name="T19" fmla="*/ 37 h 47"/>
              <a:gd name="T20" fmla="*/ 34 w 47"/>
              <a:gd name="T21" fmla="*/ 40 h 47"/>
              <a:gd name="T22" fmla="*/ 36 w 47"/>
              <a:gd name="T23" fmla="*/ 43 h 47"/>
              <a:gd name="T24" fmla="*/ 47 w 47"/>
              <a:gd name="T25" fmla="*/ 23 h 47"/>
              <a:gd name="T26" fmla="*/ 43 w 47"/>
              <a:gd name="T27" fmla="*/ 11 h 47"/>
              <a:gd name="T28" fmla="*/ 23 w 47"/>
              <a:gd name="T29" fmla="*/ 0 h 47"/>
              <a:gd name="T30" fmla="*/ 11 w 47"/>
              <a:gd name="T31" fmla="*/ 3 h 47"/>
              <a:gd name="T32" fmla="*/ 0 w 47"/>
              <a:gd name="T33" fmla="*/ 23 h 47"/>
              <a:gd name="T34" fmla="*/ 3 w 47"/>
              <a:gd name="T35" fmla="*/ 36 h 47"/>
              <a:gd name="T36" fmla="*/ 23 w 47"/>
              <a:gd name="T37" fmla="*/ 47 h 47"/>
              <a:gd name="T38" fmla="*/ 36 w 47"/>
              <a:gd name="T39" fmla="*/ 43 h 47"/>
              <a:gd name="T40" fmla="*/ 34 w 47"/>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47">
                <a:moveTo>
                  <a:pt x="34" y="40"/>
                </a:moveTo>
                <a:cubicBezTo>
                  <a:pt x="32" y="37"/>
                  <a:pt x="32" y="37"/>
                  <a:pt x="32" y="37"/>
                </a:cubicBezTo>
                <a:cubicBezTo>
                  <a:pt x="29" y="38"/>
                  <a:pt x="26" y="39"/>
                  <a:pt x="23" y="39"/>
                </a:cubicBezTo>
                <a:cubicBezTo>
                  <a:pt x="18" y="39"/>
                  <a:pt x="13" y="36"/>
                  <a:pt x="10" y="32"/>
                </a:cubicBezTo>
                <a:cubicBezTo>
                  <a:pt x="8" y="29"/>
                  <a:pt x="8" y="26"/>
                  <a:pt x="8" y="23"/>
                </a:cubicBezTo>
                <a:cubicBezTo>
                  <a:pt x="8" y="18"/>
                  <a:pt x="10" y="13"/>
                  <a:pt x="15" y="10"/>
                </a:cubicBezTo>
                <a:cubicBezTo>
                  <a:pt x="18" y="8"/>
                  <a:pt x="20" y="8"/>
                  <a:pt x="23" y="8"/>
                </a:cubicBezTo>
                <a:cubicBezTo>
                  <a:pt x="29" y="8"/>
                  <a:pt x="34" y="10"/>
                  <a:pt x="37" y="15"/>
                </a:cubicBezTo>
                <a:cubicBezTo>
                  <a:pt x="38" y="17"/>
                  <a:pt x="39" y="20"/>
                  <a:pt x="39" y="23"/>
                </a:cubicBezTo>
                <a:cubicBezTo>
                  <a:pt x="39" y="28"/>
                  <a:pt x="37" y="34"/>
                  <a:pt x="32" y="37"/>
                </a:cubicBezTo>
                <a:cubicBezTo>
                  <a:pt x="34" y="40"/>
                  <a:pt x="34" y="40"/>
                  <a:pt x="34" y="40"/>
                </a:cubicBezTo>
                <a:cubicBezTo>
                  <a:pt x="36" y="43"/>
                  <a:pt x="36" y="43"/>
                  <a:pt x="36" y="43"/>
                </a:cubicBezTo>
                <a:cubicBezTo>
                  <a:pt x="43" y="39"/>
                  <a:pt x="47" y="31"/>
                  <a:pt x="47" y="23"/>
                </a:cubicBezTo>
                <a:cubicBezTo>
                  <a:pt x="47" y="19"/>
                  <a:pt x="46" y="14"/>
                  <a:pt x="43" y="11"/>
                </a:cubicBezTo>
                <a:cubicBezTo>
                  <a:pt x="39" y="3"/>
                  <a:pt x="31" y="0"/>
                  <a:pt x="23" y="0"/>
                </a:cubicBezTo>
                <a:cubicBezTo>
                  <a:pt x="19" y="0"/>
                  <a:pt x="15" y="1"/>
                  <a:pt x="11" y="3"/>
                </a:cubicBezTo>
                <a:cubicBezTo>
                  <a:pt x="4" y="8"/>
                  <a:pt x="0" y="15"/>
                  <a:pt x="0" y="23"/>
                </a:cubicBezTo>
                <a:cubicBezTo>
                  <a:pt x="0" y="28"/>
                  <a:pt x="1" y="32"/>
                  <a:pt x="3" y="36"/>
                </a:cubicBezTo>
                <a:cubicBezTo>
                  <a:pt x="8" y="43"/>
                  <a:pt x="16" y="47"/>
                  <a:pt x="23" y="47"/>
                </a:cubicBezTo>
                <a:cubicBezTo>
                  <a:pt x="28" y="47"/>
                  <a:pt x="32" y="46"/>
                  <a:pt x="36" y="43"/>
                </a:cubicBezTo>
                <a:lnTo>
                  <a:pt x="34" y="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Freeform 68">
            <a:extLst>
              <a:ext uri="{FF2B5EF4-FFF2-40B4-BE49-F238E27FC236}">
                <a16:creationId xmlns:a16="http://schemas.microsoft.com/office/drawing/2014/main" id="{5BDE5632-D0AB-4FB5-8BD4-EFBCB2C767A6}"/>
              </a:ext>
            </a:extLst>
          </p:cNvPr>
          <p:cNvSpPr>
            <a:spLocks/>
          </p:cNvSpPr>
          <p:nvPr/>
        </p:nvSpPr>
        <p:spPr bwMode="auto">
          <a:xfrm>
            <a:off x="6070846" y="3521253"/>
            <a:ext cx="148800" cy="146776"/>
          </a:xfrm>
          <a:custGeom>
            <a:avLst/>
            <a:gdLst>
              <a:gd name="T0" fmla="*/ 45 w 62"/>
              <a:gd name="T1" fmla="*/ 53 h 61"/>
              <a:gd name="T2" fmla="*/ 8 w 62"/>
              <a:gd name="T3" fmla="*/ 45 h 61"/>
              <a:gd name="T4" fmla="*/ 17 w 62"/>
              <a:gd name="T5" fmla="*/ 8 h 61"/>
              <a:gd name="T6" fmla="*/ 54 w 62"/>
              <a:gd name="T7" fmla="*/ 16 h 61"/>
              <a:gd name="T8" fmla="*/ 45 w 62"/>
              <a:gd name="T9" fmla="*/ 53 h 61"/>
            </a:gdLst>
            <a:ahLst/>
            <a:cxnLst>
              <a:cxn ang="0">
                <a:pos x="T0" y="T1"/>
              </a:cxn>
              <a:cxn ang="0">
                <a:pos x="T2" y="T3"/>
              </a:cxn>
              <a:cxn ang="0">
                <a:pos x="T4" y="T5"/>
              </a:cxn>
              <a:cxn ang="0">
                <a:pos x="T6" y="T7"/>
              </a:cxn>
              <a:cxn ang="0">
                <a:pos x="T8" y="T9"/>
              </a:cxn>
            </a:cxnLst>
            <a:rect l="0" t="0" r="r" b="b"/>
            <a:pathLst>
              <a:path w="62" h="61">
                <a:moveTo>
                  <a:pt x="45" y="53"/>
                </a:moveTo>
                <a:cubicBezTo>
                  <a:pt x="33" y="61"/>
                  <a:pt x="16" y="57"/>
                  <a:pt x="8" y="45"/>
                </a:cubicBezTo>
                <a:cubicBezTo>
                  <a:pt x="0" y="32"/>
                  <a:pt x="4" y="16"/>
                  <a:pt x="17" y="8"/>
                </a:cubicBezTo>
                <a:cubicBezTo>
                  <a:pt x="29" y="0"/>
                  <a:pt x="46" y="3"/>
                  <a:pt x="54" y="16"/>
                </a:cubicBezTo>
                <a:cubicBezTo>
                  <a:pt x="62" y="28"/>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Freeform 69">
            <a:extLst>
              <a:ext uri="{FF2B5EF4-FFF2-40B4-BE49-F238E27FC236}">
                <a16:creationId xmlns:a16="http://schemas.microsoft.com/office/drawing/2014/main" id="{20C1E29A-FADE-47BD-8EB1-6ED3F745DBC1}"/>
              </a:ext>
            </a:extLst>
          </p:cNvPr>
          <p:cNvSpPr>
            <a:spLocks/>
          </p:cNvSpPr>
          <p:nvPr/>
        </p:nvSpPr>
        <p:spPr bwMode="auto">
          <a:xfrm>
            <a:off x="6070846" y="3519228"/>
            <a:ext cx="148800" cy="148800"/>
          </a:xfrm>
          <a:custGeom>
            <a:avLst/>
            <a:gdLst>
              <a:gd name="T0" fmla="*/ 45 w 62"/>
              <a:gd name="T1" fmla="*/ 54 h 62"/>
              <a:gd name="T2" fmla="*/ 43 w 62"/>
              <a:gd name="T3" fmla="*/ 51 h 62"/>
              <a:gd name="T4" fmla="*/ 31 w 62"/>
              <a:gd name="T5" fmla="*/ 54 h 62"/>
              <a:gd name="T6" fmla="*/ 12 w 62"/>
              <a:gd name="T7" fmla="*/ 44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1 h 62"/>
              <a:gd name="T20" fmla="*/ 45 w 62"/>
              <a:gd name="T21" fmla="*/ 54 h 62"/>
              <a:gd name="T22" fmla="*/ 48 w 62"/>
              <a:gd name="T23" fmla="*/ 57 h 62"/>
              <a:gd name="T24" fmla="*/ 62 w 62"/>
              <a:gd name="T25" fmla="*/ 31 h 62"/>
              <a:gd name="T26" fmla="*/ 57 w 62"/>
              <a:gd name="T27" fmla="*/ 15 h 62"/>
              <a:gd name="T28" fmla="*/ 31 w 62"/>
              <a:gd name="T29" fmla="*/ 0 h 62"/>
              <a:gd name="T30" fmla="*/ 14 w 62"/>
              <a:gd name="T31" fmla="*/ 5 h 62"/>
              <a:gd name="T32" fmla="*/ 0 w 62"/>
              <a:gd name="T33" fmla="*/ 31 h 62"/>
              <a:gd name="T34" fmla="*/ 5 w 62"/>
              <a:gd name="T35" fmla="*/ 48 h 62"/>
              <a:gd name="T36" fmla="*/ 31 w 62"/>
              <a:gd name="T37" fmla="*/ 62 h 62"/>
              <a:gd name="T38" fmla="*/ 48 w 62"/>
              <a:gd name="T39" fmla="*/ 57 h 62"/>
              <a:gd name="T40" fmla="*/ 45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5" y="54"/>
                </a:moveTo>
                <a:cubicBezTo>
                  <a:pt x="43" y="51"/>
                  <a:pt x="43" y="51"/>
                  <a:pt x="43" y="51"/>
                </a:cubicBezTo>
                <a:cubicBezTo>
                  <a:pt x="39" y="53"/>
                  <a:pt x="35" y="54"/>
                  <a:pt x="31" y="54"/>
                </a:cubicBezTo>
                <a:cubicBezTo>
                  <a:pt x="23" y="54"/>
                  <a:pt x="16" y="50"/>
                  <a:pt x="12" y="44"/>
                </a:cubicBezTo>
                <a:cubicBezTo>
                  <a:pt x="9" y="40"/>
                  <a:pt x="8" y="35"/>
                  <a:pt x="8" y="31"/>
                </a:cubicBezTo>
                <a:cubicBezTo>
                  <a:pt x="8" y="24"/>
                  <a:pt x="12" y="16"/>
                  <a:pt x="19" y="12"/>
                </a:cubicBezTo>
                <a:cubicBezTo>
                  <a:pt x="23" y="10"/>
                  <a:pt x="27" y="8"/>
                  <a:pt x="31" y="8"/>
                </a:cubicBezTo>
                <a:cubicBezTo>
                  <a:pt x="39" y="8"/>
                  <a:pt x="46" y="12"/>
                  <a:pt x="50" y="19"/>
                </a:cubicBezTo>
                <a:cubicBezTo>
                  <a:pt x="53" y="23"/>
                  <a:pt x="54" y="27"/>
                  <a:pt x="54" y="31"/>
                </a:cubicBezTo>
                <a:cubicBezTo>
                  <a:pt x="54" y="39"/>
                  <a:pt x="50" y="46"/>
                  <a:pt x="43" y="51"/>
                </a:cubicBezTo>
                <a:cubicBezTo>
                  <a:pt x="45" y="54"/>
                  <a:pt x="45" y="54"/>
                  <a:pt x="45" y="54"/>
                </a:cubicBezTo>
                <a:cubicBezTo>
                  <a:pt x="48" y="57"/>
                  <a:pt x="48" y="57"/>
                  <a:pt x="48" y="57"/>
                </a:cubicBezTo>
                <a:cubicBezTo>
                  <a:pt x="57" y="51"/>
                  <a:pt x="62" y="41"/>
                  <a:pt x="62" y="31"/>
                </a:cubicBezTo>
                <a:cubicBezTo>
                  <a:pt x="62" y="26"/>
                  <a:pt x="60" y="20"/>
                  <a:pt x="57" y="15"/>
                </a:cubicBezTo>
                <a:cubicBezTo>
                  <a:pt x="51" y="5"/>
                  <a:pt x="41" y="0"/>
                  <a:pt x="31" y="0"/>
                </a:cubicBezTo>
                <a:cubicBezTo>
                  <a:pt x="25" y="0"/>
                  <a:pt x="20" y="2"/>
                  <a:pt x="14" y="5"/>
                </a:cubicBezTo>
                <a:cubicBezTo>
                  <a:pt x="5" y="11"/>
                  <a:pt x="0" y="21"/>
                  <a:pt x="0" y="31"/>
                </a:cubicBezTo>
                <a:cubicBezTo>
                  <a:pt x="0" y="37"/>
                  <a:pt x="2" y="43"/>
                  <a:pt x="5" y="48"/>
                </a:cubicBezTo>
                <a:cubicBezTo>
                  <a:pt x="11" y="57"/>
                  <a:pt x="21" y="62"/>
                  <a:pt x="31" y="62"/>
                </a:cubicBezTo>
                <a:cubicBezTo>
                  <a:pt x="37" y="62"/>
                  <a:pt x="42" y="61"/>
                  <a:pt x="48" y="57"/>
                </a:cubicBezTo>
                <a:lnTo>
                  <a:pt x="45"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Freeform 70">
            <a:extLst>
              <a:ext uri="{FF2B5EF4-FFF2-40B4-BE49-F238E27FC236}">
                <a16:creationId xmlns:a16="http://schemas.microsoft.com/office/drawing/2014/main" id="{E93B88B2-7C43-41C7-9DC2-E391E11CC8D1}"/>
              </a:ext>
            </a:extLst>
          </p:cNvPr>
          <p:cNvSpPr>
            <a:spLocks/>
          </p:cNvSpPr>
          <p:nvPr/>
        </p:nvSpPr>
        <p:spPr bwMode="auto">
          <a:xfrm>
            <a:off x="6711597" y="2488762"/>
            <a:ext cx="146776" cy="145763"/>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Freeform 71">
            <a:extLst>
              <a:ext uri="{FF2B5EF4-FFF2-40B4-BE49-F238E27FC236}">
                <a16:creationId xmlns:a16="http://schemas.microsoft.com/office/drawing/2014/main" id="{0E5C410F-4305-4859-989D-3ABBBB235C96}"/>
              </a:ext>
            </a:extLst>
          </p:cNvPr>
          <p:cNvSpPr>
            <a:spLocks/>
          </p:cNvSpPr>
          <p:nvPr/>
        </p:nvSpPr>
        <p:spPr bwMode="auto">
          <a:xfrm>
            <a:off x="6711597" y="2488762"/>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1"/>
                  <a:pt x="14" y="5"/>
                </a:cubicBezTo>
                <a:cubicBezTo>
                  <a:pt x="5" y="11"/>
                  <a:pt x="0" y="21"/>
                  <a:pt x="0" y="31"/>
                </a:cubicBezTo>
                <a:cubicBezTo>
                  <a:pt x="0" y="36"/>
                  <a:pt x="1" y="42"/>
                  <a:pt x="4" y="47"/>
                </a:cubicBezTo>
                <a:cubicBezTo>
                  <a:pt x="10" y="57"/>
                  <a:pt x="20" y="62"/>
                  <a:pt x="30" y="62"/>
                </a:cubicBezTo>
                <a:cubicBezTo>
                  <a:pt x="36" y="62"/>
                  <a:pt x="42" y="60"/>
                  <a:pt x="47" y="57"/>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Freeform 72">
            <a:extLst>
              <a:ext uri="{FF2B5EF4-FFF2-40B4-BE49-F238E27FC236}">
                <a16:creationId xmlns:a16="http://schemas.microsoft.com/office/drawing/2014/main" id="{CB2567C0-6C3B-48AE-98B1-A3D8EF71C0C1}"/>
              </a:ext>
            </a:extLst>
          </p:cNvPr>
          <p:cNvSpPr>
            <a:spLocks/>
          </p:cNvSpPr>
          <p:nvPr/>
        </p:nvSpPr>
        <p:spPr bwMode="auto">
          <a:xfrm>
            <a:off x="7173182" y="4222739"/>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2" y="61"/>
                  <a:pt x="16" y="58"/>
                  <a:pt x="8" y="45"/>
                </a:cubicBezTo>
                <a:cubicBezTo>
                  <a:pt x="0" y="33"/>
                  <a:pt x="4" y="16"/>
                  <a:pt x="16" y="8"/>
                </a:cubicBezTo>
                <a:cubicBezTo>
                  <a:pt x="29" y="0"/>
                  <a:pt x="45" y="4"/>
                  <a:pt x="53" y="16"/>
                </a:cubicBezTo>
                <a:cubicBezTo>
                  <a:pt x="61" y="29"/>
                  <a:pt x="57" y="46"/>
                  <a:pt x="45"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73">
            <a:extLst>
              <a:ext uri="{FF2B5EF4-FFF2-40B4-BE49-F238E27FC236}">
                <a16:creationId xmlns:a16="http://schemas.microsoft.com/office/drawing/2014/main" id="{DA756EF4-1770-42FC-BD92-CB50B7EEEF99}"/>
              </a:ext>
            </a:extLst>
          </p:cNvPr>
          <p:cNvSpPr>
            <a:spLocks/>
          </p:cNvSpPr>
          <p:nvPr/>
        </p:nvSpPr>
        <p:spPr bwMode="auto">
          <a:xfrm>
            <a:off x="7173182" y="4222739"/>
            <a:ext cx="146776" cy="148800"/>
          </a:xfrm>
          <a:custGeom>
            <a:avLst/>
            <a:gdLst>
              <a:gd name="T0" fmla="*/ 45 w 61"/>
              <a:gd name="T1" fmla="*/ 53 h 62"/>
              <a:gd name="T2" fmla="*/ 43 w 61"/>
              <a:gd name="T3" fmla="*/ 50 h 62"/>
              <a:gd name="T4" fmla="*/ 30 w 61"/>
              <a:gd name="T5" fmla="*/ 54 h 62"/>
              <a:gd name="T6" fmla="*/ 11 w 61"/>
              <a:gd name="T7" fmla="*/ 43 h 62"/>
              <a:gd name="T8" fmla="*/ 8 w 61"/>
              <a:gd name="T9" fmla="*/ 31 h 62"/>
              <a:gd name="T10" fmla="*/ 18 w 61"/>
              <a:gd name="T11" fmla="*/ 12 h 62"/>
              <a:gd name="T12" fmla="*/ 30 w 61"/>
              <a:gd name="T13" fmla="*/ 8 h 62"/>
              <a:gd name="T14" fmla="*/ 50 w 61"/>
              <a:gd name="T15" fmla="*/ 19 h 62"/>
              <a:gd name="T16" fmla="*/ 53 w 61"/>
              <a:gd name="T17" fmla="*/ 31 h 62"/>
              <a:gd name="T18" fmla="*/ 43 w 61"/>
              <a:gd name="T19" fmla="*/ 50 h 62"/>
              <a:gd name="T20" fmla="*/ 45 w 61"/>
              <a:gd name="T21" fmla="*/ 53 h 62"/>
              <a:gd name="T22" fmla="*/ 47 w 61"/>
              <a:gd name="T23" fmla="*/ 57 h 62"/>
              <a:gd name="T24" fmla="*/ 61 w 61"/>
              <a:gd name="T25" fmla="*/ 31 h 62"/>
              <a:gd name="T26" fmla="*/ 57 w 61"/>
              <a:gd name="T27" fmla="*/ 14 h 62"/>
              <a:gd name="T28" fmla="*/ 30 w 61"/>
              <a:gd name="T29" fmla="*/ 0 h 62"/>
              <a:gd name="T30" fmla="*/ 14 w 61"/>
              <a:gd name="T31" fmla="*/ 5 h 62"/>
              <a:gd name="T32" fmla="*/ 0 w 61"/>
              <a:gd name="T33" fmla="*/ 31 h 62"/>
              <a:gd name="T34" fmla="*/ 4 w 61"/>
              <a:gd name="T35" fmla="*/ 47 h 62"/>
              <a:gd name="T36" fmla="*/ 30 w 61"/>
              <a:gd name="T37" fmla="*/ 62 h 62"/>
              <a:gd name="T38" fmla="*/ 47 w 61"/>
              <a:gd name="T39" fmla="*/ 57 h 62"/>
              <a:gd name="T40" fmla="*/ 45 w 61"/>
              <a:gd name="T41"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2">
                <a:moveTo>
                  <a:pt x="45" y="53"/>
                </a:moveTo>
                <a:cubicBezTo>
                  <a:pt x="43" y="50"/>
                  <a:pt x="43" y="50"/>
                  <a:pt x="43" y="50"/>
                </a:cubicBezTo>
                <a:cubicBezTo>
                  <a:pt x="39" y="53"/>
                  <a:pt x="35"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5" y="53"/>
                  <a:pt x="45" y="53"/>
                  <a:pt x="45" y="53"/>
                </a:cubicBezTo>
                <a:cubicBezTo>
                  <a:pt x="47" y="57"/>
                  <a:pt x="47" y="57"/>
                  <a:pt x="47" y="57"/>
                </a:cubicBezTo>
                <a:cubicBezTo>
                  <a:pt x="56" y="51"/>
                  <a:pt x="61" y="41"/>
                  <a:pt x="61" y="31"/>
                </a:cubicBezTo>
                <a:cubicBezTo>
                  <a:pt x="61" y="25"/>
                  <a:pt x="60" y="19"/>
                  <a:pt x="57" y="14"/>
                </a:cubicBezTo>
                <a:cubicBezTo>
                  <a:pt x="51" y="5"/>
                  <a:pt x="41" y="0"/>
                  <a:pt x="30" y="0"/>
                </a:cubicBezTo>
                <a:cubicBezTo>
                  <a:pt x="25" y="0"/>
                  <a:pt x="19" y="2"/>
                  <a:pt x="14" y="5"/>
                </a:cubicBezTo>
                <a:cubicBezTo>
                  <a:pt x="5" y="11"/>
                  <a:pt x="0" y="21"/>
                  <a:pt x="0" y="31"/>
                </a:cubicBezTo>
                <a:cubicBezTo>
                  <a:pt x="0" y="37"/>
                  <a:pt x="1" y="42"/>
                  <a:pt x="4" y="47"/>
                </a:cubicBezTo>
                <a:cubicBezTo>
                  <a:pt x="10" y="57"/>
                  <a:pt x="20" y="62"/>
                  <a:pt x="30" y="62"/>
                </a:cubicBezTo>
                <a:cubicBezTo>
                  <a:pt x="36" y="62"/>
                  <a:pt x="42" y="60"/>
                  <a:pt x="47" y="57"/>
                </a:cubicBezTo>
                <a:cubicBezTo>
                  <a:pt x="45" y="53"/>
                  <a:pt x="45" y="53"/>
                  <a:pt x="45" y="53"/>
                </a:cubicBezTo>
              </a:path>
            </a:pathLst>
          </a:custGeom>
          <a:solidFill>
            <a:srgbClr val="969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74">
            <a:extLst>
              <a:ext uri="{FF2B5EF4-FFF2-40B4-BE49-F238E27FC236}">
                <a16:creationId xmlns:a16="http://schemas.microsoft.com/office/drawing/2014/main" id="{2EF5C2E5-C765-46ED-AD1F-749321565B97}"/>
              </a:ext>
            </a:extLst>
          </p:cNvPr>
          <p:cNvSpPr>
            <a:spLocks/>
          </p:cNvSpPr>
          <p:nvPr/>
        </p:nvSpPr>
        <p:spPr bwMode="auto">
          <a:xfrm>
            <a:off x="7173182" y="4213629"/>
            <a:ext cx="127543" cy="69845"/>
          </a:xfrm>
          <a:custGeom>
            <a:avLst/>
            <a:gdLst>
              <a:gd name="T0" fmla="*/ 29 w 53"/>
              <a:gd name="T1" fmla="*/ 0 h 29"/>
              <a:gd name="T2" fmla="*/ 0 w 53"/>
              <a:gd name="T3" fmla="*/ 29 h 29"/>
              <a:gd name="T4" fmla="*/ 14 w 53"/>
              <a:gd name="T5" fmla="*/ 9 h 29"/>
              <a:gd name="T6" fmla="*/ 30 w 53"/>
              <a:gd name="T7" fmla="*/ 4 h 29"/>
              <a:gd name="T8" fmla="*/ 30 w 53"/>
              <a:gd name="T9" fmla="*/ 4 h 29"/>
              <a:gd name="T10" fmla="*/ 53 w 53"/>
              <a:gd name="T11" fmla="*/ 14 h 29"/>
              <a:gd name="T12" fmla="*/ 29 w 53"/>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3" h="29">
                <a:moveTo>
                  <a:pt x="29" y="0"/>
                </a:moveTo>
                <a:cubicBezTo>
                  <a:pt x="13" y="0"/>
                  <a:pt x="0" y="13"/>
                  <a:pt x="0" y="29"/>
                </a:cubicBezTo>
                <a:cubicBezTo>
                  <a:pt x="2" y="21"/>
                  <a:pt x="6" y="14"/>
                  <a:pt x="14" y="9"/>
                </a:cubicBezTo>
                <a:cubicBezTo>
                  <a:pt x="19" y="6"/>
                  <a:pt x="25" y="4"/>
                  <a:pt x="30" y="4"/>
                </a:cubicBezTo>
                <a:cubicBezTo>
                  <a:pt x="30" y="4"/>
                  <a:pt x="30" y="4"/>
                  <a:pt x="30" y="4"/>
                </a:cubicBezTo>
                <a:cubicBezTo>
                  <a:pt x="39" y="4"/>
                  <a:pt x="47" y="7"/>
                  <a:pt x="53" y="14"/>
                </a:cubicBezTo>
                <a:cubicBezTo>
                  <a:pt x="48" y="6"/>
                  <a:pt x="39" y="0"/>
                  <a:pt x="29" y="0"/>
                </a:cubicBezTo>
              </a:path>
            </a:pathLst>
          </a:custGeom>
          <a:solidFill>
            <a:srgbClr val="87BF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75">
            <a:extLst>
              <a:ext uri="{FF2B5EF4-FFF2-40B4-BE49-F238E27FC236}">
                <a16:creationId xmlns:a16="http://schemas.microsoft.com/office/drawing/2014/main" id="{CBE77F58-DD4D-4ED3-BDD1-5DBC91243EC8}"/>
              </a:ext>
            </a:extLst>
          </p:cNvPr>
          <p:cNvSpPr>
            <a:spLocks noEditPoints="1"/>
          </p:cNvSpPr>
          <p:nvPr/>
        </p:nvSpPr>
        <p:spPr bwMode="auto">
          <a:xfrm>
            <a:off x="7192414" y="4241972"/>
            <a:ext cx="108310" cy="110335"/>
          </a:xfrm>
          <a:custGeom>
            <a:avLst/>
            <a:gdLst>
              <a:gd name="T0" fmla="*/ 21 w 45"/>
              <a:gd name="T1" fmla="*/ 34 h 46"/>
              <a:gd name="T2" fmla="*/ 4 w 45"/>
              <a:gd name="T3" fmla="*/ 17 h 46"/>
              <a:gd name="T4" fmla="*/ 21 w 45"/>
              <a:gd name="T5" fmla="*/ 0 h 46"/>
              <a:gd name="T6" fmla="*/ 38 w 45"/>
              <a:gd name="T7" fmla="*/ 17 h 46"/>
              <a:gd name="T8" fmla="*/ 21 w 45"/>
              <a:gd name="T9" fmla="*/ 34 h 46"/>
              <a:gd name="T10" fmla="*/ 22 w 45"/>
              <a:gd name="T11" fmla="*/ 0 h 46"/>
              <a:gd name="T12" fmla="*/ 10 w 45"/>
              <a:gd name="T13" fmla="*/ 4 h 46"/>
              <a:gd name="T14" fmla="*/ 0 w 45"/>
              <a:gd name="T15" fmla="*/ 23 h 46"/>
              <a:gd name="T16" fmla="*/ 3 w 45"/>
              <a:gd name="T17" fmla="*/ 35 h 46"/>
              <a:gd name="T18" fmla="*/ 22 w 45"/>
              <a:gd name="T19" fmla="*/ 46 h 46"/>
              <a:gd name="T20" fmla="*/ 25 w 45"/>
              <a:gd name="T21" fmla="*/ 46 h 46"/>
              <a:gd name="T22" fmla="*/ 32 w 45"/>
              <a:gd name="T23" fmla="*/ 43 h 46"/>
              <a:gd name="T24" fmla="*/ 35 w 45"/>
              <a:gd name="T25" fmla="*/ 42 h 46"/>
              <a:gd name="T26" fmla="*/ 35 w 45"/>
              <a:gd name="T27" fmla="*/ 42 h 46"/>
              <a:gd name="T28" fmla="*/ 45 w 45"/>
              <a:gd name="T29" fmla="*/ 23 h 46"/>
              <a:gd name="T30" fmla="*/ 42 w 45"/>
              <a:gd name="T31" fmla="*/ 11 h 46"/>
              <a:gd name="T32" fmla="*/ 22 w 45"/>
              <a:gd name="T3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6">
                <a:moveTo>
                  <a:pt x="21" y="34"/>
                </a:moveTo>
                <a:cubicBezTo>
                  <a:pt x="12" y="34"/>
                  <a:pt x="4" y="26"/>
                  <a:pt x="4" y="17"/>
                </a:cubicBezTo>
                <a:cubicBezTo>
                  <a:pt x="4" y="8"/>
                  <a:pt x="12" y="0"/>
                  <a:pt x="21" y="0"/>
                </a:cubicBezTo>
                <a:cubicBezTo>
                  <a:pt x="30" y="0"/>
                  <a:pt x="38" y="8"/>
                  <a:pt x="38" y="17"/>
                </a:cubicBezTo>
                <a:cubicBezTo>
                  <a:pt x="38" y="26"/>
                  <a:pt x="30" y="34"/>
                  <a:pt x="21" y="34"/>
                </a:cubicBezTo>
                <a:moveTo>
                  <a:pt x="22" y="0"/>
                </a:moveTo>
                <a:cubicBezTo>
                  <a:pt x="18" y="0"/>
                  <a:pt x="14" y="1"/>
                  <a:pt x="10" y="4"/>
                </a:cubicBezTo>
                <a:cubicBezTo>
                  <a:pt x="3" y="8"/>
                  <a:pt x="0" y="15"/>
                  <a:pt x="0" y="23"/>
                </a:cubicBezTo>
                <a:cubicBezTo>
                  <a:pt x="0" y="27"/>
                  <a:pt x="1" y="31"/>
                  <a:pt x="3" y="35"/>
                </a:cubicBezTo>
                <a:cubicBezTo>
                  <a:pt x="8" y="42"/>
                  <a:pt x="15" y="46"/>
                  <a:pt x="22" y="46"/>
                </a:cubicBezTo>
                <a:cubicBezTo>
                  <a:pt x="23" y="46"/>
                  <a:pt x="24" y="46"/>
                  <a:pt x="25" y="46"/>
                </a:cubicBezTo>
                <a:cubicBezTo>
                  <a:pt x="27" y="45"/>
                  <a:pt x="30" y="44"/>
                  <a:pt x="32" y="43"/>
                </a:cubicBezTo>
                <a:cubicBezTo>
                  <a:pt x="33" y="43"/>
                  <a:pt x="34" y="43"/>
                  <a:pt x="35" y="42"/>
                </a:cubicBezTo>
                <a:cubicBezTo>
                  <a:pt x="35" y="42"/>
                  <a:pt x="35" y="42"/>
                  <a:pt x="35" y="42"/>
                </a:cubicBezTo>
                <a:cubicBezTo>
                  <a:pt x="42" y="38"/>
                  <a:pt x="45" y="30"/>
                  <a:pt x="45" y="23"/>
                </a:cubicBezTo>
                <a:cubicBezTo>
                  <a:pt x="45" y="19"/>
                  <a:pt x="44" y="14"/>
                  <a:pt x="42" y="11"/>
                </a:cubicBezTo>
                <a:cubicBezTo>
                  <a:pt x="37" y="4"/>
                  <a:pt x="30" y="0"/>
                  <a:pt x="22" y="0"/>
                </a:cubicBezTo>
              </a:path>
            </a:pathLst>
          </a:custGeom>
          <a:solidFill>
            <a:srgbClr val="86BF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76">
            <a:extLst>
              <a:ext uri="{FF2B5EF4-FFF2-40B4-BE49-F238E27FC236}">
                <a16:creationId xmlns:a16="http://schemas.microsoft.com/office/drawing/2014/main" id="{F79DEA51-B21E-49EF-8156-138F7029C94A}"/>
              </a:ext>
            </a:extLst>
          </p:cNvPr>
          <p:cNvSpPr>
            <a:spLocks/>
          </p:cNvSpPr>
          <p:nvPr/>
        </p:nvSpPr>
        <p:spPr bwMode="auto">
          <a:xfrm>
            <a:off x="7173182" y="4222739"/>
            <a:ext cx="138678" cy="129567"/>
          </a:xfrm>
          <a:custGeom>
            <a:avLst/>
            <a:gdLst>
              <a:gd name="T0" fmla="*/ 30 w 58"/>
              <a:gd name="T1" fmla="*/ 0 h 54"/>
              <a:gd name="T2" fmla="*/ 30 w 58"/>
              <a:gd name="T3" fmla="*/ 0 h 54"/>
              <a:gd name="T4" fmla="*/ 14 w 58"/>
              <a:gd name="T5" fmla="*/ 5 h 54"/>
              <a:gd name="T6" fmla="*/ 0 w 58"/>
              <a:gd name="T7" fmla="*/ 25 h 54"/>
              <a:gd name="T8" fmla="*/ 0 w 58"/>
              <a:gd name="T9" fmla="*/ 25 h 54"/>
              <a:gd name="T10" fmla="*/ 29 w 58"/>
              <a:gd name="T11" fmla="*/ 54 h 54"/>
              <a:gd name="T12" fmla="*/ 33 w 58"/>
              <a:gd name="T13" fmla="*/ 54 h 54"/>
              <a:gd name="T14" fmla="*/ 30 w 58"/>
              <a:gd name="T15" fmla="*/ 54 h 54"/>
              <a:gd name="T16" fmla="*/ 11 w 58"/>
              <a:gd name="T17" fmla="*/ 43 h 54"/>
              <a:gd name="T18" fmla="*/ 8 w 58"/>
              <a:gd name="T19" fmla="*/ 31 h 54"/>
              <a:gd name="T20" fmla="*/ 18 w 58"/>
              <a:gd name="T21" fmla="*/ 12 h 54"/>
              <a:gd name="T22" fmla="*/ 30 w 58"/>
              <a:gd name="T23" fmla="*/ 8 h 54"/>
              <a:gd name="T24" fmla="*/ 50 w 58"/>
              <a:gd name="T25" fmla="*/ 19 h 54"/>
              <a:gd name="T26" fmla="*/ 53 w 58"/>
              <a:gd name="T27" fmla="*/ 31 h 54"/>
              <a:gd name="T28" fmla="*/ 43 w 58"/>
              <a:gd name="T29" fmla="*/ 50 h 54"/>
              <a:gd name="T30" fmla="*/ 43 w 58"/>
              <a:gd name="T31" fmla="*/ 50 h 54"/>
              <a:gd name="T32" fmla="*/ 40 w 58"/>
              <a:gd name="T33" fmla="*/ 51 h 54"/>
              <a:gd name="T34" fmla="*/ 58 w 58"/>
              <a:gd name="T35" fmla="*/ 25 h 54"/>
              <a:gd name="T36" fmla="*/ 53 w 58"/>
              <a:gd name="T37" fmla="*/ 10 h 54"/>
              <a:gd name="T38" fmla="*/ 30 w 58"/>
              <a:gd name="T3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4">
                <a:moveTo>
                  <a:pt x="30" y="0"/>
                </a:moveTo>
                <a:cubicBezTo>
                  <a:pt x="30" y="0"/>
                  <a:pt x="30" y="0"/>
                  <a:pt x="30" y="0"/>
                </a:cubicBezTo>
                <a:cubicBezTo>
                  <a:pt x="25" y="0"/>
                  <a:pt x="19" y="2"/>
                  <a:pt x="14" y="5"/>
                </a:cubicBezTo>
                <a:cubicBezTo>
                  <a:pt x="6" y="10"/>
                  <a:pt x="2" y="17"/>
                  <a:pt x="0" y="25"/>
                </a:cubicBezTo>
                <a:cubicBezTo>
                  <a:pt x="0" y="25"/>
                  <a:pt x="0" y="25"/>
                  <a:pt x="0" y="25"/>
                </a:cubicBezTo>
                <a:cubicBezTo>
                  <a:pt x="0" y="41"/>
                  <a:pt x="13" y="54"/>
                  <a:pt x="29" y="54"/>
                </a:cubicBezTo>
                <a:cubicBezTo>
                  <a:pt x="30" y="54"/>
                  <a:pt x="31" y="54"/>
                  <a:pt x="33" y="54"/>
                </a:cubicBezTo>
                <a:cubicBezTo>
                  <a:pt x="32" y="54"/>
                  <a:pt x="31" y="54"/>
                  <a:pt x="30" y="54"/>
                </a:cubicBezTo>
                <a:cubicBezTo>
                  <a:pt x="23" y="54"/>
                  <a:pt x="16" y="50"/>
                  <a:pt x="11" y="43"/>
                </a:cubicBezTo>
                <a:cubicBezTo>
                  <a:pt x="9" y="39"/>
                  <a:pt x="8" y="35"/>
                  <a:pt x="8" y="31"/>
                </a:cubicBezTo>
                <a:cubicBezTo>
                  <a:pt x="8" y="23"/>
                  <a:pt x="11" y="16"/>
                  <a:pt x="18" y="12"/>
                </a:cubicBezTo>
                <a:cubicBezTo>
                  <a:pt x="22" y="9"/>
                  <a:pt x="26" y="8"/>
                  <a:pt x="30" y="8"/>
                </a:cubicBezTo>
                <a:cubicBezTo>
                  <a:pt x="38" y="8"/>
                  <a:pt x="45" y="12"/>
                  <a:pt x="50" y="19"/>
                </a:cubicBezTo>
                <a:cubicBezTo>
                  <a:pt x="52" y="22"/>
                  <a:pt x="53" y="27"/>
                  <a:pt x="53" y="31"/>
                </a:cubicBezTo>
                <a:cubicBezTo>
                  <a:pt x="53" y="38"/>
                  <a:pt x="50" y="46"/>
                  <a:pt x="43" y="50"/>
                </a:cubicBezTo>
                <a:cubicBezTo>
                  <a:pt x="43" y="50"/>
                  <a:pt x="43" y="50"/>
                  <a:pt x="43" y="50"/>
                </a:cubicBezTo>
                <a:cubicBezTo>
                  <a:pt x="42" y="51"/>
                  <a:pt x="41" y="51"/>
                  <a:pt x="40" y="51"/>
                </a:cubicBezTo>
                <a:cubicBezTo>
                  <a:pt x="50" y="47"/>
                  <a:pt x="58" y="37"/>
                  <a:pt x="58" y="25"/>
                </a:cubicBezTo>
                <a:cubicBezTo>
                  <a:pt x="58" y="20"/>
                  <a:pt x="56" y="14"/>
                  <a:pt x="53" y="10"/>
                </a:cubicBezTo>
                <a:cubicBezTo>
                  <a:pt x="47" y="3"/>
                  <a:pt x="39" y="0"/>
                  <a:pt x="30" y="0"/>
                </a:cubicBezTo>
              </a:path>
            </a:pathLst>
          </a:custGeom>
          <a:solidFill>
            <a:srgbClr val="6CAB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77">
            <a:extLst>
              <a:ext uri="{FF2B5EF4-FFF2-40B4-BE49-F238E27FC236}">
                <a16:creationId xmlns:a16="http://schemas.microsoft.com/office/drawing/2014/main" id="{E4CB22C5-F624-444C-B8AA-028084DABD28}"/>
              </a:ext>
            </a:extLst>
          </p:cNvPr>
          <p:cNvSpPr>
            <a:spLocks noEditPoints="1"/>
          </p:cNvSpPr>
          <p:nvPr/>
        </p:nvSpPr>
        <p:spPr bwMode="auto">
          <a:xfrm>
            <a:off x="7115484" y="4155931"/>
            <a:ext cx="254074" cy="254074"/>
          </a:xfrm>
          <a:custGeom>
            <a:avLst/>
            <a:gdLst>
              <a:gd name="T0" fmla="*/ 53 w 106"/>
              <a:gd name="T1" fmla="*/ 97 h 106"/>
              <a:gd name="T2" fmla="*/ 9 w 106"/>
              <a:gd name="T3" fmla="*/ 53 h 106"/>
              <a:gd name="T4" fmla="*/ 53 w 106"/>
              <a:gd name="T5" fmla="*/ 10 h 106"/>
              <a:gd name="T6" fmla="*/ 96 w 106"/>
              <a:gd name="T7" fmla="*/ 53 h 106"/>
              <a:gd name="T8" fmla="*/ 53 w 106"/>
              <a:gd name="T9" fmla="*/ 97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97"/>
                </a:moveTo>
                <a:cubicBezTo>
                  <a:pt x="29" y="97"/>
                  <a:pt x="9" y="77"/>
                  <a:pt x="9" y="53"/>
                </a:cubicBezTo>
                <a:cubicBezTo>
                  <a:pt x="9" y="29"/>
                  <a:pt x="29" y="10"/>
                  <a:pt x="53" y="10"/>
                </a:cubicBezTo>
                <a:cubicBezTo>
                  <a:pt x="77" y="10"/>
                  <a:pt x="96" y="29"/>
                  <a:pt x="96" y="53"/>
                </a:cubicBezTo>
                <a:cubicBezTo>
                  <a:pt x="96" y="77"/>
                  <a:pt x="77" y="97"/>
                  <a:pt x="53" y="97"/>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path>
            </a:pathLst>
          </a:custGeom>
          <a:solidFill>
            <a:srgbClr val="90C3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78">
            <a:extLst>
              <a:ext uri="{FF2B5EF4-FFF2-40B4-BE49-F238E27FC236}">
                <a16:creationId xmlns:a16="http://schemas.microsoft.com/office/drawing/2014/main" id="{8A229632-901D-4BB1-9F99-DCA13AE8421C}"/>
              </a:ext>
            </a:extLst>
          </p:cNvPr>
          <p:cNvSpPr>
            <a:spLocks noEditPoints="1"/>
          </p:cNvSpPr>
          <p:nvPr/>
        </p:nvSpPr>
        <p:spPr bwMode="auto">
          <a:xfrm>
            <a:off x="7066896" y="4110380"/>
            <a:ext cx="349225" cy="348213"/>
          </a:xfrm>
          <a:custGeom>
            <a:avLst/>
            <a:gdLst>
              <a:gd name="T0" fmla="*/ 73 w 145"/>
              <a:gd name="T1" fmla="*/ 138 h 145"/>
              <a:gd name="T2" fmla="*/ 7 w 145"/>
              <a:gd name="T3" fmla="*/ 74 h 145"/>
              <a:gd name="T4" fmla="*/ 7 w 145"/>
              <a:gd name="T5" fmla="*/ 72 h 145"/>
              <a:gd name="T6" fmla="*/ 73 w 145"/>
              <a:gd name="T7" fmla="*/ 6 h 145"/>
              <a:gd name="T8" fmla="*/ 139 w 145"/>
              <a:gd name="T9" fmla="*/ 72 h 145"/>
              <a:gd name="T10" fmla="*/ 73 w 145"/>
              <a:gd name="T11" fmla="*/ 138 h 145"/>
              <a:gd name="T12" fmla="*/ 73 w 145"/>
              <a:gd name="T13" fmla="*/ 0 h 145"/>
              <a:gd name="T14" fmla="*/ 0 w 145"/>
              <a:gd name="T15" fmla="*/ 72 h 145"/>
              <a:gd name="T16" fmla="*/ 0 w 145"/>
              <a:gd name="T17" fmla="*/ 74 h 145"/>
              <a:gd name="T18" fmla="*/ 73 w 145"/>
              <a:gd name="T19" fmla="*/ 145 h 145"/>
              <a:gd name="T20" fmla="*/ 145 w 145"/>
              <a:gd name="T21" fmla="*/ 72 h 145"/>
              <a:gd name="T22" fmla="*/ 73 w 145"/>
              <a:gd name="T2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5">
                <a:moveTo>
                  <a:pt x="73" y="138"/>
                </a:moveTo>
                <a:cubicBezTo>
                  <a:pt x="37" y="138"/>
                  <a:pt x="7" y="109"/>
                  <a:pt x="7" y="74"/>
                </a:cubicBezTo>
                <a:cubicBezTo>
                  <a:pt x="7" y="73"/>
                  <a:pt x="7" y="73"/>
                  <a:pt x="7" y="72"/>
                </a:cubicBezTo>
                <a:cubicBezTo>
                  <a:pt x="7" y="36"/>
                  <a:pt x="36" y="6"/>
                  <a:pt x="73" y="6"/>
                </a:cubicBezTo>
                <a:cubicBezTo>
                  <a:pt x="109" y="6"/>
                  <a:pt x="139" y="36"/>
                  <a:pt x="139" y="72"/>
                </a:cubicBezTo>
                <a:cubicBezTo>
                  <a:pt x="139" y="109"/>
                  <a:pt x="109" y="138"/>
                  <a:pt x="73" y="138"/>
                </a:cubicBezTo>
                <a:moveTo>
                  <a:pt x="73" y="0"/>
                </a:moveTo>
                <a:cubicBezTo>
                  <a:pt x="33" y="0"/>
                  <a:pt x="0" y="32"/>
                  <a:pt x="0" y="72"/>
                </a:cubicBezTo>
                <a:cubicBezTo>
                  <a:pt x="0" y="73"/>
                  <a:pt x="0" y="73"/>
                  <a:pt x="0" y="74"/>
                </a:cubicBezTo>
                <a:cubicBezTo>
                  <a:pt x="1" y="113"/>
                  <a:pt x="34" y="145"/>
                  <a:pt x="73" y="145"/>
                </a:cubicBezTo>
                <a:cubicBezTo>
                  <a:pt x="113" y="145"/>
                  <a:pt x="145" y="112"/>
                  <a:pt x="145" y="72"/>
                </a:cubicBezTo>
                <a:cubicBezTo>
                  <a:pt x="145" y="32"/>
                  <a:pt x="113" y="0"/>
                  <a:pt x="73" y="0"/>
                </a:cubicBezTo>
              </a:path>
            </a:pathLst>
          </a:custGeom>
          <a:solidFill>
            <a:srgbClr val="B9D7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79">
            <a:extLst>
              <a:ext uri="{FF2B5EF4-FFF2-40B4-BE49-F238E27FC236}">
                <a16:creationId xmlns:a16="http://schemas.microsoft.com/office/drawing/2014/main" id="{C48D60C8-8643-47AB-A12B-4E4A1ECB4E3D}"/>
              </a:ext>
            </a:extLst>
          </p:cNvPr>
          <p:cNvSpPr>
            <a:spLocks noEditPoints="1"/>
          </p:cNvSpPr>
          <p:nvPr/>
        </p:nvSpPr>
        <p:spPr bwMode="auto">
          <a:xfrm>
            <a:off x="7019320" y="4059768"/>
            <a:ext cx="446400" cy="446400"/>
          </a:xfrm>
          <a:custGeom>
            <a:avLst/>
            <a:gdLst>
              <a:gd name="T0" fmla="*/ 93 w 186"/>
              <a:gd name="T1" fmla="*/ 181 h 186"/>
              <a:gd name="T2" fmla="*/ 5 w 186"/>
              <a:gd name="T3" fmla="*/ 93 h 186"/>
              <a:gd name="T4" fmla="*/ 93 w 186"/>
              <a:gd name="T5" fmla="*/ 5 h 186"/>
              <a:gd name="T6" fmla="*/ 181 w 186"/>
              <a:gd name="T7" fmla="*/ 93 h 186"/>
              <a:gd name="T8" fmla="*/ 93 w 186"/>
              <a:gd name="T9" fmla="*/ 181 h 186"/>
              <a:gd name="T10" fmla="*/ 93 w 186"/>
              <a:gd name="T11" fmla="*/ 0 h 186"/>
              <a:gd name="T12" fmla="*/ 0 w 186"/>
              <a:gd name="T13" fmla="*/ 93 h 186"/>
              <a:gd name="T14" fmla="*/ 93 w 186"/>
              <a:gd name="T15" fmla="*/ 186 h 186"/>
              <a:gd name="T16" fmla="*/ 186 w 186"/>
              <a:gd name="T17" fmla="*/ 93 h 186"/>
              <a:gd name="T18" fmla="*/ 93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1"/>
                </a:moveTo>
                <a:cubicBezTo>
                  <a:pt x="44" y="181"/>
                  <a:pt x="5" y="142"/>
                  <a:pt x="5" y="93"/>
                </a:cubicBezTo>
                <a:cubicBezTo>
                  <a:pt x="5" y="45"/>
                  <a:pt x="44" y="5"/>
                  <a:pt x="93" y="5"/>
                </a:cubicBezTo>
                <a:cubicBezTo>
                  <a:pt x="141" y="5"/>
                  <a:pt x="181" y="45"/>
                  <a:pt x="181" y="93"/>
                </a:cubicBezTo>
                <a:cubicBezTo>
                  <a:pt x="181" y="142"/>
                  <a:pt x="141" y="181"/>
                  <a:pt x="93" y="181"/>
                </a:cubicBezTo>
                <a:moveTo>
                  <a:pt x="93" y="0"/>
                </a:moveTo>
                <a:cubicBezTo>
                  <a:pt x="42" y="0"/>
                  <a:pt x="0" y="42"/>
                  <a:pt x="0" y="93"/>
                </a:cubicBezTo>
                <a:cubicBezTo>
                  <a:pt x="0" y="144"/>
                  <a:pt x="42" y="186"/>
                  <a:pt x="93" y="186"/>
                </a:cubicBezTo>
                <a:cubicBezTo>
                  <a:pt x="144" y="186"/>
                  <a:pt x="186" y="144"/>
                  <a:pt x="186" y="93"/>
                </a:cubicBezTo>
                <a:cubicBezTo>
                  <a:pt x="186" y="42"/>
                  <a:pt x="144" y="0"/>
                  <a:pt x="93" y="0"/>
                </a:cubicBezTo>
              </a:path>
            </a:pathLst>
          </a:custGeom>
          <a:solidFill>
            <a:srgbClr val="DEE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80">
            <a:extLst>
              <a:ext uri="{FF2B5EF4-FFF2-40B4-BE49-F238E27FC236}">
                <a16:creationId xmlns:a16="http://schemas.microsoft.com/office/drawing/2014/main" id="{2430A0EE-BF3F-4788-9F51-565C2BF8C23F}"/>
              </a:ext>
            </a:extLst>
          </p:cNvPr>
          <p:cNvSpPr>
            <a:spLocks noChangeArrowheads="1"/>
          </p:cNvSpPr>
          <p:nvPr/>
        </p:nvSpPr>
        <p:spPr bwMode="auto">
          <a:xfrm>
            <a:off x="7225818" y="4268290"/>
            <a:ext cx="31380" cy="31380"/>
          </a:xfrm>
          <a:prstGeom prst="ellipse">
            <a:avLst/>
          </a:prstGeom>
          <a:solidFill>
            <a:srgbClr val="5EAF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81">
            <a:extLst>
              <a:ext uri="{FF2B5EF4-FFF2-40B4-BE49-F238E27FC236}">
                <a16:creationId xmlns:a16="http://schemas.microsoft.com/office/drawing/2014/main" id="{4B1509E5-7E51-489F-8EB2-7F1CA976DF64}"/>
              </a:ext>
            </a:extLst>
          </p:cNvPr>
          <p:cNvSpPr>
            <a:spLocks/>
          </p:cNvSpPr>
          <p:nvPr/>
        </p:nvSpPr>
        <p:spPr bwMode="auto">
          <a:xfrm>
            <a:off x="5818796" y="5786659"/>
            <a:ext cx="11135" cy="0"/>
          </a:xfrm>
          <a:custGeom>
            <a:avLst/>
            <a:gdLst>
              <a:gd name="T0" fmla="*/ 11 w 11"/>
              <a:gd name="T1" fmla="*/ 0 w 11"/>
              <a:gd name="T2" fmla="*/ 11 w 11"/>
            </a:gdLst>
            <a:ahLst/>
            <a:cxnLst>
              <a:cxn ang="0">
                <a:pos x="T0" y="0"/>
              </a:cxn>
              <a:cxn ang="0">
                <a:pos x="T1" y="0"/>
              </a:cxn>
              <a:cxn ang="0">
                <a:pos x="T2" y="0"/>
              </a:cxn>
            </a:cxnLst>
            <a:rect l="0" t="0" r="r" b="b"/>
            <a:pathLst>
              <a:path w="11">
                <a:moveTo>
                  <a:pt x="11" y="0"/>
                </a:moveTo>
                <a:lnTo>
                  <a:pt x="0" y="0"/>
                </a:lnTo>
                <a:lnTo>
                  <a:pt x="11"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Line 82">
            <a:extLst>
              <a:ext uri="{FF2B5EF4-FFF2-40B4-BE49-F238E27FC236}">
                <a16:creationId xmlns:a16="http://schemas.microsoft.com/office/drawing/2014/main" id="{BB7189DE-7CA6-4D03-8D5B-97BE451C4162}"/>
              </a:ext>
            </a:extLst>
          </p:cNvPr>
          <p:cNvSpPr>
            <a:spLocks noChangeShapeType="1"/>
          </p:cNvSpPr>
          <p:nvPr/>
        </p:nvSpPr>
        <p:spPr bwMode="auto">
          <a:xfrm flipH="1">
            <a:off x="5818796" y="5786659"/>
            <a:ext cx="1113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83">
            <a:extLst>
              <a:ext uri="{FF2B5EF4-FFF2-40B4-BE49-F238E27FC236}">
                <a16:creationId xmlns:a16="http://schemas.microsoft.com/office/drawing/2014/main" id="{0AA23294-F586-4C34-9F0D-8FD3175B3A01}"/>
              </a:ext>
            </a:extLst>
          </p:cNvPr>
          <p:cNvSpPr>
            <a:spLocks/>
          </p:cNvSpPr>
          <p:nvPr/>
        </p:nvSpPr>
        <p:spPr bwMode="auto">
          <a:xfrm>
            <a:off x="6370470" y="2492811"/>
            <a:ext cx="1780541" cy="2856558"/>
          </a:xfrm>
          <a:custGeom>
            <a:avLst/>
            <a:gdLst>
              <a:gd name="T0" fmla="*/ 576 w 741"/>
              <a:gd name="T1" fmla="*/ 1189 h 1189"/>
              <a:gd name="T2" fmla="*/ 576 w 741"/>
              <a:gd name="T3" fmla="*/ 537 h 1189"/>
              <a:gd name="T4" fmla="*/ 664 w 741"/>
              <a:gd name="T5" fmla="*/ 537 h 1189"/>
              <a:gd name="T6" fmla="*/ 708 w 741"/>
              <a:gd name="T7" fmla="*/ 452 h 1189"/>
              <a:gd name="T8" fmla="*/ 429 w 741"/>
              <a:gd name="T9" fmla="*/ 47 h 1189"/>
              <a:gd name="T10" fmla="*/ 312 w 741"/>
              <a:gd name="T11" fmla="*/ 47 h 1189"/>
              <a:gd name="T12" fmla="*/ 32 w 741"/>
              <a:gd name="T13" fmla="*/ 452 h 1189"/>
              <a:gd name="T14" fmla="*/ 77 w 741"/>
              <a:gd name="T15" fmla="*/ 537 h 1189"/>
              <a:gd name="T16" fmla="*/ 165 w 741"/>
              <a:gd name="T17" fmla="*/ 537 h 1189"/>
              <a:gd name="T18" fmla="*/ 165 w 741"/>
              <a:gd name="T19" fmla="*/ 1189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189">
                <a:moveTo>
                  <a:pt x="576" y="1189"/>
                </a:moveTo>
                <a:cubicBezTo>
                  <a:pt x="576" y="537"/>
                  <a:pt x="576" y="537"/>
                  <a:pt x="576" y="537"/>
                </a:cubicBezTo>
                <a:cubicBezTo>
                  <a:pt x="664" y="537"/>
                  <a:pt x="664" y="537"/>
                  <a:pt x="664" y="537"/>
                </a:cubicBezTo>
                <a:cubicBezTo>
                  <a:pt x="721" y="537"/>
                  <a:pt x="741" y="499"/>
                  <a:pt x="708" y="452"/>
                </a:cubicBezTo>
                <a:cubicBezTo>
                  <a:pt x="429" y="47"/>
                  <a:pt x="429" y="47"/>
                  <a:pt x="429" y="47"/>
                </a:cubicBezTo>
                <a:cubicBezTo>
                  <a:pt x="397" y="0"/>
                  <a:pt x="344" y="0"/>
                  <a:pt x="312" y="47"/>
                </a:cubicBezTo>
                <a:cubicBezTo>
                  <a:pt x="32" y="452"/>
                  <a:pt x="32" y="452"/>
                  <a:pt x="32" y="452"/>
                </a:cubicBezTo>
                <a:cubicBezTo>
                  <a:pt x="0" y="499"/>
                  <a:pt x="20" y="537"/>
                  <a:pt x="77" y="537"/>
                </a:cubicBezTo>
                <a:cubicBezTo>
                  <a:pt x="165" y="537"/>
                  <a:pt x="165" y="537"/>
                  <a:pt x="165" y="537"/>
                </a:cubicBezTo>
                <a:cubicBezTo>
                  <a:pt x="165" y="1189"/>
                  <a:pt x="165" y="1189"/>
                  <a:pt x="165" y="1189"/>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84">
            <a:extLst>
              <a:ext uri="{FF2B5EF4-FFF2-40B4-BE49-F238E27FC236}">
                <a16:creationId xmlns:a16="http://schemas.microsoft.com/office/drawing/2014/main" id="{5ABB8BBF-271C-4030-A893-4A603863296A}"/>
              </a:ext>
            </a:extLst>
          </p:cNvPr>
          <p:cNvSpPr>
            <a:spLocks/>
          </p:cNvSpPr>
          <p:nvPr/>
        </p:nvSpPr>
        <p:spPr bwMode="auto">
          <a:xfrm>
            <a:off x="6396789" y="2504958"/>
            <a:ext cx="1726892" cy="2844411"/>
          </a:xfrm>
          <a:custGeom>
            <a:avLst/>
            <a:gdLst>
              <a:gd name="T0" fmla="*/ 571 w 719"/>
              <a:gd name="T1" fmla="*/ 1184 h 1184"/>
              <a:gd name="T2" fmla="*/ 571 w 719"/>
              <a:gd name="T3" fmla="*/ 538 h 1184"/>
              <a:gd name="T4" fmla="*/ 653 w 719"/>
              <a:gd name="T5" fmla="*/ 538 h 1184"/>
              <a:gd name="T6" fmla="*/ 701 w 719"/>
              <a:gd name="T7" fmla="*/ 525 h 1184"/>
              <a:gd name="T8" fmla="*/ 714 w 719"/>
              <a:gd name="T9" fmla="*/ 509 h 1184"/>
              <a:gd name="T10" fmla="*/ 719 w 719"/>
              <a:gd name="T11" fmla="*/ 489 h 1184"/>
              <a:gd name="T12" fmla="*/ 702 w 719"/>
              <a:gd name="T13" fmla="*/ 443 h 1184"/>
              <a:gd name="T14" fmla="*/ 423 w 719"/>
              <a:gd name="T15" fmla="*/ 38 h 1184"/>
              <a:gd name="T16" fmla="*/ 394 w 719"/>
              <a:gd name="T17" fmla="*/ 10 h 1184"/>
              <a:gd name="T18" fmla="*/ 359 w 719"/>
              <a:gd name="T19" fmla="*/ 0 h 1184"/>
              <a:gd name="T20" fmla="*/ 325 w 719"/>
              <a:gd name="T21" fmla="*/ 10 h 1184"/>
              <a:gd name="T22" fmla="*/ 296 w 719"/>
              <a:gd name="T23" fmla="*/ 38 h 1184"/>
              <a:gd name="T24" fmla="*/ 16 w 719"/>
              <a:gd name="T25" fmla="*/ 443 h 1184"/>
              <a:gd name="T26" fmla="*/ 0 w 719"/>
              <a:gd name="T27" fmla="*/ 489 h 1184"/>
              <a:gd name="T28" fmla="*/ 5 w 719"/>
              <a:gd name="T29" fmla="*/ 509 h 1184"/>
              <a:gd name="T30" fmla="*/ 28 w 719"/>
              <a:gd name="T31" fmla="*/ 531 h 1184"/>
              <a:gd name="T32" fmla="*/ 66 w 719"/>
              <a:gd name="T33" fmla="*/ 538 h 1184"/>
              <a:gd name="T34" fmla="*/ 148 w 719"/>
              <a:gd name="T35" fmla="*/ 538 h 1184"/>
              <a:gd name="T36" fmla="*/ 148 w 719"/>
              <a:gd name="T37" fmla="*/ 1184 h 1184"/>
              <a:gd name="T38" fmla="*/ 160 w 719"/>
              <a:gd name="T39" fmla="*/ 1184 h 1184"/>
              <a:gd name="T40" fmla="*/ 160 w 719"/>
              <a:gd name="T41" fmla="*/ 526 h 1184"/>
              <a:gd name="T42" fmla="*/ 66 w 719"/>
              <a:gd name="T43" fmla="*/ 526 h 1184"/>
              <a:gd name="T44" fmla="*/ 25 w 719"/>
              <a:gd name="T45" fmla="*/ 515 h 1184"/>
              <a:gd name="T46" fmla="*/ 15 w 719"/>
              <a:gd name="T47" fmla="*/ 504 h 1184"/>
              <a:gd name="T48" fmla="*/ 12 w 719"/>
              <a:gd name="T49" fmla="*/ 489 h 1184"/>
              <a:gd name="T50" fmla="*/ 26 w 719"/>
              <a:gd name="T51" fmla="*/ 450 h 1184"/>
              <a:gd name="T52" fmla="*/ 305 w 719"/>
              <a:gd name="T53" fmla="*/ 45 h 1184"/>
              <a:gd name="T54" fmla="*/ 331 w 719"/>
              <a:gd name="T55" fmla="*/ 20 h 1184"/>
              <a:gd name="T56" fmla="*/ 359 w 719"/>
              <a:gd name="T57" fmla="*/ 12 h 1184"/>
              <a:gd name="T58" fmla="*/ 388 w 719"/>
              <a:gd name="T59" fmla="*/ 20 h 1184"/>
              <a:gd name="T60" fmla="*/ 413 w 719"/>
              <a:gd name="T61" fmla="*/ 45 h 1184"/>
              <a:gd name="T62" fmla="*/ 693 w 719"/>
              <a:gd name="T63" fmla="*/ 450 h 1184"/>
              <a:gd name="T64" fmla="*/ 707 w 719"/>
              <a:gd name="T65" fmla="*/ 489 h 1184"/>
              <a:gd name="T66" fmla="*/ 704 w 719"/>
              <a:gd name="T67" fmla="*/ 504 h 1184"/>
              <a:gd name="T68" fmla="*/ 686 w 719"/>
              <a:gd name="T69" fmla="*/ 520 h 1184"/>
              <a:gd name="T70" fmla="*/ 653 w 719"/>
              <a:gd name="T71" fmla="*/ 526 h 1184"/>
              <a:gd name="T72" fmla="*/ 559 w 719"/>
              <a:gd name="T73" fmla="*/ 526 h 1184"/>
              <a:gd name="T74" fmla="*/ 559 w 719"/>
              <a:gd name="T75" fmla="*/ 1184 h 1184"/>
              <a:gd name="T76" fmla="*/ 571 w 719"/>
              <a:gd name="T77" fmla="*/ 1184 h 1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9" h="1184">
                <a:moveTo>
                  <a:pt x="571" y="1184"/>
                </a:moveTo>
                <a:cubicBezTo>
                  <a:pt x="571" y="538"/>
                  <a:pt x="571" y="538"/>
                  <a:pt x="571" y="538"/>
                </a:cubicBezTo>
                <a:cubicBezTo>
                  <a:pt x="653" y="538"/>
                  <a:pt x="653" y="538"/>
                  <a:pt x="653" y="538"/>
                </a:cubicBezTo>
                <a:cubicBezTo>
                  <a:pt x="673" y="538"/>
                  <a:pt x="689" y="534"/>
                  <a:pt x="701" y="525"/>
                </a:cubicBezTo>
                <a:cubicBezTo>
                  <a:pt x="707" y="521"/>
                  <a:pt x="711" y="515"/>
                  <a:pt x="714" y="509"/>
                </a:cubicBezTo>
                <a:cubicBezTo>
                  <a:pt x="717" y="503"/>
                  <a:pt x="719" y="496"/>
                  <a:pt x="719" y="489"/>
                </a:cubicBezTo>
                <a:cubicBezTo>
                  <a:pt x="719" y="475"/>
                  <a:pt x="713" y="459"/>
                  <a:pt x="702" y="443"/>
                </a:cubicBezTo>
                <a:cubicBezTo>
                  <a:pt x="423" y="38"/>
                  <a:pt x="423" y="38"/>
                  <a:pt x="423" y="38"/>
                </a:cubicBezTo>
                <a:cubicBezTo>
                  <a:pt x="415" y="26"/>
                  <a:pt x="405" y="17"/>
                  <a:pt x="394" y="10"/>
                </a:cubicBezTo>
                <a:cubicBezTo>
                  <a:pt x="383" y="4"/>
                  <a:pt x="371" y="0"/>
                  <a:pt x="359" y="0"/>
                </a:cubicBezTo>
                <a:cubicBezTo>
                  <a:pt x="348" y="0"/>
                  <a:pt x="336" y="4"/>
                  <a:pt x="325" y="10"/>
                </a:cubicBezTo>
                <a:cubicBezTo>
                  <a:pt x="314" y="17"/>
                  <a:pt x="304" y="26"/>
                  <a:pt x="296" y="38"/>
                </a:cubicBezTo>
                <a:cubicBezTo>
                  <a:pt x="16" y="443"/>
                  <a:pt x="16" y="443"/>
                  <a:pt x="16" y="443"/>
                </a:cubicBezTo>
                <a:cubicBezTo>
                  <a:pt x="5" y="459"/>
                  <a:pt x="0" y="475"/>
                  <a:pt x="0" y="489"/>
                </a:cubicBezTo>
                <a:cubicBezTo>
                  <a:pt x="0" y="496"/>
                  <a:pt x="1" y="503"/>
                  <a:pt x="5" y="509"/>
                </a:cubicBezTo>
                <a:cubicBezTo>
                  <a:pt x="9" y="518"/>
                  <a:pt x="17" y="526"/>
                  <a:pt x="28" y="531"/>
                </a:cubicBezTo>
                <a:cubicBezTo>
                  <a:pt x="38" y="536"/>
                  <a:pt x="51" y="538"/>
                  <a:pt x="66" y="538"/>
                </a:cubicBezTo>
                <a:cubicBezTo>
                  <a:pt x="148" y="538"/>
                  <a:pt x="148" y="538"/>
                  <a:pt x="148" y="538"/>
                </a:cubicBezTo>
                <a:cubicBezTo>
                  <a:pt x="148" y="1184"/>
                  <a:pt x="148" y="1184"/>
                  <a:pt x="148" y="1184"/>
                </a:cubicBezTo>
                <a:cubicBezTo>
                  <a:pt x="160" y="1184"/>
                  <a:pt x="160" y="1184"/>
                  <a:pt x="160" y="1184"/>
                </a:cubicBezTo>
                <a:cubicBezTo>
                  <a:pt x="160" y="526"/>
                  <a:pt x="160" y="526"/>
                  <a:pt x="160" y="526"/>
                </a:cubicBezTo>
                <a:cubicBezTo>
                  <a:pt x="66" y="526"/>
                  <a:pt x="66" y="526"/>
                  <a:pt x="66" y="526"/>
                </a:cubicBezTo>
                <a:cubicBezTo>
                  <a:pt x="48" y="526"/>
                  <a:pt x="34" y="522"/>
                  <a:pt x="25" y="515"/>
                </a:cubicBezTo>
                <a:cubicBezTo>
                  <a:pt x="21" y="512"/>
                  <a:pt x="17" y="508"/>
                  <a:pt x="15" y="504"/>
                </a:cubicBezTo>
                <a:cubicBezTo>
                  <a:pt x="13" y="499"/>
                  <a:pt x="12" y="494"/>
                  <a:pt x="12" y="489"/>
                </a:cubicBezTo>
                <a:cubicBezTo>
                  <a:pt x="12" y="478"/>
                  <a:pt x="16" y="465"/>
                  <a:pt x="26" y="450"/>
                </a:cubicBezTo>
                <a:cubicBezTo>
                  <a:pt x="305" y="45"/>
                  <a:pt x="305" y="45"/>
                  <a:pt x="305" y="45"/>
                </a:cubicBezTo>
                <a:cubicBezTo>
                  <a:pt x="313" y="34"/>
                  <a:pt x="322" y="26"/>
                  <a:pt x="331" y="20"/>
                </a:cubicBezTo>
                <a:cubicBezTo>
                  <a:pt x="340" y="15"/>
                  <a:pt x="350" y="12"/>
                  <a:pt x="359" y="12"/>
                </a:cubicBezTo>
                <a:cubicBezTo>
                  <a:pt x="369" y="12"/>
                  <a:pt x="379" y="15"/>
                  <a:pt x="388" y="20"/>
                </a:cubicBezTo>
                <a:cubicBezTo>
                  <a:pt x="397" y="26"/>
                  <a:pt x="406" y="34"/>
                  <a:pt x="413" y="45"/>
                </a:cubicBezTo>
                <a:cubicBezTo>
                  <a:pt x="693" y="450"/>
                  <a:pt x="693" y="450"/>
                  <a:pt x="693" y="450"/>
                </a:cubicBezTo>
                <a:cubicBezTo>
                  <a:pt x="703" y="465"/>
                  <a:pt x="707" y="478"/>
                  <a:pt x="707" y="489"/>
                </a:cubicBezTo>
                <a:cubicBezTo>
                  <a:pt x="707" y="494"/>
                  <a:pt x="706" y="499"/>
                  <a:pt x="704" y="504"/>
                </a:cubicBezTo>
                <a:cubicBezTo>
                  <a:pt x="700" y="510"/>
                  <a:pt x="695" y="516"/>
                  <a:pt x="686" y="520"/>
                </a:cubicBezTo>
                <a:cubicBezTo>
                  <a:pt x="678" y="524"/>
                  <a:pt x="666" y="526"/>
                  <a:pt x="653" y="526"/>
                </a:cubicBezTo>
                <a:cubicBezTo>
                  <a:pt x="559" y="526"/>
                  <a:pt x="559" y="526"/>
                  <a:pt x="559" y="526"/>
                </a:cubicBezTo>
                <a:cubicBezTo>
                  <a:pt x="559" y="1184"/>
                  <a:pt x="559" y="1184"/>
                  <a:pt x="559" y="1184"/>
                </a:cubicBezTo>
                <a:cubicBezTo>
                  <a:pt x="571" y="1184"/>
                  <a:pt x="571" y="1184"/>
                  <a:pt x="571" y="1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85">
            <a:extLst>
              <a:ext uri="{FF2B5EF4-FFF2-40B4-BE49-F238E27FC236}">
                <a16:creationId xmlns:a16="http://schemas.microsoft.com/office/drawing/2014/main" id="{7E3428AF-8A30-4419-8712-517335117386}"/>
              </a:ext>
            </a:extLst>
          </p:cNvPr>
          <p:cNvSpPr>
            <a:spLocks/>
          </p:cNvSpPr>
          <p:nvPr/>
        </p:nvSpPr>
        <p:spPr bwMode="auto">
          <a:xfrm>
            <a:off x="6923157" y="3098134"/>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87">
            <a:extLst>
              <a:ext uri="{FF2B5EF4-FFF2-40B4-BE49-F238E27FC236}">
                <a16:creationId xmlns:a16="http://schemas.microsoft.com/office/drawing/2014/main" id="{8CAED341-145D-41DF-A4F2-04FD928DB1CF}"/>
              </a:ext>
            </a:extLst>
          </p:cNvPr>
          <p:cNvSpPr>
            <a:spLocks/>
          </p:cNvSpPr>
          <p:nvPr/>
        </p:nvSpPr>
        <p:spPr bwMode="auto">
          <a:xfrm>
            <a:off x="6905949" y="3081938"/>
            <a:ext cx="310760" cy="412996"/>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88">
            <a:extLst>
              <a:ext uri="{FF2B5EF4-FFF2-40B4-BE49-F238E27FC236}">
                <a16:creationId xmlns:a16="http://schemas.microsoft.com/office/drawing/2014/main" id="{56C6FEAA-39EC-4387-83E7-AF06B453401A}"/>
              </a:ext>
            </a:extLst>
          </p:cNvPr>
          <p:cNvSpPr>
            <a:spLocks/>
          </p:cNvSpPr>
          <p:nvPr/>
        </p:nvSpPr>
        <p:spPr bwMode="auto">
          <a:xfrm>
            <a:off x="6923157" y="333904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90">
            <a:extLst>
              <a:ext uri="{FF2B5EF4-FFF2-40B4-BE49-F238E27FC236}">
                <a16:creationId xmlns:a16="http://schemas.microsoft.com/office/drawing/2014/main" id="{A0C5FCB2-ADE3-4FD1-BA5E-F0CCB0208EB3}"/>
              </a:ext>
            </a:extLst>
          </p:cNvPr>
          <p:cNvSpPr>
            <a:spLocks/>
          </p:cNvSpPr>
          <p:nvPr/>
        </p:nvSpPr>
        <p:spPr bwMode="auto">
          <a:xfrm>
            <a:off x="6905949" y="3321840"/>
            <a:ext cx="310760" cy="412996"/>
          </a:xfrm>
          <a:custGeom>
            <a:avLst/>
            <a:gdLst>
              <a:gd name="T0" fmla="*/ 12 w 129"/>
              <a:gd name="T1" fmla="*/ 168 h 172"/>
              <a:gd name="T2" fmla="*/ 127 w 129"/>
              <a:gd name="T3" fmla="*/ 10 h 172"/>
              <a:gd name="T4" fmla="*/ 126 w 129"/>
              <a:gd name="T5" fmla="*/ 2 h 172"/>
              <a:gd name="T6" fmla="*/ 118 w 129"/>
              <a:gd name="T7" fmla="*/ 3 h 172"/>
              <a:gd name="T8" fmla="*/ 2 w 129"/>
              <a:gd name="T9" fmla="*/ 161 h 172"/>
              <a:gd name="T10" fmla="*/ 3 w 129"/>
              <a:gd name="T11" fmla="*/ 170 h 172"/>
              <a:gd name="T12" fmla="*/ 12 w 129"/>
              <a:gd name="T13" fmla="*/ 168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8"/>
                </a:moveTo>
                <a:cubicBezTo>
                  <a:pt x="127" y="10"/>
                  <a:pt x="127" y="10"/>
                  <a:pt x="127" y="10"/>
                </a:cubicBezTo>
                <a:cubicBezTo>
                  <a:pt x="129" y="8"/>
                  <a:pt x="129" y="4"/>
                  <a:pt x="126" y="2"/>
                </a:cubicBezTo>
                <a:cubicBezTo>
                  <a:pt x="123" y="0"/>
                  <a:pt x="120" y="1"/>
                  <a:pt x="118" y="3"/>
                </a:cubicBezTo>
                <a:cubicBezTo>
                  <a:pt x="2" y="161"/>
                  <a:pt x="2" y="161"/>
                  <a:pt x="2" y="161"/>
                </a:cubicBezTo>
                <a:cubicBezTo>
                  <a:pt x="0" y="164"/>
                  <a:pt x="1" y="168"/>
                  <a:pt x="3" y="170"/>
                </a:cubicBezTo>
                <a:cubicBezTo>
                  <a:pt x="6" y="172"/>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91">
            <a:extLst>
              <a:ext uri="{FF2B5EF4-FFF2-40B4-BE49-F238E27FC236}">
                <a16:creationId xmlns:a16="http://schemas.microsoft.com/office/drawing/2014/main" id="{B7E1EAAC-E1CB-4D0E-ACAD-655F92073C9C}"/>
              </a:ext>
            </a:extLst>
          </p:cNvPr>
          <p:cNvSpPr>
            <a:spLocks/>
          </p:cNvSpPr>
          <p:nvPr/>
        </p:nvSpPr>
        <p:spPr bwMode="auto">
          <a:xfrm>
            <a:off x="6923157" y="3578951"/>
            <a:ext cx="276343" cy="377568"/>
          </a:xfrm>
          <a:custGeom>
            <a:avLst/>
            <a:gdLst>
              <a:gd name="T0" fmla="*/ 0 w 273"/>
              <a:gd name="T1" fmla="*/ 373 h 373"/>
              <a:gd name="T2" fmla="*/ 273 w 273"/>
              <a:gd name="T3" fmla="*/ 0 h 373"/>
              <a:gd name="T4" fmla="*/ 0 w 273"/>
              <a:gd name="T5" fmla="*/ 373 h 373"/>
            </a:gdLst>
            <a:ahLst/>
            <a:cxnLst>
              <a:cxn ang="0">
                <a:pos x="T0" y="T1"/>
              </a:cxn>
              <a:cxn ang="0">
                <a:pos x="T2" y="T3"/>
              </a:cxn>
              <a:cxn ang="0">
                <a:pos x="T4" y="T5"/>
              </a:cxn>
            </a:cxnLst>
            <a:rect l="0" t="0" r="r" b="b"/>
            <a:pathLst>
              <a:path w="273" h="373">
                <a:moveTo>
                  <a:pt x="0" y="373"/>
                </a:moveTo>
                <a:lnTo>
                  <a:pt x="273" y="0"/>
                </a:lnTo>
                <a:lnTo>
                  <a:pt x="0" y="373"/>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Line 92">
            <a:extLst>
              <a:ext uri="{FF2B5EF4-FFF2-40B4-BE49-F238E27FC236}">
                <a16:creationId xmlns:a16="http://schemas.microsoft.com/office/drawing/2014/main" id="{98758716-922F-47CC-85E1-F500501DEB80}"/>
              </a:ext>
            </a:extLst>
          </p:cNvPr>
          <p:cNvSpPr>
            <a:spLocks noChangeShapeType="1"/>
          </p:cNvSpPr>
          <p:nvPr/>
        </p:nvSpPr>
        <p:spPr bwMode="auto">
          <a:xfrm flipV="1">
            <a:off x="6923157" y="3578951"/>
            <a:ext cx="276343" cy="37756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93">
            <a:extLst>
              <a:ext uri="{FF2B5EF4-FFF2-40B4-BE49-F238E27FC236}">
                <a16:creationId xmlns:a16="http://schemas.microsoft.com/office/drawing/2014/main" id="{701AAA5C-F0C1-4632-9017-66FF904A91F6}"/>
              </a:ext>
            </a:extLst>
          </p:cNvPr>
          <p:cNvSpPr>
            <a:spLocks/>
          </p:cNvSpPr>
          <p:nvPr/>
        </p:nvSpPr>
        <p:spPr bwMode="auto">
          <a:xfrm>
            <a:off x="6905949" y="3562755"/>
            <a:ext cx="310760" cy="409960"/>
          </a:xfrm>
          <a:custGeom>
            <a:avLst/>
            <a:gdLst>
              <a:gd name="T0" fmla="*/ 12 w 129"/>
              <a:gd name="T1" fmla="*/ 168 h 171"/>
              <a:gd name="T2" fmla="*/ 127 w 129"/>
              <a:gd name="T3" fmla="*/ 10 h 171"/>
              <a:gd name="T4" fmla="*/ 126 w 129"/>
              <a:gd name="T5" fmla="*/ 2 h 171"/>
              <a:gd name="T6" fmla="*/ 118 w 129"/>
              <a:gd name="T7" fmla="*/ 3 h 171"/>
              <a:gd name="T8" fmla="*/ 2 w 129"/>
              <a:gd name="T9" fmla="*/ 161 h 171"/>
              <a:gd name="T10" fmla="*/ 3 w 129"/>
              <a:gd name="T11" fmla="*/ 169 h 171"/>
              <a:gd name="T12" fmla="*/ 12 w 129"/>
              <a:gd name="T13" fmla="*/ 168 h 171"/>
            </a:gdLst>
            <a:ahLst/>
            <a:cxnLst>
              <a:cxn ang="0">
                <a:pos x="T0" y="T1"/>
              </a:cxn>
              <a:cxn ang="0">
                <a:pos x="T2" y="T3"/>
              </a:cxn>
              <a:cxn ang="0">
                <a:pos x="T4" y="T5"/>
              </a:cxn>
              <a:cxn ang="0">
                <a:pos x="T6" y="T7"/>
              </a:cxn>
              <a:cxn ang="0">
                <a:pos x="T8" y="T9"/>
              </a:cxn>
              <a:cxn ang="0">
                <a:pos x="T10" y="T11"/>
              </a:cxn>
              <a:cxn ang="0">
                <a:pos x="T12" y="T13"/>
              </a:cxn>
            </a:cxnLst>
            <a:rect l="0" t="0" r="r" b="b"/>
            <a:pathLst>
              <a:path w="129" h="171">
                <a:moveTo>
                  <a:pt x="12" y="168"/>
                </a:moveTo>
                <a:cubicBezTo>
                  <a:pt x="127" y="10"/>
                  <a:pt x="127" y="10"/>
                  <a:pt x="127" y="10"/>
                </a:cubicBezTo>
                <a:cubicBezTo>
                  <a:pt x="129" y="7"/>
                  <a:pt x="129" y="4"/>
                  <a:pt x="126" y="2"/>
                </a:cubicBezTo>
                <a:cubicBezTo>
                  <a:pt x="123" y="0"/>
                  <a:pt x="120" y="0"/>
                  <a:pt x="118" y="3"/>
                </a:cubicBezTo>
                <a:cubicBezTo>
                  <a:pt x="2" y="161"/>
                  <a:pt x="2" y="161"/>
                  <a:pt x="2" y="161"/>
                </a:cubicBezTo>
                <a:cubicBezTo>
                  <a:pt x="0" y="164"/>
                  <a:pt x="1" y="167"/>
                  <a:pt x="3" y="169"/>
                </a:cubicBezTo>
                <a:cubicBezTo>
                  <a:pt x="6" y="171"/>
                  <a:pt x="10" y="171"/>
                  <a:pt x="12" y="16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94">
            <a:extLst>
              <a:ext uri="{FF2B5EF4-FFF2-40B4-BE49-F238E27FC236}">
                <a16:creationId xmlns:a16="http://schemas.microsoft.com/office/drawing/2014/main" id="{A2ADFB66-780B-42FF-9327-376ECE302696}"/>
              </a:ext>
            </a:extLst>
          </p:cNvPr>
          <p:cNvSpPr>
            <a:spLocks/>
          </p:cNvSpPr>
          <p:nvPr/>
        </p:nvSpPr>
        <p:spPr bwMode="auto">
          <a:xfrm>
            <a:off x="6923157" y="3816829"/>
            <a:ext cx="276343" cy="379592"/>
          </a:xfrm>
          <a:custGeom>
            <a:avLst/>
            <a:gdLst>
              <a:gd name="T0" fmla="*/ 0 w 273"/>
              <a:gd name="T1" fmla="*/ 375 h 375"/>
              <a:gd name="T2" fmla="*/ 273 w 273"/>
              <a:gd name="T3" fmla="*/ 0 h 375"/>
              <a:gd name="T4" fmla="*/ 0 w 273"/>
              <a:gd name="T5" fmla="*/ 375 h 375"/>
            </a:gdLst>
            <a:ahLst/>
            <a:cxnLst>
              <a:cxn ang="0">
                <a:pos x="T0" y="T1"/>
              </a:cxn>
              <a:cxn ang="0">
                <a:pos x="T2" y="T3"/>
              </a:cxn>
              <a:cxn ang="0">
                <a:pos x="T4" y="T5"/>
              </a:cxn>
            </a:cxnLst>
            <a:rect l="0" t="0" r="r" b="b"/>
            <a:pathLst>
              <a:path w="273" h="375">
                <a:moveTo>
                  <a:pt x="0" y="375"/>
                </a:moveTo>
                <a:lnTo>
                  <a:pt x="273" y="0"/>
                </a:lnTo>
                <a:lnTo>
                  <a:pt x="0" y="375"/>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96">
            <a:extLst>
              <a:ext uri="{FF2B5EF4-FFF2-40B4-BE49-F238E27FC236}">
                <a16:creationId xmlns:a16="http://schemas.microsoft.com/office/drawing/2014/main" id="{943382C0-7935-4BAD-98BF-D83DD186EA8A}"/>
              </a:ext>
            </a:extLst>
          </p:cNvPr>
          <p:cNvSpPr>
            <a:spLocks/>
          </p:cNvSpPr>
          <p:nvPr/>
        </p:nvSpPr>
        <p:spPr bwMode="auto">
          <a:xfrm>
            <a:off x="6905949" y="3799620"/>
            <a:ext cx="310760" cy="414009"/>
          </a:xfrm>
          <a:custGeom>
            <a:avLst/>
            <a:gdLst>
              <a:gd name="T0" fmla="*/ 12 w 129"/>
              <a:gd name="T1" fmla="*/ 169 h 172"/>
              <a:gd name="T2" fmla="*/ 127 w 129"/>
              <a:gd name="T3" fmla="*/ 11 h 172"/>
              <a:gd name="T4" fmla="*/ 126 w 129"/>
              <a:gd name="T5" fmla="*/ 2 h 172"/>
              <a:gd name="T6" fmla="*/ 118 w 129"/>
              <a:gd name="T7" fmla="*/ 4 h 172"/>
              <a:gd name="T8" fmla="*/ 2 w 129"/>
              <a:gd name="T9" fmla="*/ 161 h 172"/>
              <a:gd name="T10" fmla="*/ 3 w 129"/>
              <a:gd name="T11" fmla="*/ 170 h 172"/>
              <a:gd name="T12" fmla="*/ 12 w 129"/>
              <a:gd name="T13" fmla="*/ 169 h 172"/>
            </a:gdLst>
            <a:ahLst/>
            <a:cxnLst>
              <a:cxn ang="0">
                <a:pos x="T0" y="T1"/>
              </a:cxn>
              <a:cxn ang="0">
                <a:pos x="T2" y="T3"/>
              </a:cxn>
              <a:cxn ang="0">
                <a:pos x="T4" y="T5"/>
              </a:cxn>
              <a:cxn ang="0">
                <a:pos x="T6" y="T7"/>
              </a:cxn>
              <a:cxn ang="0">
                <a:pos x="T8" y="T9"/>
              </a:cxn>
              <a:cxn ang="0">
                <a:pos x="T10" y="T11"/>
              </a:cxn>
              <a:cxn ang="0">
                <a:pos x="T12" y="T13"/>
              </a:cxn>
            </a:cxnLst>
            <a:rect l="0" t="0" r="r" b="b"/>
            <a:pathLst>
              <a:path w="129" h="172">
                <a:moveTo>
                  <a:pt x="12" y="169"/>
                </a:moveTo>
                <a:cubicBezTo>
                  <a:pt x="127" y="11"/>
                  <a:pt x="127" y="11"/>
                  <a:pt x="127" y="11"/>
                </a:cubicBezTo>
                <a:cubicBezTo>
                  <a:pt x="129" y="8"/>
                  <a:pt x="129" y="4"/>
                  <a:pt x="126" y="2"/>
                </a:cubicBezTo>
                <a:cubicBezTo>
                  <a:pt x="123" y="0"/>
                  <a:pt x="120" y="1"/>
                  <a:pt x="118" y="4"/>
                </a:cubicBezTo>
                <a:cubicBezTo>
                  <a:pt x="2" y="161"/>
                  <a:pt x="2" y="161"/>
                  <a:pt x="2" y="161"/>
                </a:cubicBezTo>
                <a:cubicBezTo>
                  <a:pt x="0" y="164"/>
                  <a:pt x="1" y="168"/>
                  <a:pt x="3" y="170"/>
                </a:cubicBezTo>
                <a:cubicBezTo>
                  <a:pt x="6" y="172"/>
                  <a:pt x="10" y="171"/>
                  <a:pt x="12" y="169"/>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97">
            <a:extLst>
              <a:ext uri="{FF2B5EF4-FFF2-40B4-BE49-F238E27FC236}">
                <a16:creationId xmlns:a16="http://schemas.microsoft.com/office/drawing/2014/main" id="{91DB40D7-47F4-45DB-9BD5-90230099A5CB}"/>
              </a:ext>
            </a:extLst>
          </p:cNvPr>
          <p:cNvSpPr>
            <a:spLocks/>
          </p:cNvSpPr>
          <p:nvPr/>
        </p:nvSpPr>
        <p:spPr bwMode="auto">
          <a:xfrm>
            <a:off x="7064871" y="4056731"/>
            <a:ext cx="134629" cy="183216"/>
          </a:xfrm>
          <a:custGeom>
            <a:avLst/>
            <a:gdLst>
              <a:gd name="T0" fmla="*/ 0 w 133"/>
              <a:gd name="T1" fmla="*/ 181 h 181"/>
              <a:gd name="T2" fmla="*/ 133 w 133"/>
              <a:gd name="T3" fmla="*/ 0 h 181"/>
              <a:gd name="T4" fmla="*/ 0 w 133"/>
              <a:gd name="T5" fmla="*/ 181 h 181"/>
            </a:gdLst>
            <a:ahLst/>
            <a:cxnLst>
              <a:cxn ang="0">
                <a:pos x="T0" y="T1"/>
              </a:cxn>
              <a:cxn ang="0">
                <a:pos x="T2" y="T3"/>
              </a:cxn>
              <a:cxn ang="0">
                <a:pos x="T4" y="T5"/>
              </a:cxn>
            </a:cxnLst>
            <a:rect l="0" t="0" r="r" b="b"/>
            <a:pathLst>
              <a:path w="133" h="181">
                <a:moveTo>
                  <a:pt x="0" y="181"/>
                </a:moveTo>
                <a:lnTo>
                  <a:pt x="133" y="0"/>
                </a:lnTo>
                <a:lnTo>
                  <a:pt x="0" y="181"/>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Line 98">
            <a:extLst>
              <a:ext uri="{FF2B5EF4-FFF2-40B4-BE49-F238E27FC236}">
                <a16:creationId xmlns:a16="http://schemas.microsoft.com/office/drawing/2014/main" id="{1EE752DF-82CD-4CBD-9603-E30B304B133B}"/>
              </a:ext>
            </a:extLst>
          </p:cNvPr>
          <p:cNvSpPr>
            <a:spLocks noChangeShapeType="1"/>
          </p:cNvSpPr>
          <p:nvPr/>
        </p:nvSpPr>
        <p:spPr bwMode="auto">
          <a:xfrm flipV="1">
            <a:off x="7064871" y="4056731"/>
            <a:ext cx="134629" cy="18321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99">
            <a:extLst>
              <a:ext uri="{FF2B5EF4-FFF2-40B4-BE49-F238E27FC236}">
                <a16:creationId xmlns:a16="http://schemas.microsoft.com/office/drawing/2014/main" id="{7487AAEB-7837-4B52-9CE0-8083121312BD}"/>
              </a:ext>
            </a:extLst>
          </p:cNvPr>
          <p:cNvSpPr>
            <a:spLocks/>
          </p:cNvSpPr>
          <p:nvPr/>
        </p:nvSpPr>
        <p:spPr bwMode="auto">
          <a:xfrm>
            <a:off x="7050700" y="4040535"/>
            <a:ext cx="166008" cy="215608"/>
          </a:xfrm>
          <a:custGeom>
            <a:avLst/>
            <a:gdLst>
              <a:gd name="T0" fmla="*/ 11 w 69"/>
              <a:gd name="T1" fmla="*/ 87 h 90"/>
              <a:gd name="T2" fmla="*/ 67 w 69"/>
              <a:gd name="T3" fmla="*/ 10 h 90"/>
              <a:gd name="T4" fmla="*/ 66 w 69"/>
              <a:gd name="T5" fmla="*/ 2 h 90"/>
              <a:gd name="T6" fmla="*/ 58 w 69"/>
              <a:gd name="T7" fmla="*/ 3 h 90"/>
              <a:gd name="T8" fmla="*/ 2 w 69"/>
              <a:gd name="T9" fmla="*/ 80 h 90"/>
              <a:gd name="T10" fmla="*/ 3 w 69"/>
              <a:gd name="T11" fmla="*/ 88 h 90"/>
              <a:gd name="T12" fmla="*/ 11 w 69"/>
              <a:gd name="T13" fmla="*/ 87 h 90"/>
            </a:gdLst>
            <a:ahLst/>
            <a:cxnLst>
              <a:cxn ang="0">
                <a:pos x="T0" y="T1"/>
              </a:cxn>
              <a:cxn ang="0">
                <a:pos x="T2" y="T3"/>
              </a:cxn>
              <a:cxn ang="0">
                <a:pos x="T4" y="T5"/>
              </a:cxn>
              <a:cxn ang="0">
                <a:pos x="T6" y="T7"/>
              </a:cxn>
              <a:cxn ang="0">
                <a:pos x="T8" y="T9"/>
              </a:cxn>
              <a:cxn ang="0">
                <a:pos x="T10" y="T11"/>
              </a:cxn>
              <a:cxn ang="0">
                <a:pos x="T12" y="T13"/>
              </a:cxn>
            </a:cxnLst>
            <a:rect l="0" t="0" r="r" b="b"/>
            <a:pathLst>
              <a:path w="69" h="90">
                <a:moveTo>
                  <a:pt x="11" y="87"/>
                </a:moveTo>
                <a:cubicBezTo>
                  <a:pt x="67" y="10"/>
                  <a:pt x="67" y="10"/>
                  <a:pt x="67" y="10"/>
                </a:cubicBezTo>
                <a:cubicBezTo>
                  <a:pt x="69" y="8"/>
                  <a:pt x="69" y="4"/>
                  <a:pt x="66" y="2"/>
                </a:cubicBezTo>
                <a:cubicBezTo>
                  <a:pt x="63" y="0"/>
                  <a:pt x="60" y="1"/>
                  <a:pt x="58" y="3"/>
                </a:cubicBezTo>
                <a:cubicBezTo>
                  <a:pt x="2" y="80"/>
                  <a:pt x="2" y="80"/>
                  <a:pt x="2" y="80"/>
                </a:cubicBezTo>
                <a:cubicBezTo>
                  <a:pt x="0" y="82"/>
                  <a:pt x="0" y="86"/>
                  <a:pt x="3" y="88"/>
                </a:cubicBezTo>
                <a:cubicBezTo>
                  <a:pt x="6" y="90"/>
                  <a:pt x="9" y="90"/>
                  <a:pt x="11" y="87"/>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100">
            <a:extLst>
              <a:ext uri="{FF2B5EF4-FFF2-40B4-BE49-F238E27FC236}">
                <a16:creationId xmlns:a16="http://schemas.microsoft.com/office/drawing/2014/main" id="{FC8D16BC-9028-419E-ADD0-D6BDA609493B}"/>
              </a:ext>
            </a:extLst>
          </p:cNvPr>
          <p:cNvSpPr>
            <a:spLocks/>
          </p:cNvSpPr>
          <p:nvPr/>
        </p:nvSpPr>
        <p:spPr bwMode="auto">
          <a:xfrm>
            <a:off x="6099189" y="4256143"/>
            <a:ext cx="1004148" cy="1612508"/>
          </a:xfrm>
          <a:custGeom>
            <a:avLst/>
            <a:gdLst>
              <a:gd name="T0" fmla="*/ 325 w 418"/>
              <a:gd name="T1" fmla="*/ 671 h 671"/>
              <a:gd name="T2" fmla="*/ 325 w 418"/>
              <a:gd name="T3" fmla="*/ 303 h 671"/>
              <a:gd name="T4" fmla="*/ 375 w 418"/>
              <a:gd name="T5" fmla="*/ 303 h 671"/>
              <a:gd name="T6" fmla="*/ 400 w 418"/>
              <a:gd name="T7" fmla="*/ 255 h 671"/>
              <a:gd name="T8" fmla="*/ 242 w 418"/>
              <a:gd name="T9" fmla="*/ 26 h 671"/>
              <a:gd name="T10" fmla="*/ 176 w 418"/>
              <a:gd name="T11" fmla="*/ 26 h 671"/>
              <a:gd name="T12" fmla="*/ 18 w 418"/>
              <a:gd name="T13" fmla="*/ 255 h 671"/>
              <a:gd name="T14" fmla="*/ 44 w 418"/>
              <a:gd name="T15" fmla="*/ 303 h 671"/>
              <a:gd name="T16" fmla="*/ 93 w 418"/>
              <a:gd name="T17" fmla="*/ 303 h 671"/>
              <a:gd name="T18" fmla="*/ 93 w 418"/>
              <a:gd name="T19" fmla="*/ 671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8" h="671">
                <a:moveTo>
                  <a:pt x="325" y="671"/>
                </a:moveTo>
                <a:cubicBezTo>
                  <a:pt x="325" y="303"/>
                  <a:pt x="325" y="303"/>
                  <a:pt x="325" y="303"/>
                </a:cubicBezTo>
                <a:cubicBezTo>
                  <a:pt x="375" y="303"/>
                  <a:pt x="375" y="303"/>
                  <a:pt x="375" y="303"/>
                </a:cubicBezTo>
                <a:cubicBezTo>
                  <a:pt x="407" y="303"/>
                  <a:pt x="418" y="282"/>
                  <a:pt x="400" y="255"/>
                </a:cubicBezTo>
                <a:cubicBezTo>
                  <a:pt x="242" y="26"/>
                  <a:pt x="242" y="26"/>
                  <a:pt x="242" y="26"/>
                </a:cubicBezTo>
                <a:cubicBezTo>
                  <a:pt x="224" y="0"/>
                  <a:pt x="194" y="0"/>
                  <a:pt x="176" y="26"/>
                </a:cubicBezTo>
                <a:cubicBezTo>
                  <a:pt x="18" y="255"/>
                  <a:pt x="18" y="255"/>
                  <a:pt x="18" y="255"/>
                </a:cubicBezTo>
                <a:cubicBezTo>
                  <a:pt x="0" y="282"/>
                  <a:pt x="11" y="303"/>
                  <a:pt x="44" y="303"/>
                </a:cubicBezTo>
                <a:cubicBezTo>
                  <a:pt x="93" y="303"/>
                  <a:pt x="93" y="303"/>
                  <a:pt x="93" y="303"/>
                </a:cubicBezTo>
                <a:cubicBezTo>
                  <a:pt x="93" y="671"/>
                  <a:pt x="93" y="671"/>
                  <a:pt x="93" y="671"/>
                </a:cubicBezTo>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6" name="Freeform 101">
            <a:extLst>
              <a:ext uri="{FF2B5EF4-FFF2-40B4-BE49-F238E27FC236}">
                <a16:creationId xmlns:a16="http://schemas.microsoft.com/office/drawing/2014/main" id="{1E16C0F1-3527-4758-AFF0-2CE07B8F3EB0}"/>
              </a:ext>
            </a:extLst>
          </p:cNvPr>
          <p:cNvSpPr>
            <a:spLocks/>
          </p:cNvSpPr>
          <p:nvPr/>
        </p:nvSpPr>
        <p:spPr bwMode="auto">
          <a:xfrm>
            <a:off x="6106274" y="4256143"/>
            <a:ext cx="989977" cy="1626679"/>
          </a:xfrm>
          <a:custGeom>
            <a:avLst/>
            <a:gdLst>
              <a:gd name="T0" fmla="*/ 328 w 412"/>
              <a:gd name="T1" fmla="*/ 671 h 677"/>
              <a:gd name="T2" fmla="*/ 328 w 412"/>
              <a:gd name="T3" fmla="*/ 309 h 677"/>
              <a:gd name="T4" fmla="*/ 372 w 412"/>
              <a:gd name="T5" fmla="*/ 309 h 677"/>
              <a:gd name="T6" fmla="*/ 401 w 412"/>
              <a:gd name="T7" fmla="*/ 301 h 677"/>
              <a:gd name="T8" fmla="*/ 409 w 412"/>
              <a:gd name="T9" fmla="*/ 291 h 677"/>
              <a:gd name="T10" fmla="*/ 412 w 412"/>
              <a:gd name="T11" fmla="*/ 279 h 677"/>
              <a:gd name="T12" fmla="*/ 402 w 412"/>
              <a:gd name="T13" fmla="*/ 252 h 677"/>
              <a:gd name="T14" fmla="*/ 244 w 412"/>
              <a:gd name="T15" fmla="*/ 23 h 677"/>
              <a:gd name="T16" fmla="*/ 227 w 412"/>
              <a:gd name="T17" fmla="*/ 6 h 677"/>
              <a:gd name="T18" fmla="*/ 206 w 412"/>
              <a:gd name="T19" fmla="*/ 0 h 677"/>
              <a:gd name="T20" fmla="*/ 185 w 412"/>
              <a:gd name="T21" fmla="*/ 6 h 677"/>
              <a:gd name="T22" fmla="*/ 168 w 412"/>
              <a:gd name="T23" fmla="*/ 23 h 677"/>
              <a:gd name="T24" fmla="*/ 10 w 412"/>
              <a:gd name="T25" fmla="*/ 252 h 677"/>
              <a:gd name="T26" fmla="*/ 0 w 412"/>
              <a:gd name="T27" fmla="*/ 279 h 677"/>
              <a:gd name="T28" fmla="*/ 3 w 412"/>
              <a:gd name="T29" fmla="*/ 291 h 677"/>
              <a:gd name="T30" fmla="*/ 18 w 412"/>
              <a:gd name="T31" fmla="*/ 305 h 677"/>
              <a:gd name="T32" fmla="*/ 41 w 412"/>
              <a:gd name="T33" fmla="*/ 309 h 677"/>
              <a:gd name="T34" fmla="*/ 84 w 412"/>
              <a:gd name="T35" fmla="*/ 309 h 677"/>
              <a:gd name="T36" fmla="*/ 84 w 412"/>
              <a:gd name="T37" fmla="*/ 671 h 677"/>
              <a:gd name="T38" fmla="*/ 90 w 412"/>
              <a:gd name="T39" fmla="*/ 677 h 677"/>
              <a:gd name="T40" fmla="*/ 96 w 412"/>
              <a:gd name="T41" fmla="*/ 671 h 677"/>
              <a:gd name="T42" fmla="*/ 96 w 412"/>
              <a:gd name="T43" fmla="*/ 297 h 677"/>
              <a:gd name="T44" fmla="*/ 41 w 412"/>
              <a:gd name="T45" fmla="*/ 297 h 677"/>
              <a:gd name="T46" fmla="*/ 19 w 412"/>
              <a:gd name="T47" fmla="*/ 292 h 677"/>
              <a:gd name="T48" fmla="*/ 14 w 412"/>
              <a:gd name="T49" fmla="*/ 286 h 677"/>
              <a:gd name="T50" fmla="*/ 12 w 412"/>
              <a:gd name="T51" fmla="*/ 279 h 677"/>
              <a:gd name="T52" fmla="*/ 20 w 412"/>
              <a:gd name="T53" fmla="*/ 259 h 677"/>
              <a:gd name="T54" fmla="*/ 178 w 412"/>
              <a:gd name="T55" fmla="*/ 30 h 677"/>
              <a:gd name="T56" fmla="*/ 191 w 412"/>
              <a:gd name="T57" fmla="*/ 17 h 677"/>
              <a:gd name="T58" fmla="*/ 206 w 412"/>
              <a:gd name="T59" fmla="*/ 12 h 677"/>
              <a:gd name="T60" fmla="*/ 221 w 412"/>
              <a:gd name="T61" fmla="*/ 17 h 677"/>
              <a:gd name="T62" fmla="*/ 234 w 412"/>
              <a:gd name="T63" fmla="*/ 30 h 677"/>
              <a:gd name="T64" fmla="*/ 392 w 412"/>
              <a:gd name="T65" fmla="*/ 259 h 677"/>
              <a:gd name="T66" fmla="*/ 400 w 412"/>
              <a:gd name="T67" fmla="*/ 279 h 677"/>
              <a:gd name="T68" fmla="*/ 398 w 412"/>
              <a:gd name="T69" fmla="*/ 286 h 677"/>
              <a:gd name="T70" fmla="*/ 390 w 412"/>
              <a:gd name="T71" fmla="*/ 294 h 677"/>
              <a:gd name="T72" fmla="*/ 372 w 412"/>
              <a:gd name="T73" fmla="*/ 297 h 677"/>
              <a:gd name="T74" fmla="*/ 316 w 412"/>
              <a:gd name="T75" fmla="*/ 297 h 677"/>
              <a:gd name="T76" fmla="*/ 316 w 412"/>
              <a:gd name="T77" fmla="*/ 671 h 677"/>
              <a:gd name="T78" fmla="*/ 322 w 412"/>
              <a:gd name="T79" fmla="*/ 677 h 677"/>
              <a:gd name="T80" fmla="*/ 328 w 412"/>
              <a:gd name="T81" fmla="*/ 67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677">
                <a:moveTo>
                  <a:pt x="328" y="671"/>
                </a:moveTo>
                <a:cubicBezTo>
                  <a:pt x="328" y="309"/>
                  <a:pt x="328" y="309"/>
                  <a:pt x="328" y="309"/>
                </a:cubicBezTo>
                <a:cubicBezTo>
                  <a:pt x="372" y="309"/>
                  <a:pt x="372" y="309"/>
                  <a:pt x="372" y="309"/>
                </a:cubicBezTo>
                <a:cubicBezTo>
                  <a:pt x="384" y="309"/>
                  <a:pt x="393" y="307"/>
                  <a:pt x="401" y="301"/>
                </a:cubicBezTo>
                <a:cubicBezTo>
                  <a:pt x="404" y="299"/>
                  <a:pt x="407" y="295"/>
                  <a:pt x="409" y="291"/>
                </a:cubicBezTo>
                <a:cubicBezTo>
                  <a:pt x="411" y="288"/>
                  <a:pt x="412" y="283"/>
                  <a:pt x="412" y="279"/>
                </a:cubicBezTo>
                <a:cubicBezTo>
                  <a:pt x="412" y="270"/>
                  <a:pt x="408" y="261"/>
                  <a:pt x="402" y="252"/>
                </a:cubicBezTo>
                <a:cubicBezTo>
                  <a:pt x="244" y="23"/>
                  <a:pt x="244" y="23"/>
                  <a:pt x="244" y="23"/>
                </a:cubicBezTo>
                <a:cubicBezTo>
                  <a:pt x="239" y="16"/>
                  <a:pt x="233" y="10"/>
                  <a:pt x="227" y="6"/>
                </a:cubicBezTo>
                <a:cubicBezTo>
                  <a:pt x="220" y="2"/>
                  <a:pt x="213" y="0"/>
                  <a:pt x="206" y="0"/>
                </a:cubicBezTo>
                <a:cubicBezTo>
                  <a:pt x="199" y="0"/>
                  <a:pt x="192" y="2"/>
                  <a:pt x="185" y="6"/>
                </a:cubicBezTo>
                <a:cubicBezTo>
                  <a:pt x="179" y="10"/>
                  <a:pt x="173" y="16"/>
                  <a:pt x="168" y="23"/>
                </a:cubicBezTo>
                <a:cubicBezTo>
                  <a:pt x="10" y="252"/>
                  <a:pt x="10" y="252"/>
                  <a:pt x="10" y="252"/>
                </a:cubicBezTo>
                <a:cubicBezTo>
                  <a:pt x="4" y="261"/>
                  <a:pt x="0" y="270"/>
                  <a:pt x="0" y="279"/>
                </a:cubicBezTo>
                <a:cubicBezTo>
                  <a:pt x="0" y="283"/>
                  <a:pt x="1" y="288"/>
                  <a:pt x="3" y="291"/>
                </a:cubicBezTo>
                <a:cubicBezTo>
                  <a:pt x="6" y="297"/>
                  <a:pt x="11" y="302"/>
                  <a:pt x="18" y="305"/>
                </a:cubicBezTo>
                <a:cubicBezTo>
                  <a:pt x="24" y="308"/>
                  <a:pt x="32" y="309"/>
                  <a:pt x="41" y="309"/>
                </a:cubicBezTo>
                <a:cubicBezTo>
                  <a:pt x="84" y="309"/>
                  <a:pt x="84" y="309"/>
                  <a:pt x="84" y="309"/>
                </a:cubicBezTo>
                <a:cubicBezTo>
                  <a:pt x="84" y="671"/>
                  <a:pt x="84" y="671"/>
                  <a:pt x="84" y="671"/>
                </a:cubicBezTo>
                <a:cubicBezTo>
                  <a:pt x="84" y="675"/>
                  <a:pt x="86" y="677"/>
                  <a:pt x="90" y="677"/>
                </a:cubicBezTo>
                <a:cubicBezTo>
                  <a:pt x="93" y="677"/>
                  <a:pt x="96" y="675"/>
                  <a:pt x="96" y="671"/>
                </a:cubicBezTo>
                <a:cubicBezTo>
                  <a:pt x="96" y="297"/>
                  <a:pt x="96" y="297"/>
                  <a:pt x="96" y="297"/>
                </a:cubicBezTo>
                <a:cubicBezTo>
                  <a:pt x="41" y="297"/>
                  <a:pt x="41" y="297"/>
                  <a:pt x="41" y="297"/>
                </a:cubicBezTo>
                <a:cubicBezTo>
                  <a:pt x="31" y="297"/>
                  <a:pt x="23" y="295"/>
                  <a:pt x="19" y="292"/>
                </a:cubicBezTo>
                <a:cubicBezTo>
                  <a:pt x="17" y="290"/>
                  <a:pt x="15" y="288"/>
                  <a:pt x="14" y="286"/>
                </a:cubicBezTo>
                <a:cubicBezTo>
                  <a:pt x="13" y="284"/>
                  <a:pt x="12" y="282"/>
                  <a:pt x="12" y="279"/>
                </a:cubicBezTo>
                <a:cubicBezTo>
                  <a:pt x="12" y="273"/>
                  <a:pt x="15" y="266"/>
                  <a:pt x="20" y="259"/>
                </a:cubicBezTo>
                <a:cubicBezTo>
                  <a:pt x="178" y="30"/>
                  <a:pt x="178" y="30"/>
                  <a:pt x="178" y="30"/>
                </a:cubicBezTo>
                <a:cubicBezTo>
                  <a:pt x="182" y="24"/>
                  <a:pt x="187" y="19"/>
                  <a:pt x="191" y="17"/>
                </a:cubicBezTo>
                <a:cubicBezTo>
                  <a:pt x="196" y="14"/>
                  <a:pt x="201" y="12"/>
                  <a:pt x="206" y="12"/>
                </a:cubicBezTo>
                <a:cubicBezTo>
                  <a:pt x="211" y="12"/>
                  <a:pt x="216" y="14"/>
                  <a:pt x="221" y="17"/>
                </a:cubicBezTo>
                <a:cubicBezTo>
                  <a:pt x="226" y="19"/>
                  <a:pt x="230" y="24"/>
                  <a:pt x="234" y="30"/>
                </a:cubicBezTo>
                <a:cubicBezTo>
                  <a:pt x="392" y="259"/>
                  <a:pt x="392" y="259"/>
                  <a:pt x="392" y="259"/>
                </a:cubicBezTo>
                <a:cubicBezTo>
                  <a:pt x="398" y="266"/>
                  <a:pt x="400" y="273"/>
                  <a:pt x="400" y="279"/>
                </a:cubicBezTo>
                <a:cubicBezTo>
                  <a:pt x="400" y="282"/>
                  <a:pt x="399" y="284"/>
                  <a:pt x="398" y="286"/>
                </a:cubicBezTo>
                <a:cubicBezTo>
                  <a:pt x="397" y="289"/>
                  <a:pt x="394" y="292"/>
                  <a:pt x="390" y="294"/>
                </a:cubicBezTo>
                <a:cubicBezTo>
                  <a:pt x="385" y="296"/>
                  <a:pt x="379" y="297"/>
                  <a:pt x="372" y="297"/>
                </a:cubicBezTo>
                <a:cubicBezTo>
                  <a:pt x="316" y="297"/>
                  <a:pt x="316" y="297"/>
                  <a:pt x="316" y="297"/>
                </a:cubicBezTo>
                <a:cubicBezTo>
                  <a:pt x="316" y="671"/>
                  <a:pt x="316" y="671"/>
                  <a:pt x="316" y="671"/>
                </a:cubicBezTo>
                <a:cubicBezTo>
                  <a:pt x="316" y="675"/>
                  <a:pt x="319" y="677"/>
                  <a:pt x="322" y="677"/>
                </a:cubicBezTo>
                <a:cubicBezTo>
                  <a:pt x="326" y="677"/>
                  <a:pt x="328" y="675"/>
                  <a:pt x="328" y="671"/>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102">
            <a:extLst>
              <a:ext uri="{FF2B5EF4-FFF2-40B4-BE49-F238E27FC236}">
                <a16:creationId xmlns:a16="http://schemas.microsoft.com/office/drawing/2014/main" id="{DD7863FA-C8B6-4C18-AE68-5ACB97B83FB1}"/>
              </a:ext>
            </a:extLst>
          </p:cNvPr>
          <p:cNvSpPr>
            <a:spLocks/>
          </p:cNvSpPr>
          <p:nvPr/>
        </p:nvSpPr>
        <p:spPr bwMode="auto">
          <a:xfrm>
            <a:off x="6428169" y="5027475"/>
            <a:ext cx="0" cy="627592"/>
          </a:xfrm>
          <a:custGeom>
            <a:avLst/>
            <a:gdLst>
              <a:gd name="T0" fmla="*/ 0 h 620"/>
              <a:gd name="T1" fmla="*/ 620 h 620"/>
              <a:gd name="T2" fmla="*/ 0 h 620"/>
            </a:gdLst>
            <a:ahLst/>
            <a:cxnLst>
              <a:cxn ang="0">
                <a:pos x="0" y="T0"/>
              </a:cxn>
              <a:cxn ang="0">
                <a:pos x="0" y="T1"/>
              </a:cxn>
              <a:cxn ang="0">
                <a:pos x="0" y="T2"/>
              </a:cxn>
            </a:cxnLst>
            <a:rect l="0" t="0" r="r" b="b"/>
            <a:pathLst>
              <a:path h="620">
                <a:moveTo>
                  <a:pt x="0" y="0"/>
                </a:moveTo>
                <a:lnTo>
                  <a:pt x="0" y="620"/>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Line 103">
            <a:extLst>
              <a:ext uri="{FF2B5EF4-FFF2-40B4-BE49-F238E27FC236}">
                <a16:creationId xmlns:a16="http://schemas.microsoft.com/office/drawing/2014/main" id="{1B0595F1-A4F9-42ED-85DE-D5821C1592D5}"/>
              </a:ext>
            </a:extLst>
          </p:cNvPr>
          <p:cNvSpPr>
            <a:spLocks noChangeShapeType="1"/>
          </p:cNvSpPr>
          <p:nvPr/>
        </p:nvSpPr>
        <p:spPr bwMode="auto">
          <a:xfrm>
            <a:off x="6428169" y="5027475"/>
            <a:ext cx="0" cy="62759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104">
            <a:extLst>
              <a:ext uri="{FF2B5EF4-FFF2-40B4-BE49-F238E27FC236}">
                <a16:creationId xmlns:a16="http://schemas.microsoft.com/office/drawing/2014/main" id="{9EEDB4ED-DF97-4E01-B213-9CD1821562EC}"/>
              </a:ext>
            </a:extLst>
          </p:cNvPr>
          <p:cNvSpPr>
            <a:spLocks/>
          </p:cNvSpPr>
          <p:nvPr/>
        </p:nvSpPr>
        <p:spPr bwMode="auto">
          <a:xfrm>
            <a:off x="6413997" y="5013303"/>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2"/>
                  <a:pt x="3" y="14"/>
                  <a:pt x="6" y="14"/>
                </a:cubicBezTo>
                <a:cubicBezTo>
                  <a:pt x="9" y="14"/>
                  <a:pt x="12" y="12"/>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105">
            <a:extLst>
              <a:ext uri="{FF2B5EF4-FFF2-40B4-BE49-F238E27FC236}">
                <a16:creationId xmlns:a16="http://schemas.microsoft.com/office/drawing/2014/main" id="{586DA189-846F-42A6-A018-398E5899D998}"/>
              </a:ext>
            </a:extLst>
          </p:cNvPr>
          <p:cNvSpPr>
            <a:spLocks noEditPoints="1"/>
          </p:cNvSpPr>
          <p:nvPr/>
        </p:nvSpPr>
        <p:spPr bwMode="auto">
          <a:xfrm>
            <a:off x="6413997" y="5065940"/>
            <a:ext cx="29355" cy="550662"/>
          </a:xfrm>
          <a:custGeom>
            <a:avLst/>
            <a:gdLst>
              <a:gd name="T0" fmla="*/ 0 w 12"/>
              <a:gd name="T1" fmla="*/ 223 h 229"/>
              <a:gd name="T2" fmla="*/ 12 w 12"/>
              <a:gd name="T3" fmla="*/ 223 h 229"/>
              <a:gd name="T4" fmla="*/ 6 w 12"/>
              <a:gd name="T5" fmla="*/ 213 h 229"/>
              <a:gd name="T6" fmla="*/ 0 w 12"/>
              <a:gd name="T7" fmla="*/ 195 h 229"/>
              <a:gd name="T8" fmla="*/ 6 w 12"/>
              <a:gd name="T9" fmla="*/ 205 h 229"/>
              <a:gd name="T10" fmla="*/ 12 w 12"/>
              <a:gd name="T11" fmla="*/ 195 h 229"/>
              <a:gd name="T12" fmla="*/ 0 w 12"/>
              <a:gd name="T13" fmla="*/ 195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8 h 229"/>
              <a:gd name="T30" fmla="*/ 12 w 12"/>
              <a:gd name="T31" fmla="*/ 128 h 229"/>
              <a:gd name="T32" fmla="*/ 6 w 12"/>
              <a:gd name="T33" fmla="*/ 118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3 h 229"/>
              <a:gd name="T50" fmla="*/ 6 w 12"/>
              <a:gd name="T51" fmla="*/ 63 h 229"/>
              <a:gd name="T52" fmla="*/ 12 w 12"/>
              <a:gd name="T53" fmla="*/ 53 h 229"/>
              <a:gd name="T54" fmla="*/ 0 w 12"/>
              <a:gd name="T55" fmla="*/ 53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6"/>
                  <a:pt x="3" y="229"/>
                  <a:pt x="6" y="229"/>
                </a:cubicBezTo>
                <a:cubicBezTo>
                  <a:pt x="9" y="229"/>
                  <a:pt x="12" y="226"/>
                  <a:pt x="12" y="223"/>
                </a:cubicBezTo>
                <a:cubicBezTo>
                  <a:pt x="12" y="219"/>
                  <a:pt x="12" y="219"/>
                  <a:pt x="12" y="219"/>
                </a:cubicBezTo>
                <a:cubicBezTo>
                  <a:pt x="12" y="216"/>
                  <a:pt x="9" y="213"/>
                  <a:pt x="6" y="213"/>
                </a:cubicBezTo>
                <a:cubicBezTo>
                  <a:pt x="3" y="213"/>
                  <a:pt x="0" y="216"/>
                  <a:pt x="0" y="219"/>
                </a:cubicBezTo>
                <a:close/>
                <a:moveTo>
                  <a:pt x="0" y="195"/>
                </a:moveTo>
                <a:cubicBezTo>
                  <a:pt x="0" y="199"/>
                  <a:pt x="0" y="199"/>
                  <a:pt x="0" y="199"/>
                </a:cubicBezTo>
                <a:cubicBezTo>
                  <a:pt x="0" y="203"/>
                  <a:pt x="3" y="205"/>
                  <a:pt x="6" y="205"/>
                </a:cubicBezTo>
                <a:cubicBezTo>
                  <a:pt x="9" y="205"/>
                  <a:pt x="12" y="203"/>
                  <a:pt x="12" y="199"/>
                </a:cubicBezTo>
                <a:cubicBezTo>
                  <a:pt x="12" y="195"/>
                  <a:pt x="12" y="195"/>
                  <a:pt x="12" y="195"/>
                </a:cubicBezTo>
                <a:cubicBezTo>
                  <a:pt x="12" y="192"/>
                  <a:pt x="9" y="189"/>
                  <a:pt x="6" y="189"/>
                </a:cubicBezTo>
                <a:cubicBezTo>
                  <a:pt x="3" y="189"/>
                  <a:pt x="0" y="192"/>
                  <a:pt x="0" y="195"/>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8"/>
                  <a:pt x="9" y="166"/>
                  <a:pt x="6" y="166"/>
                </a:cubicBezTo>
                <a:cubicBezTo>
                  <a:pt x="3" y="166"/>
                  <a:pt x="0" y="168"/>
                  <a:pt x="0" y="172"/>
                </a:cubicBezTo>
                <a:close/>
                <a:moveTo>
                  <a:pt x="0" y="148"/>
                </a:moveTo>
                <a:cubicBezTo>
                  <a:pt x="0" y="152"/>
                  <a:pt x="0" y="152"/>
                  <a:pt x="0" y="152"/>
                </a:cubicBezTo>
                <a:cubicBezTo>
                  <a:pt x="0" y="155"/>
                  <a:pt x="3" y="158"/>
                  <a:pt x="6" y="158"/>
                </a:cubicBezTo>
                <a:cubicBezTo>
                  <a:pt x="9" y="158"/>
                  <a:pt x="12" y="155"/>
                  <a:pt x="12" y="152"/>
                </a:cubicBezTo>
                <a:cubicBezTo>
                  <a:pt x="12" y="148"/>
                  <a:pt x="12" y="148"/>
                  <a:pt x="12" y="148"/>
                </a:cubicBezTo>
                <a:cubicBezTo>
                  <a:pt x="12" y="145"/>
                  <a:pt x="9" y="142"/>
                  <a:pt x="6" y="142"/>
                </a:cubicBezTo>
                <a:cubicBezTo>
                  <a:pt x="3" y="142"/>
                  <a:pt x="0" y="145"/>
                  <a:pt x="0" y="148"/>
                </a:cubicBezTo>
                <a:close/>
                <a:moveTo>
                  <a:pt x="0" y="124"/>
                </a:moveTo>
                <a:cubicBezTo>
                  <a:pt x="0" y="128"/>
                  <a:pt x="0" y="128"/>
                  <a:pt x="0" y="128"/>
                </a:cubicBezTo>
                <a:cubicBezTo>
                  <a:pt x="0" y="132"/>
                  <a:pt x="3" y="134"/>
                  <a:pt x="6" y="134"/>
                </a:cubicBezTo>
                <a:cubicBezTo>
                  <a:pt x="9" y="134"/>
                  <a:pt x="12" y="132"/>
                  <a:pt x="12" y="128"/>
                </a:cubicBezTo>
                <a:cubicBezTo>
                  <a:pt x="12" y="124"/>
                  <a:pt x="12" y="124"/>
                  <a:pt x="12" y="124"/>
                </a:cubicBezTo>
                <a:cubicBezTo>
                  <a:pt x="12" y="121"/>
                  <a:pt x="9" y="118"/>
                  <a:pt x="6" y="118"/>
                </a:cubicBezTo>
                <a:cubicBezTo>
                  <a:pt x="3" y="118"/>
                  <a:pt x="0" y="121"/>
                  <a:pt x="0" y="124"/>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7"/>
                  <a:pt x="9" y="95"/>
                  <a:pt x="6" y="95"/>
                </a:cubicBezTo>
                <a:cubicBezTo>
                  <a:pt x="3" y="95"/>
                  <a:pt x="0" y="97"/>
                  <a:pt x="0" y="101"/>
                </a:cubicBezTo>
                <a:close/>
                <a:moveTo>
                  <a:pt x="0" y="77"/>
                </a:moveTo>
                <a:cubicBezTo>
                  <a:pt x="0" y="81"/>
                  <a:pt x="0" y="81"/>
                  <a:pt x="0" y="81"/>
                </a:cubicBezTo>
                <a:cubicBezTo>
                  <a:pt x="0" y="84"/>
                  <a:pt x="3" y="87"/>
                  <a:pt x="6" y="87"/>
                </a:cubicBezTo>
                <a:cubicBezTo>
                  <a:pt x="9" y="87"/>
                  <a:pt x="12" y="84"/>
                  <a:pt x="12" y="81"/>
                </a:cubicBezTo>
                <a:cubicBezTo>
                  <a:pt x="12" y="77"/>
                  <a:pt x="12" y="77"/>
                  <a:pt x="12" y="77"/>
                </a:cubicBezTo>
                <a:cubicBezTo>
                  <a:pt x="12" y="74"/>
                  <a:pt x="9" y="71"/>
                  <a:pt x="6" y="71"/>
                </a:cubicBezTo>
                <a:cubicBezTo>
                  <a:pt x="3" y="71"/>
                  <a:pt x="0" y="74"/>
                  <a:pt x="0" y="77"/>
                </a:cubicBezTo>
                <a:close/>
                <a:moveTo>
                  <a:pt x="0" y="53"/>
                </a:moveTo>
                <a:cubicBezTo>
                  <a:pt x="0" y="57"/>
                  <a:pt x="0" y="57"/>
                  <a:pt x="0" y="57"/>
                </a:cubicBezTo>
                <a:cubicBezTo>
                  <a:pt x="0" y="61"/>
                  <a:pt x="3" y="63"/>
                  <a:pt x="6" y="63"/>
                </a:cubicBezTo>
                <a:cubicBezTo>
                  <a:pt x="9" y="63"/>
                  <a:pt x="12" y="61"/>
                  <a:pt x="12" y="57"/>
                </a:cubicBezTo>
                <a:cubicBezTo>
                  <a:pt x="12" y="53"/>
                  <a:pt x="12" y="53"/>
                  <a:pt x="12" y="53"/>
                </a:cubicBezTo>
                <a:cubicBezTo>
                  <a:pt x="12" y="50"/>
                  <a:pt x="9" y="47"/>
                  <a:pt x="6" y="47"/>
                </a:cubicBezTo>
                <a:cubicBezTo>
                  <a:pt x="3" y="47"/>
                  <a:pt x="0" y="50"/>
                  <a:pt x="0" y="53"/>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6"/>
                  <a:pt x="9" y="24"/>
                  <a:pt x="6" y="24"/>
                </a:cubicBezTo>
                <a:cubicBezTo>
                  <a:pt x="3" y="24"/>
                  <a:pt x="0" y="26"/>
                  <a:pt x="0" y="30"/>
                </a:cubicBezTo>
                <a:close/>
                <a:moveTo>
                  <a:pt x="0" y="6"/>
                </a:moveTo>
                <a:cubicBezTo>
                  <a:pt x="0" y="10"/>
                  <a:pt x="0" y="10"/>
                  <a:pt x="0" y="10"/>
                </a:cubicBezTo>
                <a:cubicBezTo>
                  <a:pt x="0" y="13"/>
                  <a:pt x="3" y="16"/>
                  <a:pt x="6" y="16"/>
                </a:cubicBezTo>
                <a:cubicBezTo>
                  <a:pt x="9" y="16"/>
                  <a:pt x="12" y="13"/>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106">
            <a:extLst>
              <a:ext uri="{FF2B5EF4-FFF2-40B4-BE49-F238E27FC236}">
                <a16:creationId xmlns:a16="http://schemas.microsoft.com/office/drawing/2014/main" id="{6515FE9B-3332-4F48-A522-8F847134E7FC}"/>
              </a:ext>
            </a:extLst>
          </p:cNvPr>
          <p:cNvSpPr>
            <a:spLocks/>
          </p:cNvSpPr>
          <p:nvPr/>
        </p:nvSpPr>
        <p:spPr bwMode="auto">
          <a:xfrm>
            <a:off x="6413997" y="5635834"/>
            <a:ext cx="29355"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107">
            <a:extLst>
              <a:ext uri="{FF2B5EF4-FFF2-40B4-BE49-F238E27FC236}">
                <a16:creationId xmlns:a16="http://schemas.microsoft.com/office/drawing/2014/main" id="{63FCBFBE-2CDB-4C2D-99AF-EFFC485A2889}"/>
              </a:ext>
            </a:extLst>
          </p:cNvPr>
          <p:cNvSpPr>
            <a:spLocks/>
          </p:cNvSpPr>
          <p:nvPr/>
        </p:nvSpPr>
        <p:spPr bwMode="auto">
          <a:xfrm>
            <a:off x="6503075" y="4915115"/>
            <a:ext cx="0" cy="624556"/>
          </a:xfrm>
          <a:custGeom>
            <a:avLst/>
            <a:gdLst>
              <a:gd name="T0" fmla="*/ 0 h 617"/>
              <a:gd name="T1" fmla="*/ 617 h 617"/>
              <a:gd name="T2" fmla="*/ 0 h 617"/>
            </a:gdLst>
            <a:ahLst/>
            <a:cxnLst>
              <a:cxn ang="0">
                <a:pos x="0" y="T0"/>
              </a:cxn>
              <a:cxn ang="0">
                <a:pos x="0" y="T1"/>
              </a:cxn>
              <a:cxn ang="0">
                <a:pos x="0" y="T2"/>
              </a:cxn>
            </a:cxnLst>
            <a:rect l="0" t="0" r="r" b="b"/>
            <a:pathLst>
              <a:path h="617">
                <a:moveTo>
                  <a:pt x="0" y="0"/>
                </a:moveTo>
                <a:lnTo>
                  <a:pt x="0" y="617"/>
                </a:lnTo>
                <a:lnTo>
                  <a:pt x="0" y="0"/>
                </a:lnTo>
                <a:close/>
              </a:path>
            </a:pathLst>
          </a:custGeom>
          <a:solidFill>
            <a:srgbClr val="C2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Line 108">
            <a:extLst>
              <a:ext uri="{FF2B5EF4-FFF2-40B4-BE49-F238E27FC236}">
                <a16:creationId xmlns:a16="http://schemas.microsoft.com/office/drawing/2014/main" id="{69F5BCD8-4FF9-4E51-8818-F7EF396BCB72}"/>
              </a:ext>
            </a:extLst>
          </p:cNvPr>
          <p:cNvSpPr>
            <a:spLocks noChangeShapeType="1"/>
          </p:cNvSpPr>
          <p:nvPr/>
        </p:nvSpPr>
        <p:spPr bwMode="auto">
          <a:xfrm>
            <a:off x="6503075" y="4915115"/>
            <a:ext cx="0" cy="624556"/>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09">
            <a:extLst>
              <a:ext uri="{FF2B5EF4-FFF2-40B4-BE49-F238E27FC236}">
                <a16:creationId xmlns:a16="http://schemas.microsoft.com/office/drawing/2014/main" id="{04AFCAE0-69DC-4A61-8067-90916FFD0562}"/>
              </a:ext>
            </a:extLst>
          </p:cNvPr>
          <p:cNvSpPr>
            <a:spLocks/>
          </p:cNvSpPr>
          <p:nvPr/>
        </p:nvSpPr>
        <p:spPr bwMode="auto">
          <a:xfrm>
            <a:off x="6488903" y="4899932"/>
            <a:ext cx="28343" cy="34416"/>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2"/>
                  <a:pt x="9" y="0"/>
                  <a:pt x="6" y="0"/>
                </a:cubicBezTo>
                <a:cubicBezTo>
                  <a:pt x="3" y="0"/>
                  <a:pt x="0" y="2"/>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110">
            <a:extLst>
              <a:ext uri="{FF2B5EF4-FFF2-40B4-BE49-F238E27FC236}">
                <a16:creationId xmlns:a16="http://schemas.microsoft.com/office/drawing/2014/main" id="{35AD3660-19D5-4249-BADC-17ED698EB1D6}"/>
              </a:ext>
            </a:extLst>
          </p:cNvPr>
          <p:cNvSpPr>
            <a:spLocks noEditPoints="1"/>
          </p:cNvSpPr>
          <p:nvPr/>
        </p:nvSpPr>
        <p:spPr bwMode="auto">
          <a:xfrm>
            <a:off x="6488903" y="4950544"/>
            <a:ext cx="28343" cy="550662"/>
          </a:xfrm>
          <a:custGeom>
            <a:avLst/>
            <a:gdLst>
              <a:gd name="T0" fmla="*/ 0 w 12"/>
              <a:gd name="T1" fmla="*/ 223 h 229"/>
              <a:gd name="T2" fmla="*/ 12 w 12"/>
              <a:gd name="T3" fmla="*/ 223 h 229"/>
              <a:gd name="T4" fmla="*/ 6 w 12"/>
              <a:gd name="T5" fmla="*/ 213 h 229"/>
              <a:gd name="T6" fmla="*/ 0 w 12"/>
              <a:gd name="T7" fmla="*/ 196 h 229"/>
              <a:gd name="T8" fmla="*/ 6 w 12"/>
              <a:gd name="T9" fmla="*/ 206 h 229"/>
              <a:gd name="T10" fmla="*/ 12 w 12"/>
              <a:gd name="T11" fmla="*/ 196 h 229"/>
              <a:gd name="T12" fmla="*/ 0 w 12"/>
              <a:gd name="T13" fmla="*/ 196 h 229"/>
              <a:gd name="T14" fmla="*/ 0 w 12"/>
              <a:gd name="T15" fmla="*/ 176 h 229"/>
              <a:gd name="T16" fmla="*/ 12 w 12"/>
              <a:gd name="T17" fmla="*/ 176 h 229"/>
              <a:gd name="T18" fmla="*/ 6 w 12"/>
              <a:gd name="T19" fmla="*/ 166 h 229"/>
              <a:gd name="T20" fmla="*/ 0 w 12"/>
              <a:gd name="T21" fmla="*/ 148 h 229"/>
              <a:gd name="T22" fmla="*/ 6 w 12"/>
              <a:gd name="T23" fmla="*/ 158 h 229"/>
              <a:gd name="T24" fmla="*/ 12 w 12"/>
              <a:gd name="T25" fmla="*/ 148 h 229"/>
              <a:gd name="T26" fmla="*/ 0 w 12"/>
              <a:gd name="T27" fmla="*/ 148 h 229"/>
              <a:gd name="T28" fmla="*/ 0 w 12"/>
              <a:gd name="T29" fmla="*/ 129 h 229"/>
              <a:gd name="T30" fmla="*/ 12 w 12"/>
              <a:gd name="T31" fmla="*/ 129 h 229"/>
              <a:gd name="T32" fmla="*/ 6 w 12"/>
              <a:gd name="T33" fmla="*/ 119 h 229"/>
              <a:gd name="T34" fmla="*/ 0 w 12"/>
              <a:gd name="T35" fmla="*/ 101 h 229"/>
              <a:gd name="T36" fmla="*/ 6 w 12"/>
              <a:gd name="T37" fmla="*/ 111 h 229"/>
              <a:gd name="T38" fmla="*/ 12 w 12"/>
              <a:gd name="T39" fmla="*/ 101 h 229"/>
              <a:gd name="T40" fmla="*/ 0 w 12"/>
              <a:gd name="T41" fmla="*/ 101 h 229"/>
              <a:gd name="T42" fmla="*/ 0 w 12"/>
              <a:gd name="T43" fmla="*/ 81 h 229"/>
              <a:gd name="T44" fmla="*/ 12 w 12"/>
              <a:gd name="T45" fmla="*/ 81 h 229"/>
              <a:gd name="T46" fmla="*/ 6 w 12"/>
              <a:gd name="T47" fmla="*/ 71 h 229"/>
              <a:gd name="T48" fmla="*/ 0 w 12"/>
              <a:gd name="T49" fmla="*/ 54 h 229"/>
              <a:gd name="T50" fmla="*/ 6 w 12"/>
              <a:gd name="T51" fmla="*/ 64 h 229"/>
              <a:gd name="T52" fmla="*/ 12 w 12"/>
              <a:gd name="T53" fmla="*/ 54 h 229"/>
              <a:gd name="T54" fmla="*/ 0 w 12"/>
              <a:gd name="T55" fmla="*/ 54 h 229"/>
              <a:gd name="T56" fmla="*/ 0 w 12"/>
              <a:gd name="T57" fmla="*/ 34 h 229"/>
              <a:gd name="T58" fmla="*/ 12 w 12"/>
              <a:gd name="T59" fmla="*/ 34 h 229"/>
              <a:gd name="T60" fmla="*/ 6 w 12"/>
              <a:gd name="T61" fmla="*/ 24 h 229"/>
              <a:gd name="T62" fmla="*/ 0 w 12"/>
              <a:gd name="T63" fmla="*/ 6 h 229"/>
              <a:gd name="T64" fmla="*/ 6 w 12"/>
              <a:gd name="T65" fmla="*/ 16 h 229"/>
              <a:gd name="T66" fmla="*/ 12 w 12"/>
              <a:gd name="T67" fmla="*/ 6 h 229"/>
              <a:gd name="T68" fmla="*/ 0 w 12"/>
              <a:gd name="T69" fmla="*/ 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 h="229">
                <a:moveTo>
                  <a:pt x="0" y="219"/>
                </a:moveTo>
                <a:cubicBezTo>
                  <a:pt x="0" y="223"/>
                  <a:pt x="0" y="223"/>
                  <a:pt x="0" y="223"/>
                </a:cubicBezTo>
                <a:cubicBezTo>
                  <a:pt x="0" y="227"/>
                  <a:pt x="3" y="229"/>
                  <a:pt x="6" y="229"/>
                </a:cubicBezTo>
                <a:cubicBezTo>
                  <a:pt x="9" y="229"/>
                  <a:pt x="12" y="227"/>
                  <a:pt x="12" y="223"/>
                </a:cubicBezTo>
                <a:cubicBezTo>
                  <a:pt x="12" y="219"/>
                  <a:pt x="12" y="219"/>
                  <a:pt x="12" y="219"/>
                </a:cubicBezTo>
                <a:cubicBezTo>
                  <a:pt x="12" y="216"/>
                  <a:pt x="9" y="213"/>
                  <a:pt x="6" y="213"/>
                </a:cubicBezTo>
                <a:cubicBezTo>
                  <a:pt x="3" y="213"/>
                  <a:pt x="0" y="216"/>
                  <a:pt x="0" y="219"/>
                </a:cubicBezTo>
                <a:close/>
                <a:moveTo>
                  <a:pt x="0" y="196"/>
                </a:moveTo>
                <a:cubicBezTo>
                  <a:pt x="0" y="200"/>
                  <a:pt x="0" y="200"/>
                  <a:pt x="0" y="200"/>
                </a:cubicBezTo>
                <a:cubicBezTo>
                  <a:pt x="0" y="203"/>
                  <a:pt x="3" y="206"/>
                  <a:pt x="6" y="206"/>
                </a:cubicBezTo>
                <a:cubicBezTo>
                  <a:pt x="9" y="206"/>
                  <a:pt x="12" y="203"/>
                  <a:pt x="12" y="200"/>
                </a:cubicBezTo>
                <a:cubicBezTo>
                  <a:pt x="12" y="196"/>
                  <a:pt x="12" y="196"/>
                  <a:pt x="12" y="196"/>
                </a:cubicBezTo>
                <a:cubicBezTo>
                  <a:pt x="12" y="192"/>
                  <a:pt x="9" y="190"/>
                  <a:pt x="6" y="190"/>
                </a:cubicBezTo>
                <a:cubicBezTo>
                  <a:pt x="3" y="190"/>
                  <a:pt x="0" y="192"/>
                  <a:pt x="0" y="196"/>
                </a:cubicBezTo>
                <a:close/>
                <a:moveTo>
                  <a:pt x="0" y="172"/>
                </a:moveTo>
                <a:cubicBezTo>
                  <a:pt x="0" y="176"/>
                  <a:pt x="0" y="176"/>
                  <a:pt x="0" y="176"/>
                </a:cubicBezTo>
                <a:cubicBezTo>
                  <a:pt x="0" y="179"/>
                  <a:pt x="3" y="182"/>
                  <a:pt x="6" y="182"/>
                </a:cubicBezTo>
                <a:cubicBezTo>
                  <a:pt x="9" y="182"/>
                  <a:pt x="12" y="179"/>
                  <a:pt x="12" y="176"/>
                </a:cubicBezTo>
                <a:cubicBezTo>
                  <a:pt x="12" y="172"/>
                  <a:pt x="12" y="172"/>
                  <a:pt x="12" y="172"/>
                </a:cubicBezTo>
                <a:cubicBezTo>
                  <a:pt x="12" y="169"/>
                  <a:pt x="9" y="166"/>
                  <a:pt x="6" y="166"/>
                </a:cubicBezTo>
                <a:cubicBezTo>
                  <a:pt x="3" y="166"/>
                  <a:pt x="0" y="169"/>
                  <a:pt x="0" y="172"/>
                </a:cubicBezTo>
                <a:close/>
                <a:moveTo>
                  <a:pt x="0" y="148"/>
                </a:moveTo>
                <a:cubicBezTo>
                  <a:pt x="0" y="152"/>
                  <a:pt x="0" y="152"/>
                  <a:pt x="0" y="152"/>
                </a:cubicBezTo>
                <a:cubicBezTo>
                  <a:pt x="0" y="156"/>
                  <a:pt x="3" y="158"/>
                  <a:pt x="6" y="158"/>
                </a:cubicBezTo>
                <a:cubicBezTo>
                  <a:pt x="9" y="158"/>
                  <a:pt x="12" y="156"/>
                  <a:pt x="12" y="152"/>
                </a:cubicBezTo>
                <a:cubicBezTo>
                  <a:pt x="12" y="148"/>
                  <a:pt x="12" y="148"/>
                  <a:pt x="12" y="148"/>
                </a:cubicBezTo>
                <a:cubicBezTo>
                  <a:pt x="12" y="145"/>
                  <a:pt x="9" y="142"/>
                  <a:pt x="6" y="142"/>
                </a:cubicBezTo>
                <a:cubicBezTo>
                  <a:pt x="3" y="142"/>
                  <a:pt x="0" y="145"/>
                  <a:pt x="0" y="148"/>
                </a:cubicBezTo>
                <a:close/>
                <a:moveTo>
                  <a:pt x="0" y="125"/>
                </a:moveTo>
                <a:cubicBezTo>
                  <a:pt x="0" y="129"/>
                  <a:pt x="0" y="129"/>
                  <a:pt x="0" y="129"/>
                </a:cubicBezTo>
                <a:cubicBezTo>
                  <a:pt x="0" y="132"/>
                  <a:pt x="3" y="135"/>
                  <a:pt x="6" y="135"/>
                </a:cubicBezTo>
                <a:cubicBezTo>
                  <a:pt x="9" y="135"/>
                  <a:pt x="12" y="132"/>
                  <a:pt x="12" y="129"/>
                </a:cubicBezTo>
                <a:cubicBezTo>
                  <a:pt x="12" y="125"/>
                  <a:pt x="12" y="125"/>
                  <a:pt x="12" y="125"/>
                </a:cubicBezTo>
                <a:cubicBezTo>
                  <a:pt x="12" y="121"/>
                  <a:pt x="9" y="119"/>
                  <a:pt x="6" y="119"/>
                </a:cubicBezTo>
                <a:cubicBezTo>
                  <a:pt x="3" y="119"/>
                  <a:pt x="0" y="121"/>
                  <a:pt x="0" y="125"/>
                </a:cubicBezTo>
                <a:close/>
                <a:moveTo>
                  <a:pt x="0" y="101"/>
                </a:moveTo>
                <a:cubicBezTo>
                  <a:pt x="0" y="105"/>
                  <a:pt x="0" y="105"/>
                  <a:pt x="0" y="105"/>
                </a:cubicBezTo>
                <a:cubicBezTo>
                  <a:pt x="0" y="108"/>
                  <a:pt x="3" y="111"/>
                  <a:pt x="6" y="111"/>
                </a:cubicBezTo>
                <a:cubicBezTo>
                  <a:pt x="9" y="111"/>
                  <a:pt x="12" y="108"/>
                  <a:pt x="12" y="105"/>
                </a:cubicBezTo>
                <a:cubicBezTo>
                  <a:pt x="12" y="101"/>
                  <a:pt x="12" y="101"/>
                  <a:pt x="12" y="101"/>
                </a:cubicBezTo>
                <a:cubicBezTo>
                  <a:pt x="12" y="98"/>
                  <a:pt x="9" y="95"/>
                  <a:pt x="6" y="95"/>
                </a:cubicBezTo>
                <a:cubicBezTo>
                  <a:pt x="3" y="95"/>
                  <a:pt x="0" y="98"/>
                  <a:pt x="0" y="101"/>
                </a:cubicBezTo>
                <a:close/>
                <a:moveTo>
                  <a:pt x="0" y="77"/>
                </a:moveTo>
                <a:cubicBezTo>
                  <a:pt x="0" y="81"/>
                  <a:pt x="0" y="81"/>
                  <a:pt x="0" y="81"/>
                </a:cubicBezTo>
                <a:cubicBezTo>
                  <a:pt x="0" y="85"/>
                  <a:pt x="3" y="87"/>
                  <a:pt x="6" y="87"/>
                </a:cubicBezTo>
                <a:cubicBezTo>
                  <a:pt x="9" y="87"/>
                  <a:pt x="12" y="85"/>
                  <a:pt x="12" y="81"/>
                </a:cubicBezTo>
                <a:cubicBezTo>
                  <a:pt x="12" y="77"/>
                  <a:pt x="12" y="77"/>
                  <a:pt x="12" y="77"/>
                </a:cubicBezTo>
                <a:cubicBezTo>
                  <a:pt x="12" y="74"/>
                  <a:pt x="9" y="71"/>
                  <a:pt x="6" y="71"/>
                </a:cubicBezTo>
                <a:cubicBezTo>
                  <a:pt x="3" y="71"/>
                  <a:pt x="0" y="74"/>
                  <a:pt x="0" y="77"/>
                </a:cubicBezTo>
                <a:close/>
                <a:moveTo>
                  <a:pt x="0" y="54"/>
                </a:moveTo>
                <a:cubicBezTo>
                  <a:pt x="0" y="58"/>
                  <a:pt x="0" y="58"/>
                  <a:pt x="0" y="58"/>
                </a:cubicBezTo>
                <a:cubicBezTo>
                  <a:pt x="0" y="61"/>
                  <a:pt x="3" y="64"/>
                  <a:pt x="6" y="64"/>
                </a:cubicBezTo>
                <a:cubicBezTo>
                  <a:pt x="9" y="64"/>
                  <a:pt x="12" y="61"/>
                  <a:pt x="12" y="58"/>
                </a:cubicBezTo>
                <a:cubicBezTo>
                  <a:pt x="12" y="54"/>
                  <a:pt x="12" y="54"/>
                  <a:pt x="12" y="54"/>
                </a:cubicBezTo>
                <a:cubicBezTo>
                  <a:pt x="12" y="50"/>
                  <a:pt x="9" y="48"/>
                  <a:pt x="6" y="48"/>
                </a:cubicBezTo>
                <a:cubicBezTo>
                  <a:pt x="3" y="48"/>
                  <a:pt x="0" y="50"/>
                  <a:pt x="0" y="54"/>
                </a:cubicBezTo>
                <a:close/>
                <a:moveTo>
                  <a:pt x="0" y="30"/>
                </a:moveTo>
                <a:cubicBezTo>
                  <a:pt x="0" y="34"/>
                  <a:pt x="0" y="34"/>
                  <a:pt x="0" y="34"/>
                </a:cubicBezTo>
                <a:cubicBezTo>
                  <a:pt x="0" y="37"/>
                  <a:pt x="3" y="40"/>
                  <a:pt x="6" y="40"/>
                </a:cubicBezTo>
                <a:cubicBezTo>
                  <a:pt x="9" y="40"/>
                  <a:pt x="12" y="37"/>
                  <a:pt x="12" y="34"/>
                </a:cubicBezTo>
                <a:cubicBezTo>
                  <a:pt x="12" y="30"/>
                  <a:pt x="12" y="30"/>
                  <a:pt x="12" y="30"/>
                </a:cubicBezTo>
                <a:cubicBezTo>
                  <a:pt x="12" y="27"/>
                  <a:pt x="9" y="24"/>
                  <a:pt x="6" y="24"/>
                </a:cubicBezTo>
                <a:cubicBezTo>
                  <a:pt x="3" y="24"/>
                  <a:pt x="0" y="27"/>
                  <a:pt x="0" y="30"/>
                </a:cubicBezTo>
                <a:close/>
                <a:moveTo>
                  <a:pt x="0" y="6"/>
                </a:moveTo>
                <a:cubicBezTo>
                  <a:pt x="0" y="10"/>
                  <a:pt x="0" y="10"/>
                  <a:pt x="0" y="10"/>
                </a:cubicBezTo>
                <a:cubicBezTo>
                  <a:pt x="0" y="14"/>
                  <a:pt x="3" y="16"/>
                  <a:pt x="6" y="16"/>
                </a:cubicBezTo>
                <a:cubicBezTo>
                  <a:pt x="9" y="16"/>
                  <a:pt x="12" y="14"/>
                  <a:pt x="12" y="10"/>
                </a:cubicBezTo>
                <a:cubicBezTo>
                  <a:pt x="12" y="6"/>
                  <a:pt x="12" y="6"/>
                  <a:pt x="12" y="6"/>
                </a:cubicBezTo>
                <a:cubicBezTo>
                  <a:pt x="12" y="3"/>
                  <a:pt x="9" y="0"/>
                  <a:pt x="6" y="0"/>
                </a:cubicBezTo>
                <a:cubicBezTo>
                  <a:pt x="3" y="0"/>
                  <a:pt x="0" y="3"/>
                  <a:pt x="0" y="6"/>
                </a:cubicBezTo>
                <a:close/>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111">
            <a:extLst>
              <a:ext uri="{FF2B5EF4-FFF2-40B4-BE49-F238E27FC236}">
                <a16:creationId xmlns:a16="http://schemas.microsoft.com/office/drawing/2014/main" id="{A8B643AE-8051-497E-BD9E-30C40E4BBF3B}"/>
              </a:ext>
            </a:extLst>
          </p:cNvPr>
          <p:cNvSpPr>
            <a:spLocks/>
          </p:cNvSpPr>
          <p:nvPr/>
        </p:nvSpPr>
        <p:spPr bwMode="auto">
          <a:xfrm>
            <a:off x="6488903" y="5520438"/>
            <a:ext cx="28343" cy="33404"/>
          </a:xfrm>
          <a:custGeom>
            <a:avLst/>
            <a:gdLst>
              <a:gd name="T0" fmla="*/ 0 w 12"/>
              <a:gd name="T1" fmla="*/ 6 h 14"/>
              <a:gd name="T2" fmla="*/ 0 w 12"/>
              <a:gd name="T3" fmla="*/ 8 h 14"/>
              <a:gd name="T4" fmla="*/ 6 w 12"/>
              <a:gd name="T5" fmla="*/ 14 h 14"/>
              <a:gd name="T6" fmla="*/ 12 w 12"/>
              <a:gd name="T7" fmla="*/ 8 h 14"/>
              <a:gd name="T8" fmla="*/ 12 w 12"/>
              <a:gd name="T9" fmla="*/ 6 h 14"/>
              <a:gd name="T10" fmla="*/ 6 w 12"/>
              <a:gd name="T11" fmla="*/ 0 h 14"/>
              <a:gd name="T12" fmla="*/ 0 w 12"/>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12" h="14">
                <a:moveTo>
                  <a:pt x="0" y="6"/>
                </a:moveTo>
                <a:cubicBezTo>
                  <a:pt x="0" y="8"/>
                  <a:pt x="0" y="8"/>
                  <a:pt x="0" y="8"/>
                </a:cubicBezTo>
                <a:cubicBezTo>
                  <a:pt x="0" y="11"/>
                  <a:pt x="3" y="14"/>
                  <a:pt x="6" y="14"/>
                </a:cubicBezTo>
                <a:cubicBezTo>
                  <a:pt x="9" y="14"/>
                  <a:pt x="12" y="11"/>
                  <a:pt x="12" y="8"/>
                </a:cubicBezTo>
                <a:cubicBezTo>
                  <a:pt x="12" y="6"/>
                  <a:pt x="12" y="6"/>
                  <a:pt x="12" y="6"/>
                </a:cubicBezTo>
                <a:cubicBezTo>
                  <a:pt x="12" y="3"/>
                  <a:pt x="9" y="0"/>
                  <a:pt x="6" y="0"/>
                </a:cubicBezTo>
                <a:cubicBezTo>
                  <a:pt x="3" y="0"/>
                  <a:pt x="0" y="3"/>
                  <a:pt x="0" y="6"/>
                </a:cubicBezTo>
              </a:path>
            </a:pathLst>
          </a:custGeom>
          <a:solidFill>
            <a:srgbClr val="1CA1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12">
            <a:extLst>
              <a:ext uri="{FF2B5EF4-FFF2-40B4-BE49-F238E27FC236}">
                <a16:creationId xmlns:a16="http://schemas.microsoft.com/office/drawing/2014/main" id="{3D3E0BFF-92C7-4A4E-AFE3-53844B797272}"/>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 name="T16" fmla="*/ 615 w 615"/>
              <a:gd name="T17" fmla="*/ 2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5" h="550">
                <a:moveTo>
                  <a:pt x="615" y="204"/>
                </a:moveTo>
                <a:lnTo>
                  <a:pt x="615" y="0"/>
                </a:lnTo>
                <a:lnTo>
                  <a:pt x="0" y="0"/>
                </a:lnTo>
                <a:lnTo>
                  <a:pt x="0" y="434"/>
                </a:lnTo>
                <a:lnTo>
                  <a:pt x="107" y="434"/>
                </a:lnTo>
                <a:lnTo>
                  <a:pt x="107" y="550"/>
                </a:lnTo>
                <a:lnTo>
                  <a:pt x="223" y="434"/>
                </a:lnTo>
                <a:lnTo>
                  <a:pt x="408" y="434"/>
                </a:lnTo>
                <a:lnTo>
                  <a:pt x="615" y="2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3">
            <a:extLst>
              <a:ext uri="{FF2B5EF4-FFF2-40B4-BE49-F238E27FC236}">
                <a16:creationId xmlns:a16="http://schemas.microsoft.com/office/drawing/2014/main" id="{7FCCCC2A-2C86-43A5-94C2-3895E395867F}"/>
              </a:ext>
            </a:extLst>
          </p:cNvPr>
          <p:cNvSpPr>
            <a:spLocks/>
          </p:cNvSpPr>
          <p:nvPr/>
        </p:nvSpPr>
        <p:spPr bwMode="auto">
          <a:xfrm>
            <a:off x="6517246" y="5744145"/>
            <a:ext cx="622531" cy="556735"/>
          </a:xfrm>
          <a:custGeom>
            <a:avLst/>
            <a:gdLst>
              <a:gd name="T0" fmla="*/ 615 w 615"/>
              <a:gd name="T1" fmla="*/ 204 h 550"/>
              <a:gd name="T2" fmla="*/ 615 w 615"/>
              <a:gd name="T3" fmla="*/ 0 h 550"/>
              <a:gd name="T4" fmla="*/ 0 w 615"/>
              <a:gd name="T5" fmla="*/ 0 h 550"/>
              <a:gd name="T6" fmla="*/ 0 w 615"/>
              <a:gd name="T7" fmla="*/ 434 h 550"/>
              <a:gd name="T8" fmla="*/ 107 w 615"/>
              <a:gd name="T9" fmla="*/ 434 h 550"/>
              <a:gd name="T10" fmla="*/ 107 w 615"/>
              <a:gd name="T11" fmla="*/ 550 h 550"/>
              <a:gd name="T12" fmla="*/ 223 w 615"/>
              <a:gd name="T13" fmla="*/ 434 h 550"/>
              <a:gd name="T14" fmla="*/ 408 w 615"/>
              <a:gd name="T15" fmla="*/ 434 h 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5" h="550">
                <a:moveTo>
                  <a:pt x="615" y="204"/>
                </a:moveTo>
                <a:lnTo>
                  <a:pt x="615" y="0"/>
                </a:lnTo>
                <a:lnTo>
                  <a:pt x="0" y="0"/>
                </a:lnTo>
                <a:lnTo>
                  <a:pt x="0" y="434"/>
                </a:lnTo>
                <a:lnTo>
                  <a:pt x="107" y="434"/>
                </a:lnTo>
                <a:lnTo>
                  <a:pt x="107" y="550"/>
                </a:lnTo>
                <a:lnTo>
                  <a:pt x="223" y="434"/>
                </a:lnTo>
                <a:lnTo>
                  <a:pt x="408" y="4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14">
            <a:extLst>
              <a:ext uri="{FF2B5EF4-FFF2-40B4-BE49-F238E27FC236}">
                <a16:creationId xmlns:a16="http://schemas.microsoft.com/office/drawing/2014/main" id="{448F3735-00E5-4CB1-9217-0E935E3D0168}"/>
              </a:ext>
            </a:extLst>
          </p:cNvPr>
          <p:cNvSpPr>
            <a:spLocks/>
          </p:cNvSpPr>
          <p:nvPr/>
        </p:nvSpPr>
        <p:spPr bwMode="auto">
          <a:xfrm>
            <a:off x="6503075" y="5728961"/>
            <a:ext cx="650874" cy="586090"/>
          </a:xfrm>
          <a:custGeom>
            <a:avLst/>
            <a:gdLst>
              <a:gd name="T0" fmla="*/ 271 w 271"/>
              <a:gd name="T1" fmla="*/ 92 h 244"/>
              <a:gd name="T2" fmla="*/ 271 w 271"/>
              <a:gd name="T3" fmla="*/ 6 h 244"/>
              <a:gd name="T4" fmla="*/ 269 w 271"/>
              <a:gd name="T5" fmla="*/ 1 h 244"/>
              <a:gd name="T6" fmla="*/ 265 w 271"/>
              <a:gd name="T7" fmla="*/ 0 h 244"/>
              <a:gd name="T8" fmla="*/ 6 w 271"/>
              <a:gd name="T9" fmla="*/ 0 h 244"/>
              <a:gd name="T10" fmla="*/ 2 w 271"/>
              <a:gd name="T11" fmla="*/ 1 h 244"/>
              <a:gd name="T12" fmla="*/ 0 w 271"/>
              <a:gd name="T13" fmla="*/ 6 h 244"/>
              <a:gd name="T14" fmla="*/ 0 w 271"/>
              <a:gd name="T15" fmla="*/ 189 h 244"/>
              <a:gd name="T16" fmla="*/ 2 w 271"/>
              <a:gd name="T17" fmla="*/ 193 h 244"/>
              <a:gd name="T18" fmla="*/ 6 w 271"/>
              <a:gd name="T19" fmla="*/ 195 h 244"/>
              <a:gd name="T20" fmla="*/ 45 w 271"/>
              <a:gd name="T21" fmla="*/ 195 h 244"/>
              <a:gd name="T22" fmla="*/ 45 w 271"/>
              <a:gd name="T23" fmla="*/ 238 h 244"/>
              <a:gd name="T24" fmla="*/ 49 w 271"/>
              <a:gd name="T25" fmla="*/ 243 h 244"/>
              <a:gd name="T26" fmla="*/ 56 w 271"/>
              <a:gd name="T27" fmla="*/ 242 h 244"/>
              <a:gd name="T28" fmla="*/ 102 w 271"/>
              <a:gd name="T29" fmla="*/ 195 h 244"/>
              <a:gd name="T30" fmla="*/ 178 w 271"/>
              <a:gd name="T31" fmla="*/ 195 h 244"/>
              <a:gd name="T32" fmla="*/ 184 w 271"/>
              <a:gd name="T33" fmla="*/ 189 h 244"/>
              <a:gd name="T34" fmla="*/ 178 w 271"/>
              <a:gd name="T35" fmla="*/ 183 h 244"/>
              <a:gd name="T36" fmla="*/ 100 w 271"/>
              <a:gd name="T37" fmla="*/ 183 h 244"/>
              <a:gd name="T38" fmla="*/ 96 w 271"/>
              <a:gd name="T39" fmla="*/ 185 h 244"/>
              <a:gd name="T40" fmla="*/ 57 w 271"/>
              <a:gd name="T41" fmla="*/ 223 h 244"/>
              <a:gd name="T42" fmla="*/ 57 w 271"/>
              <a:gd name="T43" fmla="*/ 189 h 244"/>
              <a:gd name="T44" fmla="*/ 56 w 271"/>
              <a:gd name="T45" fmla="*/ 185 h 244"/>
              <a:gd name="T46" fmla="*/ 51 w 271"/>
              <a:gd name="T47" fmla="*/ 183 h 244"/>
              <a:gd name="T48" fmla="*/ 12 w 271"/>
              <a:gd name="T49" fmla="*/ 183 h 244"/>
              <a:gd name="T50" fmla="*/ 12 w 271"/>
              <a:gd name="T51" fmla="*/ 12 h 244"/>
              <a:gd name="T52" fmla="*/ 259 w 271"/>
              <a:gd name="T53" fmla="*/ 12 h 244"/>
              <a:gd name="T54" fmla="*/ 259 w 271"/>
              <a:gd name="T55" fmla="*/ 92 h 244"/>
              <a:gd name="T56" fmla="*/ 265 w 271"/>
              <a:gd name="T57" fmla="*/ 98 h 244"/>
              <a:gd name="T58" fmla="*/ 271 w 271"/>
              <a:gd name="T59" fmla="*/ 9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244">
                <a:moveTo>
                  <a:pt x="271" y="92"/>
                </a:moveTo>
                <a:cubicBezTo>
                  <a:pt x="271" y="6"/>
                  <a:pt x="271" y="6"/>
                  <a:pt x="271" y="6"/>
                </a:cubicBezTo>
                <a:cubicBezTo>
                  <a:pt x="271" y="4"/>
                  <a:pt x="270" y="2"/>
                  <a:pt x="269" y="1"/>
                </a:cubicBezTo>
                <a:cubicBezTo>
                  <a:pt x="268" y="0"/>
                  <a:pt x="266" y="0"/>
                  <a:pt x="265" y="0"/>
                </a:cubicBezTo>
                <a:cubicBezTo>
                  <a:pt x="6" y="0"/>
                  <a:pt x="6" y="0"/>
                  <a:pt x="6" y="0"/>
                </a:cubicBezTo>
                <a:cubicBezTo>
                  <a:pt x="5" y="0"/>
                  <a:pt x="3" y="0"/>
                  <a:pt x="2" y="1"/>
                </a:cubicBezTo>
                <a:cubicBezTo>
                  <a:pt x="1" y="2"/>
                  <a:pt x="0" y="4"/>
                  <a:pt x="0" y="6"/>
                </a:cubicBezTo>
                <a:cubicBezTo>
                  <a:pt x="0" y="189"/>
                  <a:pt x="0" y="189"/>
                  <a:pt x="0" y="189"/>
                </a:cubicBezTo>
                <a:cubicBezTo>
                  <a:pt x="0" y="191"/>
                  <a:pt x="1" y="192"/>
                  <a:pt x="2" y="193"/>
                </a:cubicBezTo>
                <a:cubicBezTo>
                  <a:pt x="3" y="194"/>
                  <a:pt x="5" y="195"/>
                  <a:pt x="6" y="195"/>
                </a:cubicBezTo>
                <a:cubicBezTo>
                  <a:pt x="45" y="195"/>
                  <a:pt x="45" y="195"/>
                  <a:pt x="45" y="195"/>
                </a:cubicBezTo>
                <a:cubicBezTo>
                  <a:pt x="45" y="238"/>
                  <a:pt x="45" y="238"/>
                  <a:pt x="45" y="238"/>
                </a:cubicBezTo>
                <a:cubicBezTo>
                  <a:pt x="45" y="240"/>
                  <a:pt x="47" y="242"/>
                  <a:pt x="49" y="243"/>
                </a:cubicBezTo>
                <a:cubicBezTo>
                  <a:pt x="51" y="244"/>
                  <a:pt x="54" y="244"/>
                  <a:pt x="56" y="242"/>
                </a:cubicBezTo>
                <a:cubicBezTo>
                  <a:pt x="102" y="195"/>
                  <a:pt x="102" y="195"/>
                  <a:pt x="102" y="195"/>
                </a:cubicBezTo>
                <a:cubicBezTo>
                  <a:pt x="178" y="195"/>
                  <a:pt x="178" y="195"/>
                  <a:pt x="178" y="195"/>
                </a:cubicBezTo>
                <a:cubicBezTo>
                  <a:pt x="181" y="195"/>
                  <a:pt x="184" y="192"/>
                  <a:pt x="184" y="189"/>
                </a:cubicBezTo>
                <a:cubicBezTo>
                  <a:pt x="184" y="186"/>
                  <a:pt x="181" y="183"/>
                  <a:pt x="178" y="183"/>
                </a:cubicBezTo>
                <a:cubicBezTo>
                  <a:pt x="100" y="183"/>
                  <a:pt x="100" y="183"/>
                  <a:pt x="100" y="183"/>
                </a:cubicBezTo>
                <a:cubicBezTo>
                  <a:pt x="98" y="183"/>
                  <a:pt x="97" y="184"/>
                  <a:pt x="96" y="185"/>
                </a:cubicBezTo>
                <a:cubicBezTo>
                  <a:pt x="57" y="223"/>
                  <a:pt x="57" y="223"/>
                  <a:pt x="57" y="223"/>
                </a:cubicBezTo>
                <a:cubicBezTo>
                  <a:pt x="57" y="189"/>
                  <a:pt x="57" y="189"/>
                  <a:pt x="57" y="189"/>
                </a:cubicBezTo>
                <a:cubicBezTo>
                  <a:pt x="57" y="187"/>
                  <a:pt x="57" y="186"/>
                  <a:pt x="56" y="185"/>
                </a:cubicBezTo>
                <a:cubicBezTo>
                  <a:pt x="54" y="184"/>
                  <a:pt x="53" y="183"/>
                  <a:pt x="51" y="183"/>
                </a:cubicBezTo>
                <a:cubicBezTo>
                  <a:pt x="12" y="183"/>
                  <a:pt x="12" y="183"/>
                  <a:pt x="12" y="183"/>
                </a:cubicBezTo>
                <a:cubicBezTo>
                  <a:pt x="12" y="12"/>
                  <a:pt x="12" y="12"/>
                  <a:pt x="12" y="12"/>
                </a:cubicBezTo>
                <a:cubicBezTo>
                  <a:pt x="259" y="12"/>
                  <a:pt x="259" y="12"/>
                  <a:pt x="259" y="12"/>
                </a:cubicBezTo>
                <a:cubicBezTo>
                  <a:pt x="259" y="92"/>
                  <a:pt x="259" y="92"/>
                  <a:pt x="259" y="92"/>
                </a:cubicBezTo>
                <a:cubicBezTo>
                  <a:pt x="259" y="95"/>
                  <a:pt x="261" y="98"/>
                  <a:pt x="265" y="98"/>
                </a:cubicBezTo>
                <a:cubicBezTo>
                  <a:pt x="268" y="98"/>
                  <a:pt x="271" y="95"/>
                  <a:pt x="271" y="92"/>
                </a:cubicBez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15">
            <a:extLst>
              <a:ext uri="{FF2B5EF4-FFF2-40B4-BE49-F238E27FC236}">
                <a16:creationId xmlns:a16="http://schemas.microsoft.com/office/drawing/2014/main" id="{07A1CF61-F93A-4DC1-A2CD-AFC222CDE5D6}"/>
              </a:ext>
            </a:extLst>
          </p:cNvPr>
          <p:cNvSpPr>
            <a:spLocks/>
          </p:cNvSpPr>
          <p:nvPr/>
        </p:nvSpPr>
        <p:spPr bwMode="auto">
          <a:xfrm>
            <a:off x="6671108" y="5854479"/>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Line 116">
            <a:extLst>
              <a:ext uri="{FF2B5EF4-FFF2-40B4-BE49-F238E27FC236}">
                <a16:creationId xmlns:a16="http://schemas.microsoft.com/office/drawing/2014/main" id="{4A7C9D3E-D60C-4BEE-A928-85B9F65608BB}"/>
              </a:ext>
            </a:extLst>
          </p:cNvPr>
          <p:cNvSpPr>
            <a:spLocks noChangeShapeType="1"/>
          </p:cNvSpPr>
          <p:nvPr/>
        </p:nvSpPr>
        <p:spPr bwMode="auto">
          <a:xfrm>
            <a:off x="6671108" y="5854479"/>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17">
            <a:extLst>
              <a:ext uri="{FF2B5EF4-FFF2-40B4-BE49-F238E27FC236}">
                <a16:creationId xmlns:a16="http://schemas.microsoft.com/office/drawing/2014/main" id="{37F67472-064E-4004-AAA6-03653B1E09E9}"/>
              </a:ext>
            </a:extLst>
          </p:cNvPr>
          <p:cNvSpPr>
            <a:spLocks/>
          </p:cNvSpPr>
          <p:nvPr/>
        </p:nvSpPr>
        <p:spPr bwMode="auto">
          <a:xfrm>
            <a:off x="6656936" y="5839296"/>
            <a:ext cx="415021" cy="29355"/>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2"/>
                  <a:pt x="170" y="0"/>
                  <a:pt x="167" y="0"/>
                </a:cubicBezTo>
                <a:cubicBezTo>
                  <a:pt x="6" y="0"/>
                  <a:pt x="6" y="0"/>
                  <a:pt x="6" y="0"/>
                </a:cubicBezTo>
                <a:cubicBezTo>
                  <a:pt x="3" y="0"/>
                  <a:pt x="0" y="2"/>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18">
            <a:extLst>
              <a:ext uri="{FF2B5EF4-FFF2-40B4-BE49-F238E27FC236}">
                <a16:creationId xmlns:a16="http://schemas.microsoft.com/office/drawing/2014/main" id="{BDD5CC62-305B-4339-B5DC-F1C10826D325}"/>
              </a:ext>
            </a:extLst>
          </p:cNvPr>
          <p:cNvSpPr>
            <a:spLocks/>
          </p:cNvSpPr>
          <p:nvPr/>
        </p:nvSpPr>
        <p:spPr bwMode="auto">
          <a:xfrm>
            <a:off x="6671108" y="5921288"/>
            <a:ext cx="386678" cy="0"/>
          </a:xfrm>
          <a:custGeom>
            <a:avLst/>
            <a:gdLst>
              <a:gd name="T0" fmla="*/ 0 w 382"/>
              <a:gd name="T1" fmla="*/ 382 w 382"/>
              <a:gd name="T2" fmla="*/ 0 w 382"/>
            </a:gdLst>
            <a:ahLst/>
            <a:cxnLst>
              <a:cxn ang="0">
                <a:pos x="T0" y="0"/>
              </a:cxn>
              <a:cxn ang="0">
                <a:pos x="T1" y="0"/>
              </a:cxn>
              <a:cxn ang="0">
                <a:pos x="T2" y="0"/>
              </a:cxn>
            </a:cxnLst>
            <a:rect l="0" t="0" r="r" b="b"/>
            <a:pathLst>
              <a:path w="382">
                <a:moveTo>
                  <a:pt x="0" y="0"/>
                </a:moveTo>
                <a:lnTo>
                  <a:pt x="3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Line 119">
            <a:extLst>
              <a:ext uri="{FF2B5EF4-FFF2-40B4-BE49-F238E27FC236}">
                <a16:creationId xmlns:a16="http://schemas.microsoft.com/office/drawing/2014/main" id="{828ADA32-27AB-4A32-8FFB-4F87D03B5CDE}"/>
              </a:ext>
            </a:extLst>
          </p:cNvPr>
          <p:cNvSpPr>
            <a:spLocks noChangeShapeType="1"/>
          </p:cNvSpPr>
          <p:nvPr/>
        </p:nvSpPr>
        <p:spPr bwMode="auto">
          <a:xfrm>
            <a:off x="6671108" y="5921288"/>
            <a:ext cx="38667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20">
            <a:extLst>
              <a:ext uri="{FF2B5EF4-FFF2-40B4-BE49-F238E27FC236}">
                <a16:creationId xmlns:a16="http://schemas.microsoft.com/office/drawing/2014/main" id="{7CDFC42A-4652-4240-8D03-E1DF95444692}"/>
              </a:ext>
            </a:extLst>
          </p:cNvPr>
          <p:cNvSpPr>
            <a:spLocks/>
          </p:cNvSpPr>
          <p:nvPr/>
        </p:nvSpPr>
        <p:spPr bwMode="auto">
          <a:xfrm>
            <a:off x="6656936" y="5907116"/>
            <a:ext cx="415021" cy="28343"/>
          </a:xfrm>
          <a:custGeom>
            <a:avLst/>
            <a:gdLst>
              <a:gd name="T0" fmla="*/ 6 w 173"/>
              <a:gd name="T1" fmla="*/ 12 h 12"/>
              <a:gd name="T2" fmla="*/ 167 w 173"/>
              <a:gd name="T3" fmla="*/ 12 h 12"/>
              <a:gd name="T4" fmla="*/ 173 w 173"/>
              <a:gd name="T5" fmla="*/ 6 h 12"/>
              <a:gd name="T6" fmla="*/ 167 w 173"/>
              <a:gd name="T7" fmla="*/ 0 h 12"/>
              <a:gd name="T8" fmla="*/ 6 w 173"/>
              <a:gd name="T9" fmla="*/ 0 h 12"/>
              <a:gd name="T10" fmla="*/ 0 w 173"/>
              <a:gd name="T11" fmla="*/ 6 h 12"/>
              <a:gd name="T12" fmla="*/ 6 w 17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73" h="12">
                <a:moveTo>
                  <a:pt x="6" y="12"/>
                </a:moveTo>
                <a:cubicBezTo>
                  <a:pt x="167" y="12"/>
                  <a:pt x="167" y="12"/>
                  <a:pt x="167" y="12"/>
                </a:cubicBezTo>
                <a:cubicBezTo>
                  <a:pt x="170" y="12"/>
                  <a:pt x="173" y="9"/>
                  <a:pt x="173" y="6"/>
                </a:cubicBezTo>
                <a:cubicBezTo>
                  <a:pt x="173" y="3"/>
                  <a:pt x="170" y="0"/>
                  <a:pt x="167" y="0"/>
                </a:cubicBezTo>
                <a:cubicBezTo>
                  <a:pt x="6" y="0"/>
                  <a:pt x="6" y="0"/>
                  <a:pt x="6" y="0"/>
                </a:cubicBezTo>
                <a:cubicBezTo>
                  <a:pt x="3" y="0"/>
                  <a:pt x="0" y="3"/>
                  <a:pt x="0" y="6"/>
                </a:cubicBezTo>
                <a:cubicBezTo>
                  <a:pt x="0" y="9"/>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21">
            <a:extLst>
              <a:ext uri="{FF2B5EF4-FFF2-40B4-BE49-F238E27FC236}">
                <a16:creationId xmlns:a16="http://schemas.microsoft.com/office/drawing/2014/main" id="{29D40E5C-6BAF-4E5C-BD6E-8FBDBC3A17A6}"/>
              </a:ext>
            </a:extLst>
          </p:cNvPr>
          <p:cNvSpPr>
            <a:spLocks/>
          </p:cNvSpPr>
          <p:nvPr/>
        </p:nvSpPr>
        <p:spPr bwMode="auto">
          <a:xfrm>
            <a:off x="6671108" y="5989108"/>
            <a:ext cx="285453" cy="0"/>
          </a:xfrm>
          <a:custGeom>
            <a:avLst/>
            <a:gdLst>
              <a:gd name="T0" fmla="*/ 0 w 282"/>
              <a:gd name="T1" fmla="*/ 282 w 282"/>
              <a:gd name="T2" fmla="*/ 0 w 282"/>
            </a:gdLst>
            <a:ahLst/>
            <a:cxnLst>
              <a:cxn ang="0">
                <a:pos x="T0" y="0"/>
              </a:cxn>
              <a:cxn ang="0">
                <a:pos x="T1" y="0"/>
              </a:cxn>
              <a:cxn ang="0">
                <a:pos x="T2" y="0"/>
              </a:cxn>
            </a:cxnLst>
            <a:rect l="0" t="0" r="r" b="b"/>
            <a:pathLst>
              <a:path w="282">
                <a:moveTo>
                  <a:pt x="0" y="0"/>
                </a:moveTo>
                <a:lnTo>
                  <a:pt x="28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Line 122">
            <a:extLst>
              <a:ext uri="{FF2B5EF4-FFF2-40B4-BE49-F238E27FC236}">
                <a16:creationId xmlns:a16="http://schemas.microsoft.com/office/drawing/2014/main" id="{F1C9D73E-8811-4F3D-B9DC-A1CE6060AE8E}"/>
              </a:ext>
            </a:extLst>
          </p:cNvPr>
          <p:cNvSpPr>
            <a:spLocks noChangeShapeType="1"/>
          </p:cNvSpPr>
          <p:nvPr/>
        </p:nvSpPr>
        <p:spPr bwMode="auto">
          <a:xfrm>
            <a:off x="6671108" y="5989108"/>
            <a:ext cx="28545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Freeform 123">
            <a:extLst>
              <a:ext uri="{FF2B5EF4-FFF2-40B4-BE49-F238E27FC236}">
                <a16:creationId xmlns:a16="http://schemas.microsoft.com/office/drawing/2014/main" id="{EEE89B26-5049-47F9-912C-757E939AAF6D}"/>
              </a:ext>
            </a:extLst>
          </p:cNvPr>
          <p:cNvSpPr>
            <a:spLocks/>
          </p:cNvSpPr>
          <p:nvPr/>
        </p:nvSpPr>
        <p:spPr bwMode="auto">
          <a:xfrm>
            <a:off x="6656936" y="5973924"/>
            <a:ext cx="314808" cy="29355"/>
          </a:xfrm>
          <a:custGeom>
            <a:avLst/>
            <a:gdLst>
              <a:gd name="T0" fmla="*/ 6 w 131"/>
              <a:gd name="T1" fmla="*/ 12 h 12"/>
              <a:gd name="T2" fmla="*/ 125 w 131"/>
              <a:gd name="T3" fmla="*/ 12 h 12"/>
              <a:gd name="T4" fmla="*/ 131 w 131"/>
              <a:gd name="T5" fmla="*/ 6 h 12"/>
              <a:gd name="T6" fmla="*/ 125 w 131"/>
              <a:gd name="T7" fmla="*/ 0 h 12"/>
              <a:gd name="T8" fmla="*/ 6 w 131"/>
              <a:gd name="T9" fmla="*/ 0 h 12"/>
              <a:gd name="T10" fmla="*/ 0 w 131"/>
              <a:gd name="T11" fmla="*/ 6 h 12"/>
              <a:gd name="T12" fmla="*/ 6 w 13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1" h="12">
                <a:moveTo>
                  <a:pt x="6" y="12"/>
                </a:moveTo>
                <a:cubicBezTo>
                  <a:pt x="125" y="12"/>
                  <a:pt x="125" y="12"/>
                  <a:pt x="125" y="12"/>
                </a:cubicBezTo>
                <a:cubicBezTo>
                  <a:pt x="128" y="12"/>
                  <a:pt x="131" y="10"/>
                  <a:pt x="131" y="6"/>
                </a:cubicBezTo>
                <a:cubicBezTo>
                  <a:pt x="131" y="3"/>
                  <a:pt x="128" y="0"/>
                  <a:pt x="125"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24">
            <a:extLst>
              <a:ext uri="{FF2B5EF4-FFF2-40B4-BE49-F238E27FC236}">
                <a16:creationId xmlns:a16="http://schemas.microsoft.com/office/drawing/2014/main" id="{97CA06C6-092D-4F5D-93EF-FA3C6CF73244}"/>
              </a:ext>
            </a:extLst>
          </p:cNvPr>
          <p:cNvSpPr>
            <a:spLocks/>
          </p:cNvSpPr>
          <p:nvPr/>
        </p:nvSpPr>
        <p:spPr bwMode="auto">
          <a:xfrm>
            <a:off x="6671108" y="6055916"/>
            <a:ext cx="242939" cy="0"/>
          </a:xfrm>
          <a:custGeom>
            <a:avLst/>
            <a:gdLst>
              <a:gd name="T0" fmla="*/ 0 w 240"/>
              <a:gd name="T1" fmla="*/ 240 w 240"/>
              <a:gd name="T2" fmla="*/ 0 w 240"/>
            </a:gdLst>
            <a:ahLst/>
            <a:cxnLst>
              <a:cxn ang="0">
                <a:pos x="T0" y="0"/>
              </a:cxn>
              <a:cxn ang="0">
                <a:pos x="T1" y="0"/>
              </a:cxn>
              <a:cxn ang="0">
                <a:pos x="T2" y="0"/>
              </a:cxn>
            </a:cxnLst>
            <a:rect l="0" t="0" r="r" b="b"/>
            <a:pathLst>
              <a:path w="240">
                <a:moveTo>
                  <a:pt x="0" y="0"/>
                </a:moveTo>
                <a:lnTo>
                  <a:pt x="24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Line 125">
            <a:extLst>
              <a:ext uri="{FF2B5EF4-FFF2-40B4-BE49-F238E27FC236}">
                <a16:creationId xmlns:a16="http://schemas.microsoft.com/office/drawing/2014/main" id="{6E624F09-6E3E-49D2-85A4-D3DDDA2AF6F6}"/>
              </a:ext>
            </a:extLst>
          </p:cNvPr>
          <p:cNvSpPr>
            <a:spLocks noChangeShapeType="1"/>
          </p:cNvSpPr>
          <p:nvPr/>
        </p:nvSpPr>
        <p:spPr bwMode="auto">
          <a:xfrm>
            <a:off x="6671108" y="6055916"/>
            <a:ext cx="24293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26">
            <a:extLst>
              <a:ext uri="{FF2B5EF4-FFF2-40B4-BE49-F238E27FC236}">
                <a16:creationId xmlns:a16="http://schemas.microsoft.com/office/drawing/2014/main" id="{6702ED48-B0AC-4AF5-906C-B7DA5175EAF0}"/>
              </a:ext>
            </a:extLst>
          </p:cNvPr>
          <p:cNvSpPr>
            <a:spLocks/>
          </p:cNvSpPr>
          <p:nvPr/>
        </p:nvSpPr>
        <p:spPr bwMode="auto">
          <a:xfrm>
            <a:off x="6656936" y="6041745"/>
            <a:ext cx="271282" cy="28343"/>
          </a:xfrm>
          <a:custGeom>
            <a:avLst/>
            <a:gdLst>
              <a:gd name="T0" fmla="*/ 6 w 113"/>
              <a:gd name="T1" fmla="*/ 12 h 12"/>
              <a:gd name="T2" fmla="*/ 107 w 113"/>
              <a:gd name="T3" fmla="*/ 12 h 12"/>
              <a:gd name="T4" fmla="*/ 113 w 113"/>
              <a:gd name="T5" fmla="*/ 6 h 12"/>
              <a:gd name="T6" fmla="*/ 107 w 113"/>
              <a:gd name="T7" fmla="*/ 0 h 12"/>
              <a:gd name="T8" fmla="*/ 6 w 113"/>
              <a:gd name="T9" fmla="*/ 0 h 12"/>
              <a:gd name="T10" fmla="*/ 0 w 113"/>
              <a:gd name="T11" fmla="*/ 6 h 12"/>
              <a:gd name="T12" fmla="*/ 6 w 11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3" h="12">
                <a:moveTo>
                  <a:pt x="6" y="12"/>
                </a:moveTo>
                <a:cubicBezTo>
                  <a:pt x="107" y="12"/>
                  <a:pt x="107" y="12"/>
                  <a:pt x="107" y="12"/>
                </a:cubicBezTo>
                <a:cubicBezTo>
                  <a:pt x="111" y="12"/>
                  <a:pt x="113" y="10"/>
                  <a:pt x="113" y="6"/>
                </a:cubicBezTo>
                <a:cubicBezTo>
                  <a:pt x="113" y="3"/>
                  <a:pt x="111" y="0"/>
                  <a:pt x="107" y="0"/>
                </a:cubicBezTo>
                <a:cubicBezTo>
                  <a:pt x="6" y="0"/>
                  <a:pt x="6" y="0"/>
                  <a:pt x="6" y="0"/>
                </a:cubicBezTo>
                <a:cubicBezTo>
                  <a:pt x="3" y="0"/>
                  <a:pt x="0" y="3"/>
                  <a:pt x="0" y="6"/>
                </a:cubicBezTo>
                <a:cubicBezTo>
                  <a:pt x="0" y="10"/>
                  <a:pt x="3" y="12"/>
                  <a:pt x="6" y="12"/>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Freeform 127">
            <a:extLst>
              <a:ext uri="{FF2B5EF4-FFF2-40B4-BE49-F238E27FC236}">
                <a16:creationId xmlns:a16="http://schemas.microsoft.com/office/drawing/2014/main" id="{5D547806-A907-4EE1-BD69-32DA35883278}"/>
              </a:ext>
            </a:extLst>
          </p:cNvPr>
          <p:cNvSpPr>
            <a:spLocks/>
          </p:cNvSpPr>
          <p:nvPr/>
        </p:nvSpPr>
        <p:spPr bwMode="auto">
          <a:xfrm>
            <a:off x="6594177" y="5854479"/>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Line 128">
            <a:extLst>
              <a:ext uri="{FF2B5EF4-FFF2-40B4-BE49-F238E27FC236}">
                <a16:creationId xmlns:a16="http://schemas.microsoft.com/office/drawing/2014/main" id="{375C41C1-26CC-436E-95BC-314151503643}"/>
              </a:ext>
            </a:extLst>
          </p:cNvPr>
          <p:cNvSpPr>
            <a:spLocks noChangeShapeType="1"/>
          </p:cNvSpPr>
          <p:nvPr/>
        </p:nvSpPr>
        <p:spPr bwMode="auto">
          <a:xfrm flipH="1">
            <a:off x="6594177" y="5854479"/>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Freeform 129">
            <a:extLst>
              <a:ext uri="{FF2B5EF4-FFF2-40B4-BE49-F238E27FC236}">
                <a16:creationId xmlns:a16="http://schemas.microsoft.com/office/drawing/2014/main" id="{26DF7296-9273-4FD6-873B-C674E2039A18}"/>
              </a:ext>
            </a:extLst>
          </p:cNvPr>
          <p:cNvSpPr>
            <a:spLocks/>
          </p:cNvSpPr>
          <p:nvPr/>
        </p:nvSpPr>
        <p:spPr bwMode="auto">
          <a:xfrm>
            <a:off x="6580005" y="5839296"/>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2"/>
                  <a:pt x="0" y="6"/>
                </a:cubicBezTo>
                <a:cubicBezTo>
                  <a:pt x="0" y="9"/>
                  <a:pt x="2" y="12"/>
                  <a:pt x="6" y="12"/>
                </a:cubicBezTo>
                <a:cubicBezTo>
                  <a:pt x="17" y="12"/>
                  <a:pt x="17" y="12"/>
                  <a:pt x="17" y="12"/>
                </a:cubicBezTo>
                <a:cubicBezTo>
                  <a:pt x="20" y="12"/>
                  <a:pt x="23" y="9"/>
                  <a:pt x="23" y="6"/>
                </a:cubicBezTo>
                <a:cubicBezTo>
                  <a:pt x="23" y="2"/>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Freeform 130">
            <a:extLst>
              <a:ext uri="{FF2B5EF4-FFF2-40B4-BE49-F238E27FC236}">
                <a16:creationId xmlns:a16="http://schemas.microsoft.com/office/drawing/2014/main" id="{0BF50A63-9929-4B37-B626-7653F298DB61}"/>
              </a:ext>
            </a:extLst>
          </p:cNvPr>
          <p:cNvSpPr>
            <a:spLocks/>
          </p:cNvSpPr>
          <p:nvPr/>
        </p:nvSpPr>
        <p:spPr bwMode="auto">
          <a:xfrm>
            <a:off x="6594177" y="592128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Line 131">
            <a:extLst>
              <a:ext uri="{FF2B5EF4-FFF2-40B4-BE49-F238E27FC236}">
                <a16:creationId xmlns:a16="http://schemas.microsoft.com/office/drawing/2014/main" id="{31B2705E-526A-40A3-80FA-568DF6252626}"/>
              </a:ext>
            </a:extLst>
          </p:cNvPr>
          <p:cNvSpPr>
            <a:spLocks noChangeShapeType="1"/>
          </p:cNvSpPr>
          <p:nvPr/>
        </p:nvSpPr>
        <p:spPr bwMode="auto">
          <a:xfrm flipH="1">
            <a:off x="6594177" y="592128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Freeform 132">
            <a:extLst>
              <a:ext uri="{FF2B5EF4-FFF2-40B4-BE49-F238E27FC236}">
                <a16:creationId xmlns:a16="http://schemas.microsoft.com/office/drawing/2014/main" id="{B2D2A2FE-93BC-4C77-B130-44A4FB744C68}"/>
              </a:ext>
            </a:extLst>
          </p:cNvPr>
          <p:cNvSpPr>
            <a:spLocks/>
          </p:cNvSpPr>
          <p:nvPr/>
        </p:nvSpPr>
        <p:spPr bwMode="auto">
          <a:xfrm>
            <a:off x="6580005" y="5907116"/>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9"/>
                  <a:pt x="2" y="12"/>
                  <a:pt x="6" y="12"/>
                </a:cubicBezTo>
                <a:cubicBezTo>
                  <a:pt x="17" y="12"/>
                  <a:pt x="17" y="12"/>
                  <a:pt x="17" y="12"/>
                </a:cubicBezTo>
                <a:cubicBezTo>
                  <a:pt x="20" y="12"/>
                  <a:pt x="23" y="9"/>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33">
            <a:extLst>
              <a:ext uri="{FF2B5EF4-FFF2-40B4-BE49-F238E27FC236}">
                <a16:creationId xmlns:a16="http://schemas.microsoft.com/office/drawing/2014/main" id="{834DD598-1FEF-40C7-A97A-B8B32901FE14}"/>
              </a:ext>
            </a:extLst>
          </p:cNvPr>
          <p:cNvSpPr>
            <a:spLocks/>
          </p:cNvSpPr>
          <p:nvPr/>
        </p:nvSpPr>
        <p:spPr bwMode="auto">
          <a:xfrm>
            <a:off x="6594177" y="5989108"/>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Line 134">
            <a:extLst>
              <a:ext uri="{FF2B5EF4-FFF2-40B4-BE49-F238E27FC236}">
                <a16:creationId xmlns:a16="http://schemas.microsoft.com/office/drawing/2014/main" id="{46E0AFF3-2C56-4668-87B7-46B5501F0802}"/>
              </a:ext>
            </a:extLst>
          </p:cNvPr>
          <p:cNvSpPr>
            <a:spLocks noChangeShapeType="1"/>
          </p:cNvSpPr>
          <p:nvPr/>
        </p:nvSpPr>
        <p:spPr bwMode="auto">
          <a:xfrm flipH="1">
            <a:off x="6594177" y="5989108"/>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Freeform 135">
            <a:extLst>
              <a:ext uri="{FF2B5EF4-FFF2-40B4-BE49-F238E27FC236}">
                <a16:creationId xmlns:a16="http://schemas.microsoft.com/office/drawing/2014/main" id="{AB997A49-2BD9-40FD-9896-B36DF4C9FD4B}"/>
              </a:ext>
            </a:extLst>
          </p:cNvPr>
          <p:cNvSpPr>
            <a:spLocks/>
          </p:cNvSpPr>
          <p:nvPr/>
        </p:nvSpPr>
        <p:spPr bwMode="auto">
          <a:xfrm>
            <a:off x="6580005" y="5973924"/>
            <a:ext cx="54661" cy="29355"/>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Freeform 136">
            <a:extLst>
              <a:ext uri="{FF2B5EF4-FFF2-40B4-BE49-F238E27FC236}">
                <a16:creationId xmlns:a16="http://schemas.microsoft.com/office/drawing/2014/main" id="{651B1C68-7979-409C-BA25-062E62C86AEB}"/>
              </a:ext>
            </a:extLst>
          </p:cNvPr>
          <p:cNvSpPr>
            <a:spLocks/>
          </p:cNvSpPr>
          <p:nvPr/>
        </p:nvSpPr>
        <p:spPr bwMode="auto">
          <a:xfrm>
            <a:off x="6594177" y="6055916"/>
            <a:ext cx="26318" cy="0"/>
          </a:xfrm>
          <a:custGeom>
            <a:avLst/>
            <a:gdLst>
              <a:gd name="T0" fmla="*/ 26 w 26"/>
              <a:gd name="T1" fmla="*/ 0 w 26"/>
              <a:gd name="T2" fmla="*/ 26 w 26"/>
            </a:gdLst>
            <a:ahLst/>
            <a:cxnLst>
              <a:cxn ang="0">
                <a:pos x="T0" y="0"/>
              </a:cxn>
              <a:cxn ang="0">
                <a:pos x="T1" y="0"/>
              </a:cxn>
              <a:cxn ang="0">
                <a:pos x="T2" y="0"/>
              </a:cxn>
            </a:cxnLst>
            <a:rect l="0" t="0" r="r" b="b"/>
            <a:pathLst>
              <a:path w="26">
                <a:moveTo>
                  <a:pt x="26" y="0"/>
                </a:moveTo>
                <a:lnTo>
                  <a:pt x="0" y="0"/>
                </a:lnTo>
                <a:lnTo>
                  <a:pt x="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Line 137">
            <a:extLst>
              <a:ext uri="{FF2B5EF4-FFF2-40B4-BE49-F238E27FC236}">
                <a16:creationId xmlns:a16="http://schemas.microsoft.com/office/drawing/2014/main" id="{047DA9AB-B696-44F4-A16F-4F589B423997}"/>
              </a:ext>
            </a:extLst>
          </p:cNvPr>
          <p:cNvSpPr>
            <a:spLocks noChangeShapeType="1"/>
          </p:cNvSpPr>
          <p:nvPr/>
        </p:nvSpPr>
        <p:spPr bwMode="auto">
          <a:xfrm flipH="1">
            <a:off x="6594177" y="6055916"/>
            <a:ext cx="2631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Freeform 138">
            <a:extLst>
              <a:ext uri="{FF2B5EF4-FFF2-40B4-BE49-F238E27FC236}">
                <a16:creationId xmlns:a16="http://schemas.microsoft.com/office/drawing/2014/main" id="{7264C2EE-4438-47A6-A740-3E9614286A54}"/>
              </a:ext>
            </a:extLst>
          </p:cNvPr>
          <p:cNvSpPr>
            <a:spLocks/>
          </p:cNvSpPr>
          <p:nvPr/>
        </p:nvSpPr>
        <p:spPr bwMode="auto">
          <a:xfrm>
            <a:off x="6580005" y="6041745"/>
            <a:ext cx="54661" cy="28343"/>
          </a:xfrm>
          <a:custGeom>
            <a:avLst/>
            <a:gdLst>
              <a:gd name="T0" fmla="*/ 17 w 23"/>
              <a:gd name="T1" fmla="*/ 0 h 12"/>
              <a:gd name="T2" fmla="*/ 6 w 23"/>
              <a:gd name="T3" fmla="*/ 0 h 12"/>
              <a:gd name="T4" fmla="*/ 0 w 23"/>
              <a:gd name="T5" fmla="*/ 6 h 12"/>
              <a:gd name="T6" fmla="*/ 6 w 23"/>
              <a:gd name="T7" fmla="*/ 12 h 12"/>
              <a:gd name="T8" fmla="*/ 17 w 23"/>
              <a:gd name="T9" fmla="*/ 12 h 12"/>
              <a:gd name="T10" fmla="*/ 23 w 23"/>
              <a:gd name="T11" fmla="*/ 6 h 12"/>
              <a:gd name="T12" fmla="*/ 17 w 23"/>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17" y="0"/>
                </a:moveTo>
                <a:cubicBezTo>
                  <a:pt x="6" y="0"/>
                  <a:pt x="6" y="0"/>
                  <a:pt x="6" y="0"/>
                </a:cubicBezTo>
                <a:cubicBezTo>
                  <a:pt x="2" y="0"/>
                  <a:pt x="0" y="3"/>
                  <a:pt x="0" y="6"/>
                </a:cubicBezTo>
                <a:cubicBezTo>
                  <a:pt x="0" y="10"/>
                  <a:pt x="2" y="12"/>
                  <a:pt x="6" y="12"/>
                </a:cubicBezTo>
                <a:cubicBezTo>
                  <a:pt x="17" y="12"/>
                  <a:pt x="17" y="12"/>
                  <a:pt x="17" y="12"/>
                </a:cubicBezTo>
                <a:cubicBezTo>
                  <a:pt x="20" y="12"/>
                  <a:pt x="23" y="10"/>
                  <a:pt x="23" y="6"/>
                </a:cubicBezTo>
                <a:cubicBezTo>
                  <a:pt x="23" y="3"/>
                  <a:pt x="20" y="0"/>
                  <a:pt x="17" y="0"/>
                </a:cubicBezTo>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Freeform 139">
            <a:extLst>
              <a:ext uri="{FF2B5EF4-FFF2-40B4-BE49-F238E27FC236}">
                <a16:creationId xmlns:a16="http://schemas.microsoft.com/office/drawing/2014/main" id="{3B9F0B90-C3D3-4595-AF4B-B1122D7D3A29}"/>
              </a:ext>
            </a:extLst>
          </p:cNvPr>
          <p:cNvSpPr>
            <a:spLocks/>
          </p:cNvSpPr>
          <p:nvPr/>
        </p:nvSpPr>
        <p:spPr bwMode="auto">
          <a:xfrm>
            <a:off x="7017296" y="5950643"/>
            <a:ext cx="119445" cy="208523"/>
          </a:xfrm>
          <a:custGeom>
            <a:avLst/>
            <a:gdLst>
              <a:gd name="T0" fmla="*/ 50 w 50"/>
              <a:gd name="T1" fmla="*/ 87 h 87"/>
              <a:gd name="T2" fmla="*/ 0 w 50"/>
              <a:gd name="T3" fmla="*/ 17 h 87"/>
              <a:gd name="T4" fmla="*/ 50 w 50"/>
              <a:gd name="T5" fmla="*/ 0 h 87"/>
              <a:gd name="T6" fmla="*/ 50 w 50"/>
              <a:gd name="T7" fmla="*/ 87 h 87"/>
            </a:gdLst>
            <a:ahLst/>
            <a:cxnLst>
              <a:cxn ang="0">
                <a:pos x="T0" y="T1"/>
              </a:cxn>
              <a:cxn ang="0">
                <a:pos x="T2" y="T3"/>
              </a:cxn>
              <a:cxn ang="0">
                <a:pos x="T4" y="T5"/>
              </a:cxn>
              <a:cxn ang="0">
                <a:pos x="T6" y="T7"/>
              </a:cxn>
            </a:cxnLst>
            <a:rect l="0" t="0" r="r" b="b"/>
            <a:pathLst>
              <a:path w="50" h="87">
                <a:moveTo>
                  <a:pt x="50" y="87"/>
                </a:moveTo>
                <a:cubicBezTo>
                  <a:pt x="0" y="17"/>
                  <a:pt x="0" y="17"/>
                  <a:pt x="0" y="17"/>
                </a:cubicBezTo>
                <a:cubicBezTo>
                  <a:pt x="15" y="6"/>
                  <a:pt x="31" y="0"/>
                  <a:pt x="50" y="0"/>
                </a:cubicBezTo>
                <a:lnTo>
                  <a:pt x="5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Freeform 140">
            <a:extLst>
              <a:ext uri="{FF2B5EF4-FFF2-40B4-BE49-F238E27FC236}">
                <a16:creationId xmlns:a16="http://schemas.microsoft.com/office/drawing/2014/main" id="{DC52748C-2AAA-437E-A4AD-DC3154841E45}"/>
              </a:ext>
            </a:extLst>
          </p:cNvPr>
          <p:cNvSpPr>
            <a:spLocks/>
          </p:cNvSpPr>
          <p:nvPr/>
        </p:nvSpPr>
        <p:spPr bwMode="auto">
          <a:xfrm>
            <a:off x="7002112" y="5935459"/>
            <a:ext cx="148800" cy="237878"/>
          </a:xfrm>
          <a:custGeom>
            <a:avLst/>
            <a:gdLst>
              <a:gd name="T0" fmla="*/ 56 w 62"/>
              <a:gd name="T1" fmla="*/ 93 h 99"/>
              <a:gd name="T2" fmla="*/ 61 w 62"/>
              <a:gd name="T3" fmla="*/ 89 h 99"/>
              <a:gd name="T4" fmla="*/ 11 w 62"/>
              <a:gd name="T5" fmla="*/ 19 h 99"/>
              <a:gd name="T6" fmla="*/ 6 w 62"/>
              <a:gd name="T7" fmla="*/ 23 h 99"/>
              <a:gd name="T8" fmla="*/ 9 w 62"/>
              <a:gd name="T9" fmla="*/ 28 h 99"/>
              <a:gd name="T10" fmla="*/ 56 w 62"/>
              <a:gd name="T11" fmla="*/ 12 h 99"/>
              <a:gd name="T12" fmla="*/ 56 w 62"/>
              <a:gd name="T13" fmla="*/ 6 h 99"/>
              <a:gd name="T14" fmla="*/ 50 w 62"/>
              <a:gd name="T15" fmla="*/ 6 h 99"/>
              <a:gd name="T16" fmla="*/ 50 w 62"/>
              <a:gd name="T17" fmla="*/ 93 h 99"/>
              <a:gd name="T18" fmla="*/ 56 w 62"/>
              <a:gd name="T19" fmla="*/ 93 h 99"/>
              <a:gd name="T20" fmla="*/ 61 w 62"/>
              <a:gd name="T21" fmla="*/ 89 h 99"/>
              <a:gd name="T22" fmla="*/ 56 w 62"/>
              <a:gd name="T23" fmla="*/ 93 h 99"/>
              <a:gd name="T24" fmla="*/ 62 w 62"/>
              <a:gd name="T25" fmla="*/ 93 h 99"/>
              <a:gd name="T26" fmla="*/ 62 w 62"/>
              <a:gd name="T27" fmla="*/ 6 h 99"/>
              <a:gd name="T28" fmla="*/ 61 w 62"/>
              <a:gd name="T29" fmla="*/ 2 h 99"/>
              <a:gd name="T30" fmla="*/ 56 w 62"/>
              <a:gd name="T31" fmla="*/ 0 h 99"/>
              <a:gd name="T32" fmla="*/ 2 w 62"/>
              <a:gd name="T33" fmla="*/ 18 h 99"/>
              <a:gd name="T34" fmla="*/ 0 w 62"/>
              <a:gd name="T35" fmla="*/ 22 h 99"/>
              <a:gd name="T36" fmla="*/ 1 w 62"/>
              <a:gd name="T37" fmla="*/ 26 h 99"/>
              <a:gd name="T38" fmla="*/ 52 w 62"/>
              <a:gd name="T39" fmla="*/ 96 h 99"/>
              <a:gd name="T40" fmla="*/ 58 w 62"/>
              <a:gd name="T41" fmla="*/ 98 h 99"/>
              <a:gd name="T42" fmla="*/ 62 w 62"/>
              <a:gd name="T43" fmla="*/ 93 h 99"/>
              <a:gd name="T44" fmla="*/ 56 w 62"/>
              <a:gd name="T45"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99">
                <a:moveTo>
                  <a:pt x="56" y="93"/>
                </a:moveTo>
                <a:cubicBezTo>
                  <a:pt x="61" y="89"/>
                  <a:pt x="61" y="89"/>
                  <a:pt x="61" y="89"/>
                </a:cubicBezTo>
                <a:cubicBezTo>
                  <a:pt x="11" y="19"/>
                  <a:pt x="11" y="19"/>
                  <a:pt x="11" y="19"/>
                </a:cubicBezTo>
                <a:cubicBezTo>
                  <a:pt x="6" y="23"/>
                  <a:pt x="6" y="23"/>
                  <a:pt x="6" y="23"/>
                </a:cubicBezTo>
                <a:cubicBezTo>
                  <a:pt x="9" y="28"/>
                  <a:pt x="9" y="28"/>
                  <a:pt x="9" y="28"/>
                </a:cubicBezTo>
                <a:cubicBezTo>
                  <a:pt x="24" y="17"/>
                  <a:pt x="39" y="12"/>
                  <a:pt x="56" y="12"/>
                </a:cubicBezTo>
                <a:cubicBezTo>
                  <a:pt x="56" y="6"/>
                  <a:pt x="56" y="6"/>
                  <a:pt x="56" y="6"/>
                </a:cubicBezTo>
                <a:cubicBezTo>
                  <a:pt x="50" y="6"/>
                  <a:pt x="50" y="6"/>
                  <a:pt x="50" y="6"/>
                </a:cubicBezTo>
                <a:cubicBezTo>
                  <a:pt x="50" y="93"/>
                  <a:pt x="50" y="93"/>
                  <a:pt x="50" y="93"/>
                </a:cubicBezTo>
                <a:cubicBezTo>
                  <a:pt x="56" y="93"/>
                  <a:pt x="56" y="93"/>
                  <a:pt x="56" y="93"/>
                </a:cubicBezTo>
                <a:cubicBezTo>
                  <a:pt x="61" y="89"/>
                  <a:pt x="61" y="89"/>
                  <a:pt x="61" y="89"/>
                </a:cubicBezTo>
                <a:cubicBezTo>
                  <a:pt x="56" y="93"/>
                  <a:pt x="56" y="93"/>
                  <a:pt x="56" y="93"/>
                </a:cubicBezTo>
                <a:cubicBezTo>
                  <a:pt x="62" y="93"/>
                  <a:pt x="62" y="93"/>
                  <a:pt x="62" y="93"/>
                </a:cubicBezTo>
                <a:cubicBezTo>
                  <a:pt x="62" y="6"/>
                  <a:pt x="62" y="6"/>
                  <a:pt x="62" y="6"/>
                </a:cubicBezTo>
                <a:cubicBezTo>
                  <a:pt x="62" y="5"/>
                  <a:pt x="62" y="3"/>
                  <a:pt x="61" y="2"/>
                </a:cubicBezTo>
                <a:cubicBezTo>
                  <a:pt x="60" y="1"/>
                  <a:pt x="58" y="0"/>
                  <a:pt x="56" y="0"/>
                </a:cubicBezTo>
                <a:cubicBezTo>
                  <a:pt x="36" y="0"/>
                  <a:pt x="19" y="6"/>
                  <a:pt x="2" y="18"/>
                </a:cubicBezTo>
                <a:cubicBezTo>
                  <a:pt x="1" y="19"/>
                  <a:pt x="0" y="20"/>
                  <a:pt x="0" y="22"/>
                </a:cubicBezTo>
                <a:cubicBezTo>
                  <a:pt x="0" y="24"/>
                  <a:pt x="0" y="25"/>
                  <a:pt x="1" y="26"/>
                </a:cubicBezTo>
                <a:cubicBezTo>
                  <a:pt x="52" y="96"/>
                  <a:pt x="52" y="96"/>
                  <a:pt x="52" y="96"/>
                </a:cubicBezTo>
                <a:cubicBezTo>
                  <a:pt x="53" y="98"/>
                  <a:pt x="56" y="99"/>
                  <a:pt x="58" y="98"/>
                </a:cubicBezTo>
                <a:cubicBezTo>
                  <a:pt x="61" y="98"/>
                  <a:pt x="62" y="95"/>
                  <a:pt x="62" y="93"/>
                </a:cubicBezTo>
                <a:lnTo>
                  <a:pt x="5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Freeform 141">
            <a:extLst>
              <a:ext uri="{FF2B5EF4-FFF2-40B4-BE49-F238E27FC236}">
                <a16:creationId xmlns:a16="http://schemas.microsoft.com/office/drawing/2014/main" id="{CE9FE345-6C6E-4AAA-BB52-FD2314A39A75}"/>
              </a:ext>
            </a:extLst>
          </p:cNvPr>
          <p:cNvSpPr>
            <a:spLocks/>
          </p:cNvSpPr>
          <p:nvPr/>
        </p:nvSpPr>
        <p:spPr bwMode="auto">
          <a:xfrm>
            <a:off x="6930243" y="5950643"/>
            <a:ext cx="416033" cy="415021"/>
          </a:xfrm>
          <a:custGeom>
            <a:avLst/>
            <a:gdLst>
              <a:gd name="T0" fmla="*/ 86 w 173"/>
              <a:gd name="T1" fmla="*/ 87 h 173"/>
              <a:gd name="T2" fmla="*/ 86 w 173"/>
              <a:gd name="T3" fmla="*/ 0 h 173"/>
              <a:gd name="T4" fmla="*/ 173 w 173"/>
              <a:gd name="T5" fmla="*/ 87 h 173"/>
              <a:gd name="T6" fmla="*/ 86 w 173"/>
              <a:gd name="T7" fmla="*/ 173 h 173"/>
              <a:gd name="T8" fmla="*/ 0 w 173"/>
              <a:gd name="T9" fmla="*/ 87 h 173"/>
              <a:gd name="T10" fmla="*/ 36 w 173"/>
              <a:gd name="T11" fmla="*/ 17 h 173"/>
              <a:gd name="T12" fmla="*/ 86 w 173"/>
              <a:gd name="T13" fmla="*/ 87 h 173"/>
            </a:gdLst>
            <a:ahLst/>
            <a:cxnLst>
              <a:cxn ang="0">
                <a:pos x="T0" y="T1"/>
              </a:cxn>
              <a:cxn ang="0">
                <a:pos x="T2" y="T3"/>
              </a:cxn>
              <a:cxn ang="0">
                <a:pos x="T4" y="T5"/>
              </a:cxn>
              <a:cxn ang="0">
                <a:pos x="T6" y="T7"/>
              </a:cxn>
              <a:cxn ang="0">
                <a:pos x="T8" y="T9"/>
              </a:cxn>
              <a:cxn ang="0">
                <a:pos x="T10" y="T11"/>
              </a:cxn>
              <a:cxn ang="0">
                <a:pos x="T12" y="T13"/>
              </a:cxn>
            </a:cxnLst>
            <a:rect l="0" t="0" r="r" b="b"/>
            <a:pathLst>
              <a:path w="173" h="173">
                <a:moveTo>
                  <a:pt x="86" y="87"/>
                </a:moveTo>
                <a:cubicBezTo>
                  <a:pt x="86" y="0"/>
                  <a:pt x="86" y="0"/>
                  <a:pt x="86" y="0"/>
                </a:cubicBezTo>
                <a:cubicBezTo>
                  <a:pt x="134" y="0"/>
                  <a:pt x="173" y="39"/>
                  <a:pt x="173" y="87"/>
                </a:cubicBezTo>
                <a:cubicBezTo>
                  <a:pt x="173" y="134"/>
                  <a:pt x="134" y="173"/>
                  <a:pt x="86" y="173"/>
                </a:cubicBezTo>
                <a:cubicBezTo>
                  <a:pt x="39" y="173"/>
                  <a:pt x="0" y="134"/>
                  <a:pt x="0" y="87"/>
                </a:cubicBezTo>
                <a:cubicBezTo>
                  <a:pt x="0" y="58"/>
                  <a:pt x="13" y="34"/>
                  <a:pt x="36" y="17"/>
                </a:cubicBezTo>
                <a:lnTo>
                  <a:pt x="86"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Freeform 142">
            <a:extLst>
              <a:ext uri="{FF2B5EF4-FFF2-40B4-BE49-F238E27FC236}">
                <a16:creationId xmlns:a16="http://schemas.microsoft.com/office/drawing/2014/main" id="{81CCEBA6-B1BA-4206-99D3-B2BFA916E4A7}"/>
              </a:ext>
            </a:extLst>
          </p:cNvPr>
          <p:cNvSpPr>
            <a:spLocks/>
          </p:cNvSpPr>
          <p:nvPr/>
        </p:nvSpPr>
        <p:spPr bwMode="auto">
          <a:xfrm>
            <a:off x="6916071" y="5935459"/>
            <a:ext cx="444376" cy="444376"/>
          </a:xfrm>
          <a:custGeom>
            <a:avLst/>
            <a:gdLst>
              <a:gd name="T0" fmla="*/ 92 w 185"/>
              <a:gd name="T1" fmla="*/ 93 h 185"/>
              <a:gd name="T2" fmla="*/ 98 w 185"/>
              <a:gd name="T3" fmla="*/ 93 h 185"/>
              <a:gd name="T4" fmla="*/ 98 w 185"/>
              <a:gd name="T5" fmla="*/ 6 h 185"/>
              <a:gd name="T6" fmla="*/ 92 w 185"/>
              <a:gd name="T7" fmla="*/ 6 h 185"/>
              <a:gd name="T8" fmla="*/ 92 w 185"/>
              <a:gd name="T9" fmla="*/ 12 h 185"/>
              <a:gd name="T10" fmla="*/ 149 w 185"/>
              <a:gd name="T11" fmla="*/ 36 h 185"/>
              <a:gd name="T12" fmla="*/ 173 w 185"/>
              <a:gd name="T13" fmla="*/ 93 h 185"/>
              <a:gd name="T14" fmla="*/ 149 w 185"/>
              <a:gd name="T15" fmla="*/ 149 h 185"/>
              <a:gd name="T16" fmla="*/ 92 w 185"/>
              <a:gd name="T17" fmla="*/ 173 h 185"/>
              <a:gd name="T18" fmla="*/ 36 w 185"/>
              <a:gd name="T19" fmla="*/ 149 h 185"/>
              <a:gd name="T20" fmla="*/ 12 w 185"/>
              <a:gd name="T21" fmla="*/ 93 h 185"/>
              <a:gd name="T22" fmla="*/ 21 w 185"/>
              <a:gd name="T23" fmla="*/ 56 h 185"/>
              <a:gd name="T24" fmla="*/ 45 w 185"/>
              <a:gd name="T25" fmla="*/ 28 h 185"/>
              <a:gd name="T26" fmla="*/ 42 w 185"/>
              <a:gd name="T27" fmla="*/ 23 h 185"/>
              <a:gd name="T28" fmla="*/ 37 w 185"/>
              <a:gd name="T29" fmla="*/ 26 h 185"/>
              <a:gd name="T30" fmla="*/ 88 w 185"/>
              <a:gd name="T31" fmla="*/ 96 h 185"/>
              <a:gd name="T32" fmla="*/ 94 w 185"/>
              <a:gd name="T33" fmla="*/ 98 h 185"/>
              <a:gd name="T34" fmla="*/ 98 w 185"/>
              <a:gd name="T35" fmla="*/ 93 h 185"/>
              <a:gd name="T36" fmla="*/ 92 w 185"/>
              <a:gd name="T37" fmla="*/ 93 h 185"/>
              <a:gd name="T38" fmla="*/ 97 w 185"/>
              <a:gd name="T39" fmla="*/ 89 h 185"/>
              <a:gd name="T40" fmla="*/ 47 w 185"/>
              <a:gd name="T41" fmla="*/ 19 h 185"/>
              <a:gd name="T42" fmla="*/ 38 w 185"/>
              <a:gd name="T43" fmla="*/ 18 h 185"/>
              <a:gd name="T44" fmla="*/ 10 w 185"/>
              <a:gd name="T45" fmla="*/ 51 h 185"/>
              <a:gd name="T46" fmla="*/ 0 w 185"/>
              <a:gd name="T47" fmla="*/ 93 h 185"/>
              <a:gd name="T48" fmla="*/ 92 w 185"/>
              <a:gd name="T49" fmla="*/ 185 h 185"/>
              <a:gd name="T50" fmla="*/ 185 w 185"/>
              <a:gd name="T51" fmla="*/ 93 h 185"/>
              <a:gd name="T52" fmla="*/ 92 w 185"/>
              <a:gd name="T53" fmla="*/ 0 h 185"/>
              <a:gd name="T54" fmla="*/ 88 w 185"/>
              <a:gd name="T55" fmla="*/ 2 h 185"/>
              <a:gd name="T56" fmla="*/ 86 w 185"/>
              <a:gd name="T57" fmla="*/ 6 h 185"/>
              <a:gd name="T58" fmla="*/ 86 w 185"/>
              <a:gd name="T59" fmla="*/ 93 h 185"/>
              <a:gd name="T60" fmla="*/ 92 w 185"/>
              <a:gd name="T61" fmla="*/ 93 h 185"/>
              <a:gd name="T62" fmla="*/ 97 w 185"/>
              <a:gd name="T63" fmla="*/ 89 h 185"/>
              <a:gd name="T64" fmla="*/ 92 w 185"/>
              <a:gd name="T65" fmla="*/ 9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5" h="185">
                <a:moveTo>
                  <a:pt x="92" y="93"/>
                </a:moveTo>
                <a:cubicBezTo>
                  <a:pt x="98" y="93"/>
                  <a:pt x="98" y="93"/>
                  <a:pt x="98" y="93"/>
                </a:cubicBezTo>
                <a:cubicBezTo>
                  <a:pt x="98" y="6"/>
                  <a:pt x="98" y="6"/>
                  <a:pt x="98" y="6"/>
                </a:cubicBezTo>
                <a:cubicBezTo>
                  <a:pt x="92" y="6"/>
                  <a:pt x="92" y="6"/>
                  <a:pt x="92" y="6"/>
                </a:cubicBezTo>
                <a:cubicBezTo>
                  <a:pt x="92" y="12"/>
                  <a:pt x="92" y="12"/>
                  <a:pt x="92" y="12"/>
                </a:cubicBezTo>
                <a:cubicBezTo>
                  <a:pt x="115" y="12"/>
                  <a:pt x="135" y="21"/>
                  <a:pt x="149" y="36"/>
                </a:cubicBezTo>
                <a:cubicBezTo>
                  <a:pt x="164" y="50"/>
                  <a:pt x="173" y="70"/>
                  <a:pt x="173" y="93"/>
                </a:cubicBezTo>
                <a:cubicBezTo>
                  <a:pt x="173" y="115"/>
                  <a:pt x="164" y="135"/>
                  <a:pt x="149" y="149"/>
                </a:cubicBezTo>
                <a:cubicBezTo>
                  <a:pt x="135" y="164"/>
                  <a:pt x="115" y="173"/>
                  <a:pt x="92" y="173"/>
                </a:cubicBezTo>
                <a:cubicBezTo>
                  <a:pt x="70" y="173"/>
                  <a:pt x="50" y="164"/>
                  <a:pt x="36" y="149"/>
                </a:cubicBezTo>
                <a:cubicBezTo>
                  <a:pt x="21" y="135"/>
                  <a:pt x="12" y="115"/>
                  <a:pt x="12" y="93"/>
                </a:cubicBezTo>
                <a:cubicBezTo>
                  <a:pt x="12" y="79"/>
                  <a:pt x="15" y="67"/>
                  <a:pt x="21" y="56"/>
                </a:cubicBezTo>
                <a:cubicBezTo>
                  <a:pt x="26" y="45"/>
                  <a:pt x="34" y="36"/>
                  <a:pt x="45" y="28"/>
                </a:cubicBezTo>
                <a:cubicBezTo>
                  <a:pt x="42" y="23"/>
                  <a:pt x="42" y="23"/>
                  <a:pt x="42" y="23"/>
                </a:cubicBezTo>
                <a:cubicBezTo>
                  <a:pt x="37" y="26"/>
                  <a:pt x="37" y="26"/>
                  <a:pt x="37" y="26"/>
                </a:cubicBezTo>
                <a:cubicBezTo>
                  <a:pt x="88" y="96"/>
                  <a:pt x="88" y="96"/>
                  <a:pt x="88" y="96"/>
                </a:cubicBezTo>
                <a:cubicBezTo>
                  <a:pt x="89" y="98"/>
                  <a:pt x="92" y="99"/>
                  <a:pt x="94" y="98"/>
                </a:cubicBezTo>
                <a:cubicBezTo>
                  <a:pt x="97" y="98"/>
                  <a:pt x="98" y="95"/>
                  <a:pt x="98" y="93"/>
                </a:cubicBezTo>
                <a:cubicBezTo>
                  <a:pt x="92" y="93"/>
                  <a:pt x="92" y="93"/>
                  <a:pt x="92" y="93"/>
                </a:cubicBezTo>
                <a:cubicBezTo>
                  <a:pt x="97" y="89"/>
                  <a:pt x="97" y="89"/>
                  <a:pt x="97" y="89"/>
                </a:cubicBezTo>
                <a:cubicBezTo>
                  <a:pt x="47" y="19"/>
                  <a:pt x="47" y="19"/>
                  <a:pt x="47" y="19"/>
                </a:cubicBezTo>
                <a:cubicBezTo>
                  <a:pt x="45" y="17"/>
                  <a:pt x="41" y="16"/>
                  <a:pt x="38" y="18"/>
                </a:cubicBezTo>
                <a:cubicBezTo>
                  <a:pt x="26" y="27"/>
                  <a:pt x="16" y="38"/>
                  <a:pt x="10" y="51"/>
                </a:cubicBezTo>
                <a:cubicBezTo>
                  <a:pt x="4" y="63"/>
                  <a:pt x="0" y="77"/>
                  <a:pt x="0" y="93"/>
                </a:cubicBezTo>
                <a:cubicBezTo>
                  <a:pt x="0" y="144"/>
                  <a:pt x="42" y="185"/>
                  <a:pt x="92" y="185"/>
                </a:cubicBezTo>
                <a:cubicBezTo>
                  <a:pt x="143" y="185"/>
                  <a:pt x="185" y="144"/>
                  <a:pt x="185" y="93"/>
                </a:cubicBezTo>
                <a:cubicBezTo>
                  <a:pt x="185" y="42"/>
                  <a:pt x="143" y="0"/>
                  <a:pt x="92" y="0"/>
                </a:cubicBezTo>
                <a:cubicBezTo>
                  <a:pt x="91" y="0"/>
                  <a:pt x="89" y="1"/>
                  <a:pt x="88" y="2"/>
                </a:cubicBezTo>
                <a:cubicBezTo>
                  <a:pt x="87" y="3"/>
                  <a:pt x="86" y="5"/>
                  <a:pt x="86" y="6"/>
                </a:cubicBezTo>
                <a:cubicBezTo>
                  <a:pt x="86" y="93"/>
                  <a:pt x="86" y="93"/>
                  <a:pt x="86" y="93"/>
                </a:cubicBezTo>
                <a:cubicBezTo>
                  <a:pt x="92" y="93"/>
                  <a:pt x="92" y="93"/>
                  <a:pt x="92" y="93"/>
                </a:cubicBezTo>
                <a:cubicBezTo>
                  <a:pt x="97" y="89"/>
                  <a:pt x="97" y="89"/>
                  <a:pt x="97" y="89"/>
                </a:cubicBezTo>
                <a:lnTo>
                  <a:pt x="92"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Freeform 143">
            <a:extLst>
              <a:ext uri="{FF2B5EF4-FFF2-40B4-BE49-F238E27FC236}">
                <a16:creationId xmlns:a16="http://schemas.microsoft.com/office/drawing/2014/main" id="{287C104C-8301-47EA-9AF8-C02E0242238D}"/>
              </a:ext>
            </a:extLst>
          </p:cNvPr>
          <p:cNvSpPr>
            <a:spLocks/>
          </p:cNvSpPr>
          <p:nvPr/>
        </p:nvSpPr>
        <p:spPr bwMode="auto">
          <a:xfrm>
            <a:off x="7136741" y="5950643"/>
            <a:ext cx="232817" cy="271282"/>
          </a:xfrm>
          <a:custGeom>
            <a:avLst/>
            <a:gdLst>
              <a:gd name="T0" fmla="*/ 0 w 97"/>
              <a:gd name="T1" fmla="*/ 87 h 113"/>
              <a:gd name="T2" fmla="*/ 82 w 97"/>
              <a:gd name="T3" fmla="*/ 113 h 113"/>
              <a:gd name="T4" fmla="*/ 27 w 97"/>
              <a:gd name="T5" fmla="*/ 5 h 113"/>
              <a:gd name="T6" fmla="*/ 0 w 97"/>
              <a:gd name="T7" fmla="*/ 0 h 113"/>
              <a:gd name="T8" fmla="*/ 0 w 97"/>
              <a:gd name="T9" fmla="*/ 87 h 113"/>
            </a:gdLst>
            <a:ahLst/>
            <a:cxnLst>
              <a:cxn ang="0">
                <a:pos x="T0" y="T1"/>
              </a:cxn>
              <a:cxn ang="0">
                <a:pos x="T2" y="T3"/>
              </a:cxn>
              <a:cxn ang="0">
                <a:pos x="T4" y="T5"/>
              </a:cxn>
              <a:cxn ang="0">
                <a:pos x="T6" y="T7"/>
              </a:cxn>
              <a:cxn ang="0">
                <a:pos x="T8" y="T9"/>
              </a:cxn>
            </a:cxnLst>
            <a:rect l="0" t="0" r="r" b="b"/>
            <a:pathLst>
              <a:path w="97" h="113">
                <a:moveTo>
                  <a:pt x="0" y="87"/>
                </a:moveTo>
                <a:cubicBezTo>
                  <a:pt x="82" y="113"/>
                  <a:pt x="82" y="113"/>
                  <a:pt x="82" y="113"/>
                </a:cubicBezTo>
                <a:cubicBezTo>
                  <a:pt x="97" y="68"/>
                  <a:pt x="72" y="19"/>
                  <a:pt x="27" y="5"/>
                </a:cubicBezTo>
                <a:cubicBezTo>
                  <a:pt x="18" y="2"/>
                  <a:pt x="10" y="0"/>
                  <a:pt x="0" y="0"/>
                </a:cubicBezTo>
                <a:lnTo>
                  <a:pt x="0"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Freeform 144">
            <a:extLst>
              <a:ext uri="{FF2B5EF4-FFF2-40B4-BE49-F238E27FC236}">
                <a16:creationId xmlns:a16="http://schemas.microsoft.com/office/drawing/2014/main" id="{55218925-7E6E-4829-8E4C-69599F98DE01}"/>
              </a:ext>
            </a:extLst>
          </p:cNvPr>
          <p:cNvSpPr>
            <a:spLocks/>
          </p:cNvSpPr>
          <p:nvPr/>
        </p:nvSpPr>
        <p:spPr bwMode="auto">
          <a:xfrm>
            <a:off x="7122569" y="5935459"/>
            <a:ext cx="237878" cy="300637"/>
          </a:xfrm>
          <a:custGeom>
            <a:avLst/>
            <a:gdLst>
              <a:gd name="T0" fmla="*/ 6 w 99"/>
              <a:gd name="T1" fmla="*/ 93 h 125"/>
              <a:gd name="T2" fmla="*/ 5 w 99"/>
              <a:gd name="T3" fmla="*/ 98 h 125"/>
              <a:gd name="T4" fmla="*/ 87 w 99"/>
              <a:gd name="T5" fmla="*/ 125 h 125"/>
              <a:gd name="T6" fmla="*/ 91 w 99"/>
              <a:gd name="T7" fmla="*/ 125 h 125"/>
              <a:gd name="T8" fmla="*/ 94 w 99"/>
              <a:gd name="T9" fmla="*/ 121 h 125"/>
              <a:gd name="T10" fmla="*/ 99 w 99"/>
              <a:gd name="T11" fmla="*/ 93 h 125"/>
              <a:gd name="T12" fmla="*/ 35 w 99"/>
              <a:gd name="T13" fmla="*/ 5 h 125"/>
              <a:gd name="T14" fmla="*/ 35 w 99"/>
              <a:gd name="T15" fmla="*/ 5 h 125"/>
              <a:gd name="T16" fmla="*/ 6 w 99"/>
              <a:gd name="T17" fmla="*/ 0 h 125"/>
              <a:gd name="T18" fmla="*/ 2 w 99"/>
              <a:gd name="T19" fmla="*/ 2 h 125"/>
              <a:gd name="T20" fmla="*/ 0 w 99"/>
              <a:gd name="T21" fmla="*/ 6 h 125"/>
              <a:gd name="T22" fmla="*/ 0 w 99"/>
              <a:gd name="T23" fmla="*/ 93 h 125"/>
              <a:gd name="T24" fmla="*/ 5 w 99"/>
              <a:gd name="T25" fmla="*/ 98 h 125"/>
              <a:gd name="T26" fmla="*/ 6 w 99"/>
              <a:gd name="T27" fmla="*/ 93 h 125"/>
              <a:gd name="T28" fmla="*/ 12 w 99"/>
              <a:gd name="T29" fmla="*/ 93 h 125"/>
              <a:gd name="T30" fmla="*/ 12 w 99"/>
              <a:gd name="T31" fmla="*/ 6 h 125"/>
              <a:gd name="T32" fmla="*/ 6 w 99"/>
              <a:gd name="T33" fmla="*/ 6 h 125"/>
              <a:gd name="T34" fmla="*/ 6 w 99"/>
              <a:gd name="T35" fmla="*/ 12 h 125"/>
              <a:gd name="T36" fmla="*/ 31 w 99"/>
              <a:gd name="T37" fmla="*/ 16 h 125"/>
              <a:gd name="T38" fmla="*/ 31 w 99"/>
              <a:gd name="T39" fmla="*/ 16 h 125"/>
              <a:gd name="T40" fmla="*/ 87 w 99"/>
              <a:gd name="T41" fmla="*/ 93 h 125"/>
              <a:gd name="T42" fmla="*/ 83 w 99"/>
              <a:gd name="T43" fmla="*/ 117 h 125"/>
              <a:gd name="T44" fmla="*/ 88 w 99"/>
              <a:gd name="T45" fmla="*/ 119 h 125"/>
              <a:gd name="T46" fmla="*/ 90 w 99"/>
              <a:gd name="T47" fmla="*/ 114 h 125"/>
              <a:gd name="T48" fmla="*/ 8 w 99"/>
              <a:gd name="T49" fmla="*/ 87 h 125"/>
              <a:gd name="T50" fmla="*/ 6 w 99"/>
              <a:gd name="T51" fmla="*/ 93 h 125"/>
              <a:gd name="T52" fmla="*/ 12 w 99"/>
              <a:gd name="T53" fmla="*/ 93 h 125"/>
              <a:gd name="T54" fmla="*/ 6 w 99"/>
              <a:gd name="T5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125">
                <a:moveTo>
                  <a:pt x="6" y="93"/>
                </a:moveTo>
                <a:cubicBezTo>
                  <a:pt x="5" y="98"/>
                  <a:pt x="5" y="98"/>
                  <a:pt x="5" y="98"/>
                </a:cubicBezTo>
                <a:cubicBezTo>
                  <a:pt x="87" y="125"/>
                  <a:pt x="87" y="125"/>
                  <a:pt x="87" y="125"/>
                </a:cubicBezTo>
                <a:cubicBezTo>
                  <a:pt x="88" y="125"/>
                  <a:pt x="90" y="125"/>
                  <a:pt x="91" y="125"/>
                </a:cubicBezTo>
                <a:cubicBezTo>
                  <a:pt x="93" y="124"/>
                  <a:pt x="94" y="123"/>
                  <a:pt x="94" y="121"/>
                </a:cubicBezTo>
                <a:cubicBezTo>
                  <a:pt x="97" y="112"/>
                  <a:pt x="99" y="102"/>
                  <a:pt x="99" y="93"/>
                </a:cubicBezTo>
                <a:cubicBezTo>
                  <a:pt x="99" y="54"/>
                  <a:pt x="74" y="18"/>
                  <a:pt x="35" y="5"/>
                </a:cubicBezTo>
                <a:cubicBezTo>
                  <a:pt x="35" y="5"/>
                  <a:pt x="35" y="5"/>
                  <a:pt x="35" y="5"/>
                </a:cubicBezTo>
                <a:cubicBezTo>
                  <a:pt x="25" y="2"/>
                  <a:pt x="17" y="0"/>
                  <a:pt x="6" y="0"/>
                </a:cubicBezTo>
                <a:cubicBezTo>
                  <a:pt x="5" y="0"/>
                  <a:pt x="3" y="1"/>
                  <a:pt x="2" y="2"/>
                </a:cubicBezTo>
                <a:cubicBezTo>
                  <a:pt x="1" y="3"/>
                  <a:pt x="0" y="5"/>
                  <a:pt x="0" y="6"/>
                </a:cubicBezTo>
                <a:cubicBezTo>
                  <a:pt x="0" y="93"/>
                  <a:pt x="0" y="93"/>
                  <a:pt x="0" y="93"/>
                </a:cubicBezTo>
                <a:cubicBezTo>
                  <a:pt x="0" y="95"/>
                  <a:pt x="2" y="98"/>
                  <a:pt x="5" y="98"/>
                </a:cubicBezTo>
                <a:cubicBezTo>
                  <a:pt x="6" y="93"/>
                  <a:pt x="6" y="93"/>
                  <a:pt x="6" y="93"/>
                </a:cubicBezTo>
                <a:cubicBezTo>
                  <a:pt x="12" y="93"/>
                  <a:pt x="12" y="93"/>
                  <a:pt x="12" y="93"/>
                </a:cubicBezTo>
                <a:cubicBezTo>
                  <a:pt x="12" y="6"/>
                  <a:pt x="12" y="6"/>
                  <a:pt x="12" y="6"/>
                </a:cubicBezTo>
                <a:cubicBezTo>
                  <a:pt x="6" y="6"/>
                  <a:pt x="6" y="6"/>
                  <a:pt x="6" y="6"/>
                </a:cubicBezTo>
                <a:cubicBezTo>
                  <a:pt x="6" y="12"/>
                  <a:pt x="6" y="12"/>
                  <a:pt x="6" y="12"/>
                </a:cubicBezTo>
                <a:cubicBezTo>
                  <a:pt x="15" y="12"/>
                  <a:pt x="23" y="14"/>
                  <a:pt x="31" y="16"/>
                </a:cubicBezTo>
                <a:cubicBezTo>
                  <a:pt x="31" y="16"/>
                  <a:pt x="31" y="16"/>
                  <a:pt x="31" y="16"/>
                </a:cubicBezTo>
                <a:cubicBezTo>
                  <a:pt x="65" y="27"/>
                  <a:pt x="87" y="59"/>
                  <a:pt x="87" y="93"/>
                </a:cubicBezTo>
                <a:cubicBezTo>
                  <a:pt x="87" y="101"/>
                  <a:pt x="85" y="109"/>
                  <a:pt x="83" y="117"/>
                </a:cubicBezTo>
                <a:cubicBezTo>
                  <a:pt x="88" y="119"/>
                  <a:pt x="88" y="119"/>
                  <a:pt x="88" y="119"/>
                </a:cubicBezTo>
                <a:cubicBezTo>
                  <a:pt x="90" y="114"/>
                  <a:pt x="90" y="114"/>
                  <a:pt x="90" y="114"/>
                </a:cubicBezTo>
                <a:cubicBezTo>
                  <a:pt x="8" y="87"/>
                  <a:pt x="8" y="87"/>
                  <a:pt x="8" y="87"/>
                </a:cubicBezTo>
                <a:cubicBezTo>
                  <a:pt x="6" y="93"/>
                  <a:pt x="6" y="93"/>
                  <a:pt x="6" y="93"/>
                </a:cubicBezTo>
                <a:cubicBezTo>
                  <a:pt x="12" y="93"/>
                  <a:pt x="12" y="93"/>
                  <a:pt x="12" y="93"/>
                </a:cubicBezTo>
                <a:lnTo>
                  <a:pt x="6" y="9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145">
            <a:extLst>
              <a:ext uri="{FF2B5EF4-FFF2-40B4-BE49-F238E27FC236}">
                <a16:creationId xmlns:a16="http://schemas.microsoft.com/office/drawing/2014/main" id="{06A0F581-E8F5-410E-A35C-7DB138F942BB}"/>
              </a:ext>
            </a:extLst>
          </p:cNvPr>
          <p:cNvSpPr>
            <a:spLocks/>
          </p:cNvSpPr>
          <p:nvPr/>
        </p:nvSpPr>
        <p:spPr bwMode="auto">
          <a:xfrm>
            <a:off x="4398615" y="4681287"/>
            <a:ext cx="1056785" cy="610384"/>
          </a:xfrm>
          <a:custGeom>
            <a:avLst/>
            <a:gdLst>
              <a:gd name="T0" fmla="*/ 11 w 440"/>
              <a:gd name="T1" fmla="*/ 251 h 254"/>
              <a:gd name="T2" fmla="*/ 147 w 440"/>
              <a:gd name="T3" fmla="*/ 125 h 254"/>
              <a:gd name="T4" fmla="*/ 240 w 440"/>
              <a:gd name="T5" fmla="*/ 136 h 254"/>
              <a:gd name="T6" fmla="*/ 244 w 440"/>
              <a:gd name="T7" fmla="*/ 134 h 254"/>
              <a:gd name="T8" fmla="*/ 283 w 440"/>
              <a:gd name="T9" fmla="*/ 103 h 254"/>
              <a:gd name="T10" fmla="*/ 351 w 440"/>
              <a:gd name="T11" fmla="*/ 100 h 254"/>
              <a:gd name="T12" fmla="*/ 355 w 440"/>
              <a:gd name="T13" fmla="*/ 98 h 254"/>
              <a:gd name="T14" fmla="*/ 438 w 440"/>
              <a:gd name="T15" fmla="*/ 10 h 254"/>
              <a:gd name="T16" fmla="*/ 438 w 440"/>
              <a:gd name="T17" fmla="*/ 2 h 254"/>
              <a:gd name="T18" fmla="*/ 429 w 440"/>
              <a:gd name="T19" fmla="*/ 2 h 254"/>
              <a:gd name="T20" fmla="*/ 348 w 440"/>
              <a:gd name="T21" fmla="*/ 88 h 254"/>
              <a:gd name="T22" fmla="*/ 281 w 440"/>
              <a:gd name="T23" fmla="*/ 91 h 254"/>
              <a:gd name="T24" fmla="*/ 277 w 440"/>
              <a:gd name="T25" fmla="*/ 92 h 254"/>
              <a:gd name="T26" fmla="*/ 239 w 440"/>
              <a:gd name="T27" fmla="*/ 124 h 254"/>
              <a:gd name="T28" fmla="*/ 146 w 440"/>
              <a:gd name="T29" fmla="*/ 113 h 254"/>
              <a:gd name="T30" fmla="*/ 141 w 440"/>
              <a:gd name="T31" fmla="*/ 114 h 254"/>
              <a:gd name="T32" fmla="*/ 2 w 440"/>
              <a:gd name="T33" fmla="*/ 243 h 254"/>
              <a:gd name="T34" fmla="*/ 2 w 440"/>
              <a:gd name="T35" fmla="*/ 251 h 254"/>
              <a:gd name="T36" fmla="*/ 11 w 440"/>
              <a:gd name="T37" fmla="*/ 25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254">
                <a:moveTo>
                  <a:pt x="11" y="251"/>
                </a:moveTo>
                <a:cubicBezTo>
                  <a:pt x="147" y="125"/>
                  <a:pt x="147" y="125"/>
                  <a:pt x="147" y="125"/>
                </a:cubicBezTo>
                <a:cubicBezTo>
                  <a:pt x="240" y="136"/>
                  <a:pt x="240" y="136"/>
                  <a:pt x="240" y="136"/>
                </a:cubicBezTo>
                <a:cubicBezTo>
                  <a:pt x="241" y="136"/>
                  <a:pt x="243" y="136"/>
                  <a:pt x="244" y="134"/>
                </a:cubicBezTo>
                <a:cubicBezTo>
                  <a:pt x="283" y="103"/>
                  <a:pt x="283" y="103"/>
                  <a:pt x="283" y="103"/>
                </a:cubicBezTo>
                <a:cubicBezTo>
                  <a:pt x="351" y="100"/>
                  <a:pt x="351" y="100"/>
                  <a:pt x="351" y="100"/>
                </a:cubicBezTo>
                <a:cubicBezTo>
                  <a:pt x="352" y="100"/>
                  <a:pt x="354" y="100"/>
                  <a:pt x="355" y="98"/>
                </a:cubicBezTo>
                <a:cubicBezTo>
                  <a:pt x="438" y="10"/>
                  <a:pt x="438" y="10"/>
                  <a:pt x="438" y="10"/>
                </a:cubicBezTo>
                <a:cubicBezTo>
                  <a:pt x="440" y="8"/>
                  <a:pt x="440" y="4"/>
                  <a:pt x="438" y="2"/>
                </a:cubicBezTo>
                <a:cubicBezTo>
                  <a:pt x="435" y="0"/>
                  <a:pt x="432" y="0"/>
                  <a:pt x="429" y="2"/>
                </a:cubicBezTo>
                <a:cubicBezTo>
                  <a:pt x="348" y="88"/>
                  <a:pt x="348" y="88"/>
                  <a:pt x="348" y="88"/>
                </a:cubicBezTo>
                <a:cubicBezTo>
                  <a:pt x="281" y="91"/>
                  <a:pt x="281" y="91"/>
                  <a:pt x="281" y="91"/>
                </a:cubicBezTo>
                <a:cubicBezTo>
                  <a:pt x="279" y="91"/>
                  <a:pt x="278" y="91"/>
                  <a:pt x="277" y="92"/>
                </a:cubicBezTo>
                <a:cubicBezTo>
                  <a:pt x="239" y="124"/>
                  <a:pt x="239" y="124"/>
                  <a:pt x="239" y="124"/>
                </a:cubicBezTo>
                <a:cubicBezTo>
                  <a:pt x="146" y="113"/>
                  <a:pt x="146" y="113"/>
                  <a:pt x="146" y="113"/>
                </a:cubicBezTo>
                <a:cubicBezTo>
                  <a:pt x="144" y="113"/>
                  <a:pt x="142" y="113"/>
                  <a:pt x="141" y="114"/>
                </a:cubicBezTo>
                <a:cubicBezTo>
                  <a:pt x="2" y="243"/>
                  <a:pt x="2" y="243"/>
                  <a:pt x="2" y="243"/>
                </a:cubicBezTo>
                <a:cubicBezTo>
                  <a:pt x="0" y="245"/>
                  <a:pt x="0" y="249"/>
                  <a:pt x="2" y="251"/>
                </a:cubicBezTo>
                <a:cubicBezTo>
                  <a:pt x="4" y="254"/>
                  <a:pt x="8" y="254"/>
                  <a:pt x="11" y="25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146">
            <a:extLst>
              <a:ext uri="{FF2B5EF4-FFF2-40B4-BE49-F238E27FC236}">
                <a16:creationId xmlns:a16="http://schemas.microsoft.com/office/drawing/2014/main" id="{2AB32569-38D6-4638-960A-F6E86A219DA7}"/>
              </a:ext>
            </a:extLst>
          </p:cNvPr>
          <p:cNvSpPr>
            <a:spLocks/>
          </p:cNvSpPr>
          <p:nvPr/>
        </p:nvSpPr>
        <p:spPr bwMode="auto">
          <a:xfrm>
            <a:off x="5182094" y="4866528"/>
            <a:ext cx="91102" cy="91102"/>
          </a:xfrm>
          <a:custGeom>
            <a:avLst/>
            <a:gdLst>
              <a:gd name="T0" fmla="*/ 28 w 38"/>
              <a:gd name="T1" fmla="*/ 33 h 38"/>
              <a:gd name="T2" fmla="*/ 5 w 38"/>
              <a:gd name="T3" fmla="*/ 28 h 38"/>
              <a:gd name="T4" fmla="*/ 10 w 38"/>
              <a:gd name="T5" fmla="*/ 5 h 38"/>
              <a:gd name="T6" fmla="*/ 33 w 38"/>
              <a:gd name="T7" fmla="*/ 10 h 38"/>
              <a:gd name="T8" fmla="*/ 28 w 38"/>
              <a:gd name="T9" fmla="*/ 33 h 38"/>
            </a:gdLst>
            <a:ahLst/>
            <a:cxnLst>
              <a:cxn ang="0">
                <a:pos x="T0" y="T1"/>
              </a:cxn>
              <a:cxn ang="0">
                <a:pos x="T2" y="T3"/>
              </a:cxn>
              <a:cxn ang="0">
                <a:pos x="T4" y="T5"/>
              </a:cxn>
              <a:cxn ang="0">
                <a:pos x="T6" y="T7"/>
              </a:cxn>
              <a:cxn ang="0">
                <a:pos x="T8" y="T9"/>
              </a:cxn>
            </a:cxnLst>
            <a:rect l="0" t="0" r="r" b="b"/>
            <a:pathLst>
              <a:path w="38" h="38">
                <a:moveTo>
                  <a:pt x="28" y="33"/>
                </a:moveTo>
                <a:cubicBezTo>
                  <a:pt x="20" y="38"/>
                  <a:pt x="10" y="36"/>
                  <a:pt x="5" y="28"/>
                </a:cubicBezTo>
                <a:cubicBezTo>
                  <a:pt x="0" y="20"/>
                  <a:pt x="2" y="10"/>
                  <a:pt x="10" y="5"/>
                </a:cubicBezTo>
                <a:cubicBezTo>
                  <a:pt x="18" y="0"/>
                  <a:pt x="28" y="2"/>
                  <a:pt x="33" y="10"/>
                </a:cubicBezTo>
                <a:cubicBezTo>
                  <a:pt x="38" y="18"/>
                  <a:pt x="36" y="28"/>
                  <a:pt x="28"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3" name="Freeform 147">
            <a:extLst>
              <a:ext uri="{FF2B5EF4-FFF2-40B4-BE49-F238E27FC236}">
                <a16:creationId xmlns:a16="http://schemas.microsoft.com/office/drawing/2014/main" id="{F8E1D9F4-A27E-4F87-BA37-199D8C962531}"/>
              </a:ext>
            </a:extLst>
          </p:cNvPr>
          <p:cNvSpPr>
            <a:spLocks/>
          </p:cNvSpPr>
          <p:nvPr/>
        </p:nvSpPr>
        <p:spPr bwMode="auto">
          <a:xfrm>
            <a:off x="5177032" y="4861466"/>
            <a:ext cx="101225"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14 w 42"/>
              <a:gd name="T13" fmla="*/ 10 h 42"/>
              <a:gd name="T14" fmla="*/ 21 w 42"/>
              <a:gd name="T15" fmla="*/ 8 h 42"/>
              <a:gd name="T16" fmla="*/ 32 w 42"/>
              <a:gd name="T17" fmla="*/ 14 h 42"/>
              <a:gd name="T18" fmla="*/ 34 w 42"/>
              <a:gd name="T19" fmla="*/ 21 h 42"/>
              <a:gd name="T20" fmla="*/ 28 w 42"/>
              <a:gd name="T21" fmla="*/ 32 h 42"/>
              <a:gd name="T22" fmla="*/ 30 w 42"/>
              <a:gd name="T23" fmla="*/ 35 h 42"/>
              <a:gd name="T24" fmla="*/ 32 w 42"/>
              <a:gd name="T25" fmla="*/ 39 h 42"/>
              <a:gd name="T26" fmla="*/ 42 w 42"/>
              <a:gd name="T27" fmla="*/ 21 h 42"/>
              <a:gd name="T28" fmla="*/ 38 w 42"/>
              <a:gd name="T29" fmla="*/ 10 h 42"/>
              <a:gd name="T30" fmla="*/ 21 w 42"/>
              <a:gd name="T31" fmla="*/ 0 h 42"/>
              <a:gd name="T32" fmla="*/ 10 w 42"/>
              <a:gd name="T33" fmla="*/ 4 h 42"/>
              <a:gd name="T34" fmla="*/ 10 w 42"/>
              <a:gd name="T35" fmla="*/ 4 h 42"/>
              <a:gd name="T36" fmla="*/ 0 w 42"/>
              <a:gd name="T37" fmla="*/ 21 h 42"/>
              <a:gd name="T38" fmla="*/ 3 w 42"/>
              <a:gd name="T39" fmla="*/ 32 h 42"/>
              <a:gd name="T40" fmla="*/ 21 w 42"/>
              <a:gd name="T41" fmla="*/ 42 h 42"/>
              <a:gd name="T42" fmla="*/ 32 w 42"/>
              <a:gd name="T43" fmla="*/ 39 h 42"/>
              <a:gd name="T44" fmla="*/ 30 w 42"/>
              <a:gd name="T45"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42">
                <a:moveTo>
                  <a:pt x="30" y="35"/>
                </a:moveTo>
                <a:cubicBezTo>
                  <a:pt x="28" y="32"/>
                  <a:pt x="28" y="32"/>
                  <a:pt x="28" y="32"/>
                </a:cubicBezTo>
                <a:cubicBezTo>
                  <a:pt x="26" y="33"/>
                  <a:pt x="23" y="34"/>
                  <a:pt x="21" y="34"/>
                </a:cubicBezTo>
                <a:cubicBezTo>
                  <a:pt x="17" y="34"/>
                  <a:pt x="13" y="32"/>
                  <a:pt x="10" y="28"/>
                </a:cubicBezTo>
                <a:cubicBezTo>
                  <a:pt x="9" y="26"/>
                  <a:pt x="8" y="23"/>
                  <a:pt x="8" y="21"/>
                </a:cubicBezTo>
                <a:cubicBezTo>
                  <a:pt x="8" y="17"/>
                  <a:pt x="10" y="13"/>
                  <a:pt x="14" y="10"/>
                </a:cubicBezTo>
                <a:cubicBezTo>
                  <a:pt x="14" y="10"/>
                  <a:pt x="14" y="10"/>
                  <a:pt x="14" y="10"/>
                </a:cubicBezTo>
                <a:cubicBezTo>
                  <a:pt x="16" y="9"/>
                  <a:pt x="19" y="8"/>
                  <a:pt x="21" y="8"/>
                </a:cubicBezTo>
                <a:cubicBezTo>
                  <a:pt x="25" y="8"/>
                  <a:pt x="29" y="10"/>
                  <a:pt x="32" y="14"/>
                </a:cubicBezTo>
                <a:cubicBezTo>
                  <a:pt x="33" y="16"/>
                  <a:pt x="34" y="19"/>
                  <a:pt x="34" y="21"/>
                </a:cubicBezTo>
                <a:cubicBezTo>
                  <a:pt x="34" y="25"/>
                  <a:pt x="32" y="29"/>
                  <a:pt x="28" y="32"/>
                </a:cubicBezTo>
                <a:cubicBezTo>
                  <a:pt x="30" y="35"/>
                  <a:pt x="30" y="35"/>
                  <a:pt x="30" y="35"/>
                </a:cubicBezTo>
                <a:cubicBezTo>
                  <a:pt x="32" y="39"/>
                  <a:pt x="32" y="39"/>
                  <a:pt x="32" y="39"/>
                </a:cubicBezTo>
                <a:cubicBezTo>
                  <a:pt x="38" y="35"/>
                  <a:pt x="42" y="28"/>
                  <a:pt x="42" y="21"/>
                </a:cubicBezTo>
                <a:cubicBezTo>
                  <a:pt x="42" y="17"/>
                  <a:pt x="41" y="13"/>
                  <a:pt x="38" y="10"/>
                </a:cubicBezTo>
                <a:cubicBezTo>
                  <a:pt x="34" y="4"/>
                  <a:pt x="28" y="0"/>
                  <a:pt x="21" y="0"/>
                </a:cubicBezTo>
                <a:cubicBezTo>
                  <a:pt x="17" y="0"/>
                  <a:pt x="13" y="1"/>
                  <a:pt x="10" y="4"/>
                </a:cubicBezTo>
                <a:cubicBezTo>
                  <a:pt x="10" y="4"/>
                  <a:pt x="10" y="4"/>
                  <a:pt x="10" y="4"/>
                </a:cubicBezTo>
                <a:cubicBezTo>
                  <a:pt x="4" y="8"/>
                  <a:pt x="0" y="14"/>
                  <a:pt x="0" y="21"/>
                </a:cubicBezTo>
                <a:cubicBezTo>
                  <a:pt x="0" y="25"/>
                  <a:pt x="1" y="29"/>
                  <a:pt x="3" y="32"/>
                </a:cubicBezTo>
                <a:cubicBezTo>
                  <a:pt x="7" y="38"/>
                  <a:pt x="14" y="42"/>
                  <a:pt x="21" y="42"/>
                </a:cubicBezTo>
                <a:cubicBezTo>
                  <a:pt x="25" y="42"/>
                  <a:pt x="29" y="41"/>
                  <a:pt x="32" y="39"/>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Freeform 148">
            <a:extLst>
              <a:ext uri="{FF2B5EF4-FFF2-40B4-BE49-F238E27FC236}">
                <a16:creationId xmlns:a16="http://schemas.microsoft.com/office/drawing/2014/main" id="{FF89F0EE-85D5-48BA-8136-28906807045C}"/>
              </a:ext>
            </a:extLst>
          </p:cNvPr>
          <p:cNvSpPr>
            <a:spLocks/>
          </p:cNvSpPr>
          <p:nvPr/>
        </p:nvSpPr>
        <p:spPr bwMode="auto">
          <a:xfrm>
            <a:off x="4358125" y="5229924"/>
            <a:ext cx="93127" cy="91102"/>
          </a:xfrm>
          <a:custGeom>
            <a:avLst/>
            <a:gdLst>
              <a:gd name="T0" fmla="*/ 28 w 39"/>
              <a:gd name="T1" fmla="*/ 33 h 38"/>
              <a:gd name="T2" fmla="*/ 5 w 39"/>
              <a:gd name="T3" fmla="*/ 28 h 38"/>
              <a:gd name="T4" fmla="*/ 11 w 39"/>
              <a:gd name="T5" fmla="*/ 5 h 38"/>
              <a:gd name="T6" fmla="*/ 34 w 39"/>
              <a:gd name="T7" fmla="*/ 10 h 38"/>
              <a:gd name="T8" fmla="*/ 28 w 39"/>
              <a:gd name="T9" fmla="*/ 33 h 38"/>
            </a:gdLst>
            <a:ahLst/>
            <a:cxnLst>
              <a:cxn ang="0">
                <a:pos x="T0" y="T1"/>
              </a:cxn>
              <a:cxn ang="0">
                <a:pos x="T2" y="T3"/>
              </a:cxn>
              <a:cxn ang="0">
                <a:pos x="T4" y="T5"/>
              </a:cxn>
              <a:cxn ang="0">
                <a:pos x="T6" y="T7"/>
              </a:cxn>
              <a:cxn ang="0">
                <a:pos x="T8" y="T9"/>
              </a:cxn>
            </a:cxnLst>
            <a:rect l="0" t="0" r="r" b="b"/>
            <a:pathLst>
              <a:path w="39" h="38">
                <a:moveTo>
                  <a:pt x="28" y="33"/>
                </a:moveTo>
                <a:cubicBezTo>
                  <a:pt x="21" y="38"/>
                  <a:pt x="10" y="36"/>
                  <a:pt x="5" y="28"/>
                </a:cubicBezTo>
                <a:cubicBezTo>
                  <a:pt x="0" y="20"/>
                  <a:pt x="3" y="10"/>
                  <a:pt x="11" y="5"/>
                </a:cubicBezTo>
                <a:cubicBezTo>
                  <a:pt x="18" y="0"/>
                  <a:pt x="29" y="2"/>
                  <a:pt x="34" y="10"/>
                </a:cubicBezTo>
                <a:cubicBezTo>
                  <a:pt x="39" y="18"/>
                  <a:pt x="36" y="28"/>
                  <a:pt x="28" y="3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5" name="Freeform 149">
            <a:extLst>
              <a:ext uri="{FF2B5EF4-FFF2-40B4-BE49-F238E27FC236}">
                <a16:creationId xmlns:a16="http://schemas.microsoft.com/office/drawing/2014/main" id="{A8BDBF4D-45B4-4DED-A2DC-390B793B1B1B}"/>
              </a:ext>
            </a:extLst>
          </p:cNvPr>
          <p:cNvSpPr>
            <a:spLocks/>
          </p:cNvSpPr>
          <p:nvPr/>
        </p:nvSpPr>
        <p:spPr bwMode="auto">
          <a:xfrm>
            <a:off x="4356101" y="5224863"/>
            <a:ext cx="98188" cy="101225"/>
          </a:xfrm>
          <a:custGeom>
            <a:avLst/>
            <a:gdLst>
              <a:gd name="T0" fmla="*/ 29 w 41"/>
              <a:gd name="T1" fmla="*/ 35 h 42"/>
              <a:gd name="T2" fmla="*/ 27 w 41"/>
              <a:gd name="T3" fmla="*/ 32 h 42"/>
              <a:gd name="T4" fmla="*/ 21 w 41"/>
              <a:gd name="T5" fmla="*/ 34 h 42"/>
              <a:gd name="T6" fmla="*/ 10 w 41"/>
              <a:gd name="T7" fmla="*/ 28 h 42"/>
              <a:gd name="T8" fmla="*/ 10 w 41"/>
              <a:gd name="T9" fmla="*/ 28 h 42"/>
              <a:gd name="T10" fmla="*/ 8 w 41"/>
              <a:gd name="T11" fmla="*/ 21 h 42"/>
              <a:gd name="T12" fmla="*/ 14 w 41"/>
              <a:gd name="T13" fmla="*/ 10 h 42"/>
              <a:gd name="T14" fmla="*/ 14 w 41"/>
              <a:gd name="T15" fmla="*/ 10 h 42"/>
              <a:gd name="T16" fmla="*/ 20 w 41"/>
              <a:gd name="T17" fmla="*/ 8 h 42"/>
              <a:gd name="T18" fmla="*/ 31 w 41"/>
              <a:gd name="T19" fmla="*/ 14 h 42"/>
              <a:gd name="T20" fmla="*/ 31 w 41"/>
              <a:gd name="T21" fmla="*/ 14 h 42"/>
              <a:gd name="T22" fmla="*/ 33 w 41"/>
              <a:gd name="T23" fmla="*/ 21 h 42"/>
              <a:gd name="T24" fmla="*/ 27 w 41"/>
              <a:gd name="T25" fmla="*/ 32 h 42"/>
              <a:gd name="T26" fmla="*/ 27 w 41"/>
              <a:gd name="T27" fmla="*/ 32 h 42"/>
              <a:gd name="T28" fmla="*/ 29 w 41"/>
              <a:gd name="T29" fmla="*/ 35 h 42"/>
              <a:gd name="T30" fmla="*/ 32 w 41"/>
              <a:gd name="T31" fmla="*/ 38 h 42"/>
              <a:gd name="T32" fmla="*/ 41 w 41"/>
              <a:gd name="T33" fmla="*/ 21 h 42"/>
              <a:gd name="T34" fmla="*/ 38 w 41"/>
              <a:gd name="T35" fmla="*/ 10 h 42"/>
              <a:gd name="T36" fmla="*/ 38 w 41"/>
              <a:gd name="T37" fmla="*/ 10 h 42"/>
              <a:gd name="T38" fmla="*/ 20 w 41"/>
              <a:gd name="T39" fmla="*/ 0 h 42"/>
              <a:gd name="T40" fmla="*/ 9 w 41"/>
              <a:gd name="T41" fmla="*/ 3 h 42"/>
              <a:gd name="T42" fmla="*/ 9 w 41"/>
              <a:gd name="T43" fmla="*/ 3 h 42"/>
              <a:gd name="T44" fmla="*/ 0 w 41"/>
              <a:gd name="T45" fmla="*/ 21 h 42"/>
              <a:gd name="T46" fmla="*/ 3 w 41"/>
              <a:gd name="T47" fmla="*/ 32 h 42"/>
              <a:gd name="T48" fmla="*/ 5 w 41"/>
              <a:gd name="T49" fmla="*/ 35 h 42"/>
              <a:gd name="T50" fmla="*/ 3 w 41"/>
              <a:gd name="T51" fmla="*/ 32 h 42"/>
              <a:gd name="T52" fmla="*/ 21 w 41"/>
              <a:gd name="T53" fmla="*/ 42 h 42"/>
              <a:gd name="T54" fmla="*/ 32 w 41"/>
              <a:gd name="T55" fmla="*/ 38 h 42"/>
              <a:gd name="T56" fmla="*/ 32 w 41"/>
              <a:gd name="T57" fmla="*/ 38 h 42"/>
              <a:gd name="T58" fmla="*/ 29 w 41"/>
              <a:gd name="T59"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 h="42">
                <a:moveTo>
                  <a:pt x="29" y="35"/>
                </a:moveTo>
                <a:cubicBezTo>
                  <a:pt x="27" y="32"/>
                  <a:pt x="27" y="32"/>
                  <a:pt x="27" y="32"/>
                </a:cubicBezTo>
                <a:cubicBezTo>
                  <a:pt x="25" y="33"/>
                  <a:pt x="23" y="34"/>
                  <a:pt x="21" y="34"/>
                </a:cubicBezTo>
                <a:cubicBezTo>
                  <a:pt x="16" y="34"/>
                  <a:pt x="12" y="32"/>
                  <a:pt x="10" y="28"/>
                </a:cubicBezTo>
                <a:cubicBezTo>
                  <a:pt x="10" y="28"/>
                  <a:pt x="10" y="28"/>
                  <a:pt x="10" y="28"/>
                </a:cubicBezTo>
                <a:cubicBezTo>
                  <a:pt x="8" y="26"/>
                  <a:pt x="8" y="23"/>
                  <a:pt x="8" y="21"/>
                </a:cubicBezTo>
                <a:cubicBezTo>
                  <a:pt x="8" y="17"/>
                  <a:pt x="10" y="13"/>
                  <a:pt x="14" y="10"/>
                </a:cubicBezTo>
                <a:cubicBezTo>
                  <a:pt x="14" y="10"/>
                  <a:pt x="14" y="10"/>
                  <a:pt x="14" y="10"/>
                </a:cubicBezTo>
                <a:cubicBezTo>
                  <a:pt x="16" y="9"/>
                  <a:pt x="18" y="8"/>
                  <a:pt x="20" y="8"/>
                </a:cubicBezTo>
                <a:cubicBezTo>
                  <a:pt x="25" y="8"/>
                  <a:pt x="29" y="10"/>
                  <a:pt x="31" y="14"/>
                </a:cubicBezTo>
                <a:cubicBezTo>
                  <a:pt x="31" y="14"/>
                  <a:pt x="31" y="14"/>
                  <a:pt x="31" y="14"/>
                </a:cubicBezTo>
                <a:cubicBezTo>
                  <a:pt x="33" y="16"/>
                  <a:pt x="33" y="19"/>
                  <a:pt x="33" y="21"/>
                </a:cubicBezTo>
                <a:cubicBezTo>
                  <a:pt x="33" y="25"/>
                  <a:pt x="31" y="29"/>
                  <a:pt x="27" y="32"/>
                </a:cubicBezTo>
                <a:cubicBezTo>
                  <a:pt x="27" y="32"/>
                  <a:pt x="27" y="32"/>
                  <a:pt x="27" y="32"/>
                </a:cubicBezTo>
                <a:cubicBezTo>
                  <a:pt x="29" y="35"/>
                  <a:pt x="29" y="35"/>
                  <a:pt x="29" y="35"/>
                </a:cubicBezTo>
                <a:cubicBezTo>
                  <a:pt x="32" y="38"/>
                  <a:pt x="32" y="38"/>
                  <a:pt x="32" y="38"/>
                </a:cubicBezTo>
                <a:cubicBezTo>
                  <a:pt x="38" y="34"/>
                  <a:pt x="41" y="28"/>
                  <a:pt x="41" y="21"/>
                </a:cubicBezTo>
                <a:cubicBezTo>
                  <a:pt x="41" y="17"/>
                  <a:pt x="40" y="13"/>
                  <a:pt x="38" y="10"/>
                </a:cubicBezTo>
                <a:cubicBezTo>
                  <a:pt x="38" y="10"/>
                  <a:pt x="38" y="10"/>
                  <a:pt x="38" y="10"/>
                </a:cubicBezTo>
                <a:cubicBezTo>
                  <a:pt x="34" y="4"/>
                  <a:pt x="27" y="0"/>
                  <a:pt x="20" y="0"/>
                </a:cubicBezTo>
                <a:cubicBezTo>
                  <a:pt x="17" y="0"/>
                  <a:pt x="13" y="1"/>
                  <a:pt x="9" y="3"/>
                </a:cubicBezTo>
                <a:cubicBezTo>
                  <a:pt x="9" y="3"/>
                  <a:pt x="9" y="3"/>
                  <a:pt x="9" y="3"/>
                </a:cubicBezTo>
                <a:cubicBezTo>
                  <a:pt x="3" y="7"/>
                  <a:pt x="0" y="14"/>
                  <a:pt x="0" y="21"/>
                </a:cubicBezTo>
                <a:cubicBezTo>
                  <a:pt x="0" y="25"/>
                  <a:pt x="1" y="29"/>
                  <a:pt x="3" y="32"/>
                </a:cubicBezTo>
                <a:cubicBezTo>
                  <a:pt x="5" y="35"/>
                  <a:pt x="5" y="35"/>
                  <a:pt x="5" y="35"/>
                </a:cubicBezTo>
                <a:cubicBezTo>
                  <a:pt x="3" y="32"/>
                  <a:pt x="3" y="32"/>
                  <a:pt x="3" y="32"/>
                </a:cubicBezTo>
                <a:cubicBezTo>
                  <a:pt x="7" y="38"/>
                  <a:pt x="14" y="42"/>
                  <a:pt x="21" y="42"/>
                </a:cubicBezTo>
                <a:cubicBezTo>
                  <a:pt x="24" y="42"/>
                  <a:pt x="28" y="41"/>
                  <a:pt x="32" y="38"/>
                </a:cubicBezTo>
                <a:cubicBezTo>
                  <a:pt x="32" y="38"/>
                  <a:pt x="32" y="38"/>
                  <a:pt x="32" y="38"/>
                </a:cubicBezTo>
                <a:lnTo>
                  <a:pt x="29" y="3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6" name="Freeform 150">
            <a:extLst>
              <a:ext uri="{FF2B5EF4-FFF2-40B4-BE49-F238E27FC236}">
                <a16:creationId xmlns:a16="http://schemas.microsoft.com/office/drawing/2014/main" id="{B1DA25E7-67FA-475F-82AE-E9CE7EFEE88D}"/>
              </a:ext>
            </a:extLst>
          </p:cNvPr>
          <p:cNvSpPr>
            <a:spLocks noEditPoints="1"/>
          </p:cNvSpPr>
          <p:nvPr/>
        </p:nvSpPr>
        <p:spPr bwMode="auto">
          <a:xfrm>
            <a:off x="8244138" y="2961481"/>
            <a:ext cx="1721830" cy="1084115"/>
          </a:xfrm>
          <a:custGeom>
            <a:avLst/>
            <a:gdLst>
              <a:gd name="T0" fmla="*/ 703 w 717"/>
              <a:gd name="T1" fmla="*/ 7 h 451"/>
              <a:gd name="T2" fmla="*/ 700 w 717"/>
              <a:gd name="T3" fmla="*/ 22 h 451"/>
              <a:gd name="T4" fmla="*/ 686 w 717"/>
              <a:gd name="T5" fmla="*/ 53 h 451"/>
              <a:gd name="T6" fmla="*/ 677 w 717"/>
              <a:gd name="T7" fmla="*/ 55 h 451"/>
              <a:gd name="T8" fmla="*/ 664 w 717"/>
              <a:gd name="T9" fmla="*/ 63 h 451"/>
              <a:gd name="T10" fmla="*/ 660 w 717"/>
              <a:gd name="T11" fmla="*/ 89 h 451"/>
              <a:gd name="T12" fmla="*/ 658 w 717"/>
              <a:gd name="T13" fmla="*/ 93 h 451"/>
              <a:gd name="T14" fmla="*/ 634 w 717"/>
              <a:gd name="T15" fmla="*/ 105 h 451"/>
              <a:gd name="T16" fmla="*/ 633 w 717"/>
              <a:gd name="T17" fmla="*/ 123 h 451"/>
              <a:gd name="T18" fmla="*/ 601 w 717"/>
              <a:gd name="T19" fmla="*/ 135 h 451"/>
              <a:gd name="T20" fmla="*/ 594 w 717"/>
              <a:gd name="T21" fmla="*/ 131 h 451"/>
              <a:gd name="T22" fmla="*/ 579 w 717"/>
              <a:gd name="T23" fmla="*/ 128 h 451"/>
              <a:gd name="T24" fmla="*/ 558 w 717"/>
              <a:gd name="T25" fmla="*/ 145 h 451"/>
              <a:gd name="T26" fmla="*/ 554 w 717"/>
              <a:gd name="T27" fmla="*/ 145 h 451"/>
              <a:gd name="T28" fmla="*/ 528 w 717"/>
              <a:gd name="T29" fmla="*/ 139 h 451"/>
              <a:gd name="T30" fmla="*/ 515 w 717"/>
              <a:gd name="T31" fmla="*/ 147 h 451"/>
              <a:gd name="T32" fmla="*/ 483 w 717"/>
              <a:gd name="T33" fmla="*/ 160 h 451"/>
              <a:gd name="T34" fmla="*/ 476 w 717"/>
              <a:gd name="T35" fmla="*/ 156 h 451"/>
              <a:gd name="T36" fmla="*/ 459 w 717"/>
              <a:gd name="T37" fmla="*/ 157 h 451"/>
              <a:gd name="T38" fmla="*/ 453 w 717"/>
              <a:gd name="T39" fmla="*/ 183 h 451"/>
              <a:gd name="T40" fmla="*/ 451 w 717"/>
              <a:gd name="T41" fmla="*/ 186 h 451"/>
              <a:gd name="T42" fmla="*/ 426 w 717"/>
              <a:gd name="T43" fmla="*/ 197 h 451"/>
              <a:gd name="T44" fmla="*/ 422 w 717"/>
              <a:gd name="T45" fmla="*/ 211 h 451"/>
              <a:gd name="T46" fmla="*/ 405 w 717"/>
              <a:gd name="T47" fmla="*/ 241 h 451"/>
              <a:gd name="T48" fmla="*/ 396 w 717"/>
              <a:gd name="T49" fmla="*/ 242 h 451"/>
              <a:gd name="T50" fmla="*/ 383 w 717"/>
              <a:gd name="T51" fmla="*/ 249 h 451"/>
              <a:gd name="T52" fmla="*/ 377 w 717"/>
              <a:gd name="T53" fmla="*/ 275 h 451"/>
              <a:gd name="T54" fmla="*/ 374 w 717"/>
              <a:gd name="T55" fmla="*/ 278 h 451"/>
              <a:gd name="T56" fmla="*/ 350 w 717"/>
              <a:gd name="T57" fmla="*/ 289 h 451"/>
              <a:gd name="T58" fmla="*/ 341 w 717"/>
              <a:gd name="T59" fmla="*/ 290 h 451"/>
              <a:gd name="T60" fmla="*/ 306 w 717"/>
              <a:gd name="T61" fmla="*/ 289 h 451"/>
              <a:gd name="T62" fmla="*/ 302 w 717"/>
              <a:gd name="T63" fmla="*/ 282 h 451"/>
              <a:gd name="T64" fmla="*/ 289 w 717"/>
              <a:gd name="T65" fmla="*/ 273 h 451"/>
              <a:gd name="T66" fmla="*/ 263 w 717"/>
              <a:gd name="T67" fmla="*/ 280 h 451"/>
              <a:gd name="T68" fmla="*/ 259 w 717"/>
              <a:gd name="T69" fmla="*/ 279 h 451"/>
              <a:gd name="T70" fmla="*/ 234 w 717"/>
              <a:gd name="T71" fmla="*/ 267 h 451"/>
              <a:gd name="T72" fmla="*/ 227 w 717"/>
              <a:gd name="T73" fmla="*/ 280 h 451"/>
              <a:gd name="T74" fmla="*/ 203 w 717"/>
              <a:gd name="T75" fmla="*/ 306 h 451"/>
              <a:gd name="T76" fmla="*/ 195 w 717"/>
              <a:gd name="T77" fmla="*/ 304 h 451"/>
              <a:gd name="T78" fmla="*/ 180 w 717"/>
              <a:gd name="T79" fmla="*/ 308 h 451"/>
              <a:gd name="T80" fmla="*/ 168 w 717"/>
              <a:gd name="T81" fmla="*/ 332 h 451"/>
              <a:gd name="T82" fmla="*/ 164 w 717"/>
              <a:gd name="T83" fmla="*/ 334 h 451"/>
              <a:gd name="T84" fmla="*/ 138 w 717"/>
              <a:gd name="T85" fmla="*/ 339 h 451"/>
              <a:gd name="T86" fmla="*/ 130 w 717"/>
              <a:gd name="T87" fmla="*/ 352 h 451"/>
              <a:gd name="T88" fmla="*/ 107 w 717"/>
              <a:gd name="T89" fmla="*/ 377 h 451"/>
              <a:gd name="T90" fmla="*/ 98 w 717"/>
              <a:gd name="T91" fmla="*/ 376 h 451"/>
              <a:gd name="T92" fmla="*/ 83 w 717"/>
              <a:gd name="T93" fmla="*/ 379 h 451"/>
              <a:gd name="T94" fmla="*/ 71 w 717"/>
              <a:gd name="T95" fmla="*/ 403 h 451"/>
              <a:gd name="T96" fmla="*/ 68 w 717"/>
              <a:gd name="T97" fmla="*/ 406 h 451"/>
              <a:gd name="T98" fmla="*/ 42 w 717"/>
              <a:gd name="T99" fmla="*/ 410 h 451"/>
              <a:gd name="T100" fmla="*/ 34 w 717"/>
              <a:gd name="T101" fmla="*/ 424 h 451"/>
              <a:gd name="T102" fmla="*/ 10 w 717"/>
              <a:gd name="T103" fmla="*/ 449 h 451"/>
              <a:gd name="T104" fmla="*/ 2 w 717"/>
              <a:gd name="T105" fmla="*/ 44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7" h="451">
                <a:moveTo>
                  <a:pt x="713" y="14"/>
                </a:moveTo>
                <a:cubicBezTo>
                  <a:pt x="715" y="11"/>
                  <a:pt x="715" y="11"/>
                  <a:pt x="715" y="11"/>
                </a:cubicBezTo>
                <a:cubicBezTo>
                  <a:pt x="717" y="8"/>
                  <a:pt x="717" y="4"/>
                  <a:pt x="714" y="2"/>
                </a:cubicBezTo>
                <a:cubicBezTo>
                  <a:pt x="711" y="0"/>
                  <a:pt x="708" y="1"/>
                  <a:pt x="706" y="4"/>
                </a:cubicBezTo>
                <a:cubicBezTo>
                  <a:pt x="703" y="7"/>
                  <a:pt x="703" y="7"/>
                  <a:pt x="703" y="7"/>
                </a:cubicBezTo>
                <a:cubicBezTo>
                  <a:pt x="701" y="10"/>
                  <a:pt x="702" y="14"/>
                  <a:pt x="705" y="15"/>
                </a:cubicBezTo>
                <a:cubicBezTo>
                  <a:pt x="707" y="17"/>
                  <a:pt x="711" y="17"/>
                  <a:pt x="713" y="14"/>
                </a:cubicBezTo>
                <a:close/>
                <a:moveTo>
                  <a:pt x="699" y="34"/>
                </a:moveTo>
                <a:cubicBezTo>
                  <a:pt x="702" y="30"/>
                  <a:pt x="702" y="30"/>
                  <a:pt x="702" y="30"/>
                </a:cubicBezTo>
                <a:cubicBezTo>
                  <a:pt x="704" y="28"/>
                  <a:pt x="703" y="24"/>
                  <a:pt x="700" y="22"/>
                </a:cubicBezTo>
                <a:cubicBezTo>
                  <a:pt x="697" y="20"/>
                  <a:pt x="694" y="21"/>
                  <a:pt x="692" y="23"/>
                </a:cubicBezTo>
                <a:cubicBezTo>
                  <a:pt x="690" y="27"/>
                  <a:pt x="690" y="27"/>
                  <a:pt x="690" y="27"/>
                </a:cubicBezTo>
                <a:cubicBezTo>
                  <a:pt x="688" y="29"/>
                  <a:pt x="688" y="33"/>
                  <a:pt x="691" y="35"/>
                </a:cubicBezTo>
                <a:cubicBezTo>
                  <a:pt x="694" y="37"/>
                  <a:pt x="697" y="36"/>
                  <a:pt x="699" y="34"/>
                </a:cubicBezTo>
                <a:close/>
                <a:moveTo>
                  <a:pt x="686" y="53"/>
                </a:moveTo>
                <a:cubicBezTo>
                  <a:pt x="688" y="50"/>
                  <a:pt x="688" y="50"/>
                  <a:pt x="688" y="50"/>
                </a:cubicBezTo>
                <a:cubicBezTo>
                  <a:pt x="690" y="47"/>
                  <a:pt x="689" y="44"/>
                  <a:pt x="686" y="42"/>
                </a:cubicBezTo>
                <a:cubicBezTo>
                  <a:pt x="684" y="40"/>
                  <a:pt x="680" y="40"/>
                  <a:pt x="678" y="43"/>
                </a:cubicBezTo>
                <a:cubicBezTo>
                  <a:pt x="676" y="46"/>
                  <a:pt x="676" y="46"/>
                  <a:pt x="676" y="46"/>
                </a:cubicBezTo>
                <a:cubicBezTo>
                  <a:pt x="674" y="49"/>
                  <a:pt x="675" y="53"/>
                  <a:pt x="677" y="55"/>
                </a:cubicBezTo>
                <a:cubicBezTo>
                  <a:pt x="680" y="57"/>
                  <a:pt x="684" y="56"/>
                  <a:pt x="686" y="53"/>
                </a:cubicBezTo>
                <a:close/>
                <a:moveTo>
                  <a:pt x="672" y="73"/>
                </a:moveTo>
                <a:cubicBezTo>
                  <a:pt x="674" y="70"/>
                  <a:pt x="674" y="70"/>
                  <a:pt x="674" y="70"/>
                </a:cubicBezTo>
                <a:cubicBezTo>
                  <a:pt x="676" y="67"/>
                  <a:pt x="675" y="63"/>
                  <a:pt x="673" y="61"/>
                </a:cubicBezTo>
                <a:cubicBezTo>
                  <a:pt x="670" y="59"/>
                  <a:pt x="666" y="60"/>
                  <a:pt x="664" y="63"/>
                </a:cubicBezTo>
                <a:cubicBezTo>
                  <a:pt x="662" y="66"/>
                  <a:pt x="662" y="66"/>
                  <a:pt x="662" y="66"/>
                </a:cubicBezTo>
                <a:cubicBezTo>
                  <a:pt x="660" y="69"/>
                  <a:pt x="661" y="72"/>
                  <a:pt x="663" y="74"/>
                </a:cubicBezTo>
                <a:cubicBezTo>
                  <a:pt x="666" y="76"/>
                  <a:pt x="670" y="76"/>
                  <a:pt x="672" y="73"/>
                </a:cubicBezTo>
                <a:close/>
                <a:moveTo>
                  <a:pt x="658" y="93"/>
                </a:moveTo>
                <a:cubicBezTo>
                  <a:pt x="660" y="89"/>
                  <a:pt x="660" y="89"/>
                  <a:pt x="660" y="89"/>
                </a:cubicBezTo>
                <a:cubicBezTo>
                  <a:pt x="662" y="87"/>
                  <a:pt x="662" y="83"/>
                  <a:pt x="659" y="81"/>
                </a:cubicBezTo>
                <a:cubicBezTo>
                  <a:pt x="656" y="79"/>
                  <a:pt x="652" y="80"/>
                  <a:pt x="651" y="82"/>
                </a:cubicBezTo>
                <a:cubicBezTo>
                  <a:pt x="648" y="86"/>
                  <a:pt x="648" y="86"/>
                  <a:pt x="648" y="86"/>
                </a:cubicBezTo>
                <a:cubicBezTo>
                  <a:pt x="646" y="88"/>
                  <a:pt x="647" y="92"/>
                  <a:pt x="650" y="94"/>
                </a:cubicBezTo>
                <a:cubicBezTo>
                  <a:pt x="652" y="96"/>
                  <a:pt x="656" y="95"/>
                  <a:pt x="658" y="93"/>
                </a:cubicBezTo>
                <a:close/>
                <a:moveTo>
                  <a:pt x="644" y="112"/>
                </a:moveTo>
                <a:cubicBezTo>
                  <a:pt x="647" y="109"/>
                  <a:pt x="647" y="109"/>
                  <a:pt x="647" y="109"/>
                </a:cubicBezTo>
                <a:cubicBezTo>
                  <a:pt x="648" y="106"/>
                  <a:pt x="648" y="102"/>
                  <a:pt x="645" y="101"/>
                </a:cubicBezTo>
                <a:cubicBezTo>
                  <a:pt x="642" y="99"/>
                  <a:pt x="639" y="99"/>
                  <a:pt x="637" y="102"/>
                </a:cubicBezTo>
                <a:cubicBezTo>
                  <a:pt x="634" y="105"/>
                  <a:pt x="634" y="105"/>
                  <a:pt x="634" y="105"/>
                </a:cubicBezTo>
                <a:cubicBezTo>
                  <a:pt x="633" y="108"/>
                  <a:pt x="633" y="112"/>
                  <a:pt x="636" y="114"/>
                </a:cubicBezTo>
                <a:cubicBezTo>
                  <a:pt x="639" y="116"/>
                  <a:pt x="642" y="115"/>
                  <a:pt x="644" y="112"/>
                </a:cubicBezTo>
                <a:close/>
                <a:moveTo>
                  <a:pt x="624" y="131"/>
                </a:moveTo>
                <a:cubicBezTo>
                  <a:pt x="628" y="130"/>
                  <a:pt x="628" y="130"/>
                  <a:pt x="628" y="130"/>
                </a:cubicBezTo>
                <a:cubicBezTo>
                  <a:pt x="631" y="129"/>
                  <a:pt x="634" y="126"/>
                  <a:pt x="633" y="123"/>
                </a:cubicBezTo>
                <a:cubicBezTo>
                  <a:pt x="632" y="119"/>
                  <a:pt x="629" y="117"/>
                  <a:pt x="626" y="118"/>
                </a:cubicBezTo>
                <a:cubicBezTo>
                  <a:pt x="622" y="119"/>
                  <a:pt x="622" y="119"/>
                  <a:pt x="622" y="119"/>
                </a:cubicBezTo>
                <a:cubicBezTo>
                  <a:pt x="619" y="119"/>
                  <a:pt x="617" y="123"/>
                  <a:pt x="617" y="126"/>
                </a:cubicBezTo>
                <a:cubicBezTo>
                  <a:pt x="618" y="129"/>
                  <a:pt x="621" y="131"/>
                  <a:pt x="624" y="131"/>
                </a:cubicBezTo>
                <a:close/>
                <a:moveTo>
                  <a:pt x="601" y="135"/>
                </a:moveTo>
                <a:cubicBezTo>
                  <a:pt x="605" y="135"/>
                  <a:pt x="605" y="135"/>
                  <a:pt x="605" y="135"/>
                </a:cubicBezTo>
                <a:cubicBezTo>
                  <a:pt x="608" y="134"/>
                  <a:pt x="610" y="131"/>
                  <a:pt x="609" y="128"/>
                </a:cubicBezTo>
                <a:cubicBezTo>
                  <a:pt x="609" y="124"/>
                  <a:pt x="606" y="122"/>
                  <a:pt x="602" y="123"/>
                </a:cubicBezTo>
                <a:cubicBezTo>
                  <a:pt x="598" y="124"/>
                  <a:pt x="598" y="124"/>
                  <a:pt x="598" y="124"/>
                </a:cubicBezTo>
                <a:cubicBezTo>
                  <a:pt x="595" y="124"/>
                  <a:pt x="593" y="128"/>
                  <a:pt x="594" y="131"/>
                </a:cubicBezTo>
                <a:cubicBezTo>
                  <a:pt x="594" y="134"/>
                  <a:pt x="598" y="136"/>
                  <a:pt x="601" y="135"/>
                </a:cubicBezTo>
                <a:close/>
                <a:moveTo>
                  <a:pt x="577" y="140"/>
                </a:moveTo>
                <a:cubicBezTo>
                  <a:pt x="581" y="140"/>
                  <a:pt x="581" y="140"/>
                  <a:pt x="581" y="140"/>
                </a:cubicBezTo>
                <a:cubicBezTo>
                  <a:pt x="585" y="139"/>
                  <a:pt x="587" y="136"/>
                  <a:pt x="586" y="132"/>
                </a:cubicBezTo>
                <a:cubicBezTo>
                  <a:pt x="585" y="129"/>
                  <a:pt x="582" y="127"/>
                  <a:pt x="579" y="128"/>
                </a:cubicBezTo>
                <a:cubicBezTo>
                  <a:pt x="575" y="129"/>
                  <a:pt x="575" y="129"/>
                  <a:pt x="575" y="129"/>
                </a:cubicBezTo>
                <a:cubicBezTo>
                  <a:pt x="572" y="129"/>
                  <a:pt x="570" y="133"/>
                  <a:pt x="570" y="136"/>
                </a:cubicBezTo>
                <a:cubicBezTo>
                  <a:pt x="571" y="139"/>
                  <a:pt x="574" y="141"/>
                  <a:pt x="577" y="140"/>
                </a:cubicBezTo>
                <a:close/>
                <a:moveTo>
                  <a:pt x="554" y="145"/>
                </a:moveTo>
                <a:cubicBezTo>
                  <a:pt x="558" y="145"/>
                  <a:pt x="558" y="145"/>
                  <a:pt x="558" y="145"/>
                </a:cubicBezTo>
                <a:cubicBezTo>
                  <a:pt x="561" y="144"/>
                  <a:pt x="563" y="141"/>
                  <a:pt x="562" y="137"/>
                </a:cubicBezTo>
                <a:cubicBezTo>
                  <a:pt x="562" y="134"/>
                  <a:pt x="559" y="132"/>
                  <a:pt x="555" y="133"/>
                </a:cubicBezTo>
                <a:cubicBezTo>
                  <a:pt x="551" y="134"/>
                  <a:pt x="551" y="134"/>
                  <a:pt x="551" y="134"/>
                </a:cubicBezTo>
                <a:cubicBezTo>
                  <a:pt x="548" y="134"/>
                  <a:pt x="546" y="137"/>
                  <a:pt x="547" y="141"/>
                </a:cubicBezTo>
                <a:cubicBezTo>
                  <a:pt x="547" y="144"/>
                  <a:pt x="551" y="146"/>
                  <a:pt x="554" y="145"/>
                </a:cubicBezTo>
                <a:close/>
                <a:moveTo>
                  <a:pt x="530" y="150"/>
                </a:moveTo>
                <a:cubicBezTo>
                  <a:pt x="534" y="149"/>
                  <a:pt x="534" y="149"/>
                  <a:pt x="534" y="149"/>
                </a:cubicBezTo>
                <a:cubicBezTo>
                  <a:pt x="538" y="149"/>
                  <a:pt x="540" y="146"/>
                  <a:pt x="539" y="142"/>
                </a:cubicBezTo>
                <a:cubicBezTo>
                  <a:pt x="538" y="139"/>
                  <a:pt x="535" y="137"/>
                  <a:pt x="532" y="138"/>
                </a:cubicBezTo>
                <a:cubicBezTo>
                  <a:pt x="528" y="139"/>
                  <a:pt x="528" y="139"/>
                  <a:pt x="528" y="139"/>
                </a:cubicBezTo>
                <a:cubicBezTo>
                  <a:pt x="525" y="139"/>
                  <a:pt x="523" y="142"/>
                  <a:pt x="523" y="146"/>
                </a:cubicBezTo>
                <a:cubicBezTo>
                  <a:pt x="524" y="149"/>
                  <a:pt x="527" y="151"/>
                  <a:pt x="530" y="150"/>
                </a:cubicBezTo>
                <a:close/>
                <a:moveTo>
                  <a:pt x="507" y="155"/>
                </a:moveTo>
                <a:cubicBezTo>
                  <a:pt x="511" y="154"/>
                  <a:pt x="511" y="154"/>
                  <a:pt x="511" y="154"/>
                </a:cubicBezTo>
                <a:cubicBezTo>
                  <a:pt x="514" y="154"/>
                  <a:pt x="516" y="151"/>
                  <a:pt x="515" y="147"/>
                </a:cubicBezTo>
                <a:cubicBezTo>
                  <a:pt x="515" y="144"/>
                  <a:pt x="512" y="142"/>
                  <a:pt x="508" y="143"/>
                </a:cubicBezTo>
                <a:cubicBezTo>
                  <a:pt x="504" y="143"/>
                  <a:pt x="504" y="143"/>
                  <a:pt x="504" y="143"/>
                </a:cubicBezTo>
                <a:cubicBezTo>
                  <a:pt x="501" y="144"/>
                  <a:pt x="499" y="147"/>
                  <a:pt x="500" y="151"/>
                </a:cubicBezTo>
                <a:cubicBezTo>
                  <a:pt x="500" y="154"/>
                  <a:pt x="504" y="156"/>
                  <a:pt x="507" y="155"/>
                </a:cubicBezTo>
                <a:close/>
                <a:moveTo>
                  <a:pt x="483" y="160"/>
                </a:moveTo>
                <a:cubicBezTo>
                  <a:pt x="487" y="159"/>
                  <a:pt x="487" y="159"/>
                  <a:pt x="487" y="159"/>
                </a:cubicBezTo>
                <a:cubicBezTo>
                  <a:pt x="491" y="159"/>
                  <a:pt x="493" y="155"/>
                  <a:pt x="492" y="152"/>
                </a:cubicBezTo>
                <a:cubicBezTo>
                  <a:pt x="491" y="149"/>
                  <a:pt x="488" y="147"/>
                  <a:pt x="485" y="148"/>
                </a:cubicBezTo>
                <a:cubicBezTo>
                  <a:pt x="481" y="148"/>
                  <a:pt x="481" y="148"/>
                  <a:pt x="481" y="148"/>
                </a:cubicBezTo>
                <a:cubicBezTo>
                  <a:pt x="478" y="149"/>
                  <a:pt x="476" y="152"/>
                  <a:pt x="476" y="156"/>
                </a:cubicBezTo>
                <a:cubicBezTo>
                  <a:pt x="477" y="159"/>
                  <a:pt x="480" y="161"/>
                  <a:pt x="483" y="160"/>
                </a:cubicBezTo>
                <a:close/>
                <a:moveTo>
                  <a:pt x="466" y="168"/>
                </a:moveTo>
                <a:cubicBezTo>
                  <a:pt x="469" y="164"/>
                  <a:pt x="469" y="164"/>
                  <a:pt x="469" y="164"/>
                </a:cubicBezTo>
                <a:cubicBezTo>
                  <a:pt x="471" y="162"/>
                  <a:pt x="470" y="158"/>
                  <a:pt x="468" y="156"/>
                </a:cubicBezTo>
                <a:cubicBezTo>
                  <a:pt x="465" y="154"/>
                  <a:pt x="461" y="154"/>
                  <a:pt x="459" y="157"/>
                </a:cubicBezTo>
                <a:cubicBezTo>
                  <a:pt x="457" y="160"/>
                  <a:pt x="457" y="160"/>
                  <a:pt x="457" y="160"/>
                </a:cubicBezTo>
                <a:cubicBezTo>
                  <a:pt x="455" y="162"/>
                  <a:pt x="455" y="166"/>
                  <a:pt x="458" y="168"/>
                </a:cubicBezTo>
                <a:cubicBezTo>
                  <a:pt x="460" y="170"/>
                  <a:pt x="464" y="170"/>
                  <a:pt x="466" y="168"/>
                </a:cubicBezTo>
                <a:close/>
                <a:moveTo>
                  <a:pt x="451" y="186"/>
                </a:moveTo>
                <a:cubicBezTo>
                  <a:pt x="453" y="183"/>
                  <a:pt x="453" y="183"/>
                  <a:pt x="453" y="183"/>
                </a:cubicBezTo>
                <a:cubicBezTo>
                  <a:pt x="455" y="180"/>
                  <a:pt x="455" y="177"/>
                  <a:pt x="452" y="175"/>
                </a:cubicBezTo>
                <a:cubicBezTo>
                  <a:pt x="450" y="172"/>
                  <a:pt x="446" y="173"/>
                  <a:pt x="444" y="175"/>
                </a:cubicBezTo>
                <a:cubicBezTo>
                  <a:pt x="441" y="178"/>
                  <a:pt x="441" y="178"/>
                  <a:pt x="441" y="178"/>
                </a:cubicBezTo>
                <a:cubicBezTo>
                  <a:pt x="439" y="181"/>
                  <a:pt x="440" y="185"/>
                  <a:pt x="442" y="187"/>
                </a:cubicBezTo>
                <a:cubicBezTo>
                  <a:pt x="445" y="189"/>
                  <a:pt x="449" y="189"/>
                  <a:pt x="451" y="186"/>
                </a:cubicBezTo>
                <a:close/>
                <a:moveTo>
                  <a:pt x="435" y="205"/>
                </a:moveTo>
                <a:cubicBezTo>
                  <a:pt x="438" y="201"/>
                  <a:pt x="438" y="201"/>
                  <a:pt x="438" y="201"/>
                </a:cubicBezTo>
                <a:cubicBezTo>
                  <a:pt x="440" y="199"/>
                  <a:pt x="440" y="195"/>
                  <a:pt x="437" y="193"/>
                </a:cubicBezTo>
                <a:cubicBezTo>
                  <a:pt x="435" y="191"/>
                  <a:pt x="431" y="191"/>
                  <a:pt x="429" y="194"/>
                </a:cubicBezTo>
                <a:cubicBezTo>
                  <a:pt x="426" y="197"/>
                  <a:pt x="426" y="197"/>
                  <a:pt x="426" y="197"/>
                </a:cubicBezTo>
                <a:cubicBezTo>
                  <a:pt x="424" y="199"/>
                  <a:pt x="424" y="203"/>
                  <a:pt x="427" y="205"/>
                </a:cubicBezTo>
                <a:cubicBezTo>
                  <a:pt x="429" y="207"/>
                  <a:pt x="433" y="207"/>
                  <a:pt x="435" y="205"/>
                </a:cubicBezTo>
                <a:close/>
                <a:moveTo>
                  <a:pt x="420" y="223"/>
                </a:moveTo>
                <a:cubicBezTo>
                  <a:pt x="423" y="220"/>
                  <a:pt x="423" y="220"/>
                  <a:pt x="423" y="220"/>
                </a:cubicBezTo>
                <a:cubicBezTo>
                  <a:pt x="425" y="217"/>
                  <a:pt x="424" y="214"/>
                  <a:pt x="422" y="211"/>
                </a:cubicBezTo>
                <a:cubicBezTo>
                  <a:pt x="419" y="209"/>
                  <a:pt x="415" y="210"/>
                  <a:pt x="413" y="212"/>
                </a:cubicBezTo>
                <a:cubicBezTo>
                  <a:pt x="411" y="215"/>
                  <a:pt x="411" y="215"/>
                  <a:pt x="411" y="215"/>
                </a:cubicBezTo>
                <a:cubicBezTo>
                  <a:pt x="409" y="218"/>
                  <a:pt x="409" y="222"/>
                  <a:pt x="412" y="224"/>
                </a:cubicBezTo>
                <a:cubicBezTo>
                  <a:pt x="414" y="226"/>
                  <a:pt x="418" y="226"/>
                  <a:pt x="420" y="223"/>
                </a:cubicBezTo>
                <a:close/>
                <a:moveTo>
                  <a:pt x="405" y="241"/>
                </a:moveTo>
                <a:cubicBezTo>
                  <a:pt x="407" y="238"/>
                  <a:pt x="407" y="238"/>
                  <a:pt x="407" y="238"/>
                </a:cubicBezTo>
                <a:cubicBezTo>
                  <a:pt x="409" y="236"/>
                  <a:pt x="409" y="232"/>
                  <a:pt x="407" y="230"/>
                </a:cubicBezTo>
                <a:cubicBezTo>
                  <a:pt x="404" y="228"/>
                  <a:pt x="400" y="228"/>
                  <a:pt x="398" y="231"/>
                </a:cubicBezTo>
                <a:cubicBezTo>
                  <a:pt x="396" y="234"/>
                  <a:pt x="396" y="234"/>
                  <a:pt x="396" y="234"/>
                </a:cubicBezTo>
                <a:cubicBezTo>
                  <a:pt x="393" y="236"/>
                  <a:pt x="394" y="240"/>
                  <a:pt x="396" y="242"/>
                </a:cubicBezTo>
                <a:cubicBezTo>
                  <a:pt x="399" y="244"/>
                  <a:pt x="403" y="244"/>
                  <a:pt x="405" y="241"/>
                </a:cubicBezTo>
                <a:close/>
                <a:moveTo>
                  <a:pt x="389" y="260"/>
                </a:moveTo>
                <a:cubicBezTo>
                  <a:pt x="392" y="257"/>
                  <a:pt x="392" y="257"/>
                  <a:pt x="392" y="257"/>
                </a:cubicBezTo>
                <a:cubicBezTo>
                  <a:pt x="394" y="254"/>
                  <a:pt x="394" y="251"/>
                  <a:pt x="391" y="248"/>
                </a:cubicBezTo>
                <a:cubicBezTo>
                  <a:pt x="389" y="246"/>
                  <a:pt x="385" y="247"/>
                  <a:pt x="383" y="249"/>
                </a:cubicBezTo>
                <a:cubicBezTo>
                  <a:pt x="380" y="252"/>
                  <a:pt x="380" y="252"/>
                  <a:pt x="380" y="252"/>
                </a:cubicBezTo>
                <a:cubicBezTo>
                  <a:pt x="378" y="255"/>
                  <a:pt x="378" y="259"/>
                  <a:pt x="381" y="261"/>
                </a:cubicBezTo>
                <a:cubicBezTo>
                  <a:pt x="384" y="263"/>
                  <a:pt x="387" y="263"/>
                  <a:pt x="389" y="260"/>
                </a:cubicBezTo>
                <a:close/>
                <a:moveTo>
                  <a:pt x="374" y="278"/>
                </a:moveTo>
                <a:cubicBezTo>
                  <a:pt x="377" y="275"/>
                  <a:pt x="377" y="275"/>
                  <a:pt x="377" y="275"/>
                </a:cubicBezTo>
                <a:cubicBezTo>
                  <a:pt x="379" y="273"/>
                  <a:pt x="378" y="269"/>
                  <a:pt x="376" y="267"/>
                </a:cubicBezTo>
                <a:cubicBezTo>
                  <a:pt x="373" y="265"/>
                  <a:pt x="370" y="265"/>
                  <a:pt x="367" y="268"/>
                </a:cubicBezTo>
                <a:cubicBezTo>
                  <a:pt x="365" y="271"/>
                  <a:pt x="365" y="271"/>
                  <a:pt x="365" y="271"/>
                </a:cubicBezTo>
                <a:cubicBezTo>
                  <a:pt x="363" y="273"/>
                  <a:pt x="363" y="277"/>
                  <a:pt x="366" y="279"/>
                </a:cubicBezTo>
                <a:cubicBezTo>
                  <a:pt x="368" y="281"/>
                  <a:pt x="372" y="281"/>
                  <a:pt x="374" y="278"/>
                </a:cubicBezTo>
                <a:close/>
                <a:moveTo>
                  <a:pt x="359" y="297"/>
                </a:moveTo>
                <a:cubicBezTo>
                  <a:pt x="361" y="294"/>
                  <a:pt x="361" y="294"/>
                  <a:pt x="361" y="294"/>
                </a:cubicBezTo>
                <a:cubicBezTo>
                  <a:pt x="363" y="291"/>
                  <a:pt x="363" y="287"/>
                  <a:pt x="361" y="285"/>
                </a:cubicBezTo>
                <a:cubicBezTo>
                  <a:pt x="358" y="283"/>
                  <a:pt x="354" y="284"/>
                  <a:pt x="352" y="286"/>
                </a:cubicBezTo>
                <a:cubicBezTo>
                  <a:pt x="350" y="289"/>
                  <a:pt x="350" y="289"/>
                  <a:pt x="350" y="289"/>
                </a:cubicBezTo>
                <a:cubicBezTo>
                  <a:pt x="347" y="292"/>
                  <a:pt x="348" y="296"/>
                  <a:pt x="350" y="298"/>
                </a:cubicBezTo>
                <a:cubicBezTo>
                  <a:pt x="353" y="300"/>
                  <a:pt x="357" y="299"/>
                  <a:pt x="359" y="297"/>
                </a:cubicBezTo>
                <a:close/>
                <a:moveTo>
                  <a:pt x="330" y="294"/>
                </a:moveTo>
                <a:cubicBezTo>
                  <a:pt x="333" y="295"/>
                  <a:pt x="333" y="295"/>
                  <a:pt x="333" y="295"/>
                </a:cubicBezTo>
                <a:cubicBezTo>
                  <a:pt x="337" y="296"/>
                  <a:pt x="340" y="294"/>
                  <a:pt x="341" y="290"/>
                </a:cubicBezTo>
                <a:cubicBezTo>
                  <a:pt x="341" y="287"/>
                  <a:pt x="339" y="284"/>
                  <a:pt x="336" y="283"/>
                </a:cubicBezTo>
                <a:cubicBezTo>
                  <a:pt x="332" y="282"/>
                  <a:pt x="332" y="282"/>
                  <a:pt x="332" y="282"/>
                </a:cubicBezTo>
                <a:cubicBezTo>
                  <a:pt x="329" y="282"/>
                  <a:pt x="326" y="284"/>
                  <a:pt x="325" y="287"/>
                </a:cubicBezTo>
                <a:cubicBezTo>
                  <a:pt x="324" y="290"/>
                  <a:pt x="326" y="294"/>
                  <a:pt x="330" y="294"/>
                </a:cubicBezTo>
                <a:close/>
                <a:moveTo>
                  <a:pt x="306" y="289"/>
                </a:moveTo>
                <a:cubicBezTo>
                  <a:pt x="310" y="290"/>
                  <a:pt x="310" y="290"/>
                  <a:pt x="310" y="290"/>
                </a:cubicBezTo>
                <a:cubicBezTo>
                  <a:pt x="313" y="291"/>
                  <a:pt x="316" y="289"/>
                  <a:pt x="317" y="285"/>
                </a:cubicBezTo>
                <a:cubicBezTo>
                  <a:pt x="318" y="282"/>
                  <a:pt x="316" y="279"/>
                  <a:pt x="313" y="278"/>
                </a:cubicBezTo>
                <a:cubicBezTo>
                  <a:pt x="309" y="277"/>
                  <a:pt x="309" y="277"/>
                  <a:pt x="309" y="277"/>
                </a:cubicBezTo>
                <a:cubicBezTo>
                  <a:pt x="305" y="277"/>
                  <a:pt x="302" y="279"/>
                  <a:pt x="302" y="282"/>
                </a:cubicBezTo>
                <a:cubicBezTo>
                  <a:pt x="301" y="285"/>
                  <a:pt x="303" y="288"/>
                  <a:pt x="306" y="289"/>
                </a:cubicBezTo>
                <a:close/>
                <a:moveTo>
                  <a:pt x="283" y="284"/>
                </a:moveTo>
                <a:cubicBezTo>
                  <a:pt x="287" y="285"/>
                  <a:pt x="287" y="285"/>
                  <a:pt x="287" y="285"/>
                </a:cubicBezTo>
                <a:cubicBezTo>
                  <a:pt x="290" y="286"/>
                  <a:pt x="293" y="284"/>
                  <a:pt x="294" y="280"/>
                </a:cubicBezTo>
                <a:cubicBezTo>
                  <a:pt x="294" y="277"/>
                  <a:pt x="292" y="274"/>
                  <a:pt x="289" y="273"/>
                </a:cubicBezTo>
                <a:cubicBezTo>
                  <a:pt x="285" y="272"/>
                  <a:pt x="285" y="272"/>
                  <a:pt x="285" y="272"/>
                </a:cubicBezTo>
                <a:cubicBezTo>
                  <a:pt x="282" y="272"/>
                  <a:pt x="279" y="274"/>
                  <a:pt x="278" y="277"/>
                </a:cubicBezTo>
                <a:cubicBezTo>
                  <a:pt x="277" y="280"/>
                  <a:pt x="279" y="283"/>
                  <a:pt x="283" y="284"/>
                </a:cubicBezTo>
                <a:close/>
                <a:moveTo>
                  <a:pt x="259" y="279"/>
                </a:moveTo>
                <a:cubicBezTo>
                  <a:pt x="263" y="280"/>
                  <a:pt x="263" y="280"/>
                  <a:pt x="263" y="280"/>
                </a:cubicBezTo>
                <a:cubicBezTo>
                  <a:pt x="266" y="280"/>
                  <a:pt x="270" y="278"/>
                  <a:pt x="270" y="275"/>
                </a:cubicBezTo>
                <a:cubicBezTo>
                  <a:pt x="271" y="272"/>
                  <a:pt x="269" y="269"/>
                  <a:pt x="266" y="268"/>
                </a:cubicBezTo>
                <a:cubicBezTo>
                  <a:pt x="262" y="267"/>
                  <a:pt x="262" y="267"/>
                  <a:pt x="262" y="267"/>
                </a:cubicBezTo>
                <a:cubicBezTo>
                  <a:pt x="259" y="267"/>
                  <a:pt x="255" y="269"/>
                  <a:pt x="255" y="272"/>
                </a:cubicBezTo>
                <a:cubicBezTo>
                  <a:pt x="254" y="275"/>
                  <a:pt x="256" y="278"/>
                  <a:pt x="259" y="279"/>
                </a:cubicBezTo>
                <a:close/>
                <a:moveTo>
                  <a:pt x="242" y="277"/>
                </a:moveTo>
                <a:cubicBezTo>
                  <a:pt x="245" y="275"/>
                  <a:pt x="245" y="275"/>
                  <a:pt x="245" y="275"/>
                </a:cubicBezTo>
                <a:cubicBezTo>
                  <a:pt x="247" y="273"/>
                  <a:pt x="248" y="269"/>
                  <a:pt x="246" y="266"/>
                </a:cubicBezTo>
                <a:cubicBezTo>
                  <a:pt x="244" y="264"/>
                  <a:pt x="240" y="263"/>
                  <a:pt x="238" y="265"/>
                </a:cubicBezTo>
                <a:cubicBezTo>
                  <a:pt x="234" y="267"/>
                  <a:pt x="234" y="267"/>
                  <a:pt x="234" y="267"/>
                </a:cubicBezTo>
                <a:cubicBezTo>
                  <a:pt x="232" y="269"/>
                  <a:pt x="231" y="273"/>
                  <a:pt x="233" y="276"/>
                </a:cubicBezTo>
                <a:cubicBezTo>
                  <a:pt x="235" y="278"/>
                  <a:pt x="239" y="279"/>
                  <a:pt x="242" y="277"/>
                </a:cubicBezTo>
                <a:close/>
                <a:moveTo>
                  <a:pt x="222" y="291"/>
                </a:moveTo>
                <a:cubicBezTo>
                  <a:pt x="225" y="289"/>
                  <a:pt x="225" y="289"/>
                  <a:pt x="225" y="289"/>
                </a:cubicBezTo>
                <a:cubicBezTo>
                  <a:pt x="228" y="287"/>
                  <a:pt x="229" y="283"/>
                  <a:pt x="227" y="280"/>
                </a:cubicBezTo>
                <a:cubicBezTo>
                  <a:pt x="225" y="278"/>
                  <a:pt x="221" y="277"/>
                  <a:pt x="218" y="279"/>
                </a:cubicBezTo>
                <a:cubicBezTo>
                  <a:pt x="215" y="282"/>
                  <a:pt x="215" y="282"/>
                  <a:pt x="215" y="282"/>
                </a:cubicBezTo>
                <a:cubicBezTo>
                  <a:pt x="212" y="284"/>
                  <a:pt x="212" y="287"/>
                  <a:pt x="214" y="290"/>
                </a:cubicBezTo>
                <a:cubicBezTo>
                  <a:pt x="216" y="293"/>
                  <a:pt x="220" y="293"/>
                  <a:pt x="222" y="291"/>
                </a:cubicBezTo>
                <a:close/>
                <a:moveTo>
                  <a:pt x="203" y="306"/>
                </a:moveTo>
                <a:cubicBezTo>
                  <a:pt x="206" y="303"/>
                  <a:pt x="206" y="303"/>
                  <a:pt x="206" y="303"/>
                </a:cubicBezTo>
                <a:cubicBezTo>
                  <a:pt x="209" y="301"/>
                  <a:pt x="209" y="297"/>
                  <a:pt x="207" y="295"/>
                </a:cubicBezTo>
                <a:cubicBezTo>
                  <a:pt x="205" y="292"/>
                  <a:pt x="202" y="292"/>
                  <a:pt x="199" y="294"/>
                </a:cubicBezTo>
                <a:cubicBezTo>
                  <a:pt x="196" y="296"/>
                  <a:pt x="196" y="296"/>
                  <a:pt x="196" y="296"/>
                </a:cubicBezTo>
                <a:cubicBezTo>
                  <a:pt x="193" y="298"/>
                  <a:pt x="193" y="302"/>
                  <a:pt x="195" y="304"/>
                </a:cubicBezTo>
                <a:cubicBezTo>
                  <a:pt x="197" y="307"/>
                  <a:pt x="200" y="308"/>
                  <a:pt x="203" y="306"/>
                </a:cubicBezTo>
                <a:close/>
                <a:moveTo>
                  <a:pt x="184" y="320"/>
                </a:moveTo>
                <a:cubicBezTo>
                  <a:pt x="187" y="318"/>
                  <a:pt x="187" y="318"/>
                  <a:pt x="187" y="318"/>
                </a:cubicBezTo>
                <a:cubicBezTo>
                  <a:pt x="190" y="316"/>
                  <a:pt x="190" y="312"/>
                  <a:pt x="188" y="309"/>
                </a:cubicBezTo>
                <a:cubicBezTo>
                  <a:pt x="186" y="306"/>
                  <a:pt x="182" y="306"/>
                  <a:pt x="180" y="308"/>
                </a:cubicBezTo>
                <a:cubicBezTo>
                  <a:pt x="177" y="310"/>
                  <a:pt x="177" y="310"/>
                  <a:pt x="177" y="310"/>
                </a:cubicBezTo>
                <a:cubicBezTo>
                  <a:pt x="174" y="312"/>
                  <a:pt x="173" y="316"/>
                  <a:pt x="175" y="319"/>
                </a:cubicBezTo>
                <a:cubicBezTo>
                  <a:pt x="177" y="321"/>
                  <a:pt x="181" y="322"/>
                  <a:pt x="184" y="320"/>
                </a:cubicBezTo>
                <a:close/>
                <a:moveTo>
                  <a:pt x="164" y="334"/>
                </a:moveTo>
                <a:cubicBezTo>
                  <a:pt x="168" y="332"/>
                  <a:pt x="168" y="332"/>
                  <a:pt x="168" y="332"/>
                </a:cubicBezTo>
                <a:cubicBezTo>
                  <a:pt x="170" y="330"/>
                  <a:pt x="171" y="326"/>
                  <a:pt x="169" y="323"/>
                </a:cubicBezTo>
                <a:cubicBezTo>
                  <a:pt x="167" y="321"/>
                  <a:pt x="163" y="320"/>
                  <a:pt x="160" y="322"/>
                </a:cubicBezTo>
                <a:cubicBezTo>
                  <a:pt x="157" y="325"/>
                  <a:pt x="157" y="325"/>
                  <a:pt x="157" y="325"/>
                </a:cubicBezTo>
                <a:cubicBezTo>
                  <a:pt x="155" y="327"/>
                  <a:pt x="154" y="330"/>
                  <a:pt x="156" y="333"/>
                </a:cubicBezTo>
                <a:cubicBezTo>
                  <a:pt x="158" y="336"/>
                  <a:pt x="162" y="336"/>
                  <a:pt x="164" y="334"/>
                </a:cubicBezTo>
                <a:close/>
                <a:moveTo>
                  <a:pt x="145" y="349"/>
                </a:moveTo>
                <a:cubicBezTo>
                  <a:pt x="148" y="346"/>
                  <a:pt x="148" y="346"/>
                  <a:pt x="148" y="346"/>
                </a:cubicBezTo>
                <a:cubicBezTo>
                  <a:pt x="151" y="344"/>
                  <a:pt x="152" y="340"/>
                  <a:pt x="150" y="338"/>
                </a:cubicBezTo>
                <a:cubicBezTo>
                  <a:pt x="148" y="335"/>
                  <a:pt x="144" y="335"/>
                  <a:pt x="141" y="336"/>
                </a:cubicBezTo>
                <a:cubicBezTo>
                  <a:pt x="138" y="339"/>
                  <a:pt x="138" y="339"/>
                  <a:pt x="138" y="339"/>
                </a:cubicBezTo>
                <a:cubicBezTo>
                  <a:pt x="135" y="341"/>
                  <a:pt x="135" y="345"/>
                  <a:pt x="137" y="347"/>
                </a:cubicBezTo>
                <a:cubicBezTo>
                  <a:pt x="139" y="350"/>
                  <a:pt x="143" y="350"/>
                  <a:pt x="145" y="349"/>
                </a:cubicBezTo>
                <a:close/>
                <a:moveTo>
                  <a:pt x="126" y="363"/>
                </a:moveTo>
                <a:cubicBezTo>
                  <a:pt x="129" y="360"/>
                  <a:pt x="129" y="360"/>
                  <a:pt x="129" y="360"/>
                </a:cubicBezTo>
                <a:cubicBezTo>
                  <a:pt x="132" y="358"/>
                  <a:pt x="132" y="355"/>
                  <a:pt x="130" y="352"/>
                </a:cubicBezTo>
                <a:cubicBezTo>
                  <a:pt x="128" y="349"/>
                  <a:pt x="125" y="349"/>
                  <a:pt x="122" y="351"/>
                </a:cubicBezTo>
                <a:cubicBezTo>
                  <a:pt x="119" y="353"/>
                  <a:pt x="119" y="353"/>
                  <a:pt x="119" y="353"/>
                </a:cubicBezTo>
                <a:cubicBezTo>
                  <a:pt x="116" y="355"/>
                  <a:pt x="116" y="359"/>
                  <a:pt x="118" y="362"/>
                </a:cubicBezTo>
                <a:cubicBezTo>
                  <a:pt x="119" y="364"/>
                  <a:pt x="123" y="365"/>
                  <a:pt x="126" y="363"/>
                </a:cubicBezTo>
                <a:close/>
                <a:moveTo>
                  <a:pt x="107" y="377"/>
                </a:moveTo>
                <a:cubicBezTo>
                  <a:pt x="110" y="375"/>
                  <a:pt x="110" y="375"/>
                  <a:pt x="110" y="375"/>
                </a:cubicBezTo>
                <a:cubicBezTo>
                  <a:pt x="113" y="373"/>
                  <a:pt x="113" y="369"/>
                  <a:pt x="111" y="366"/>
                </a:cubicBezTo>
                <a:cubicBezTo>
                  <a:pt x="109" y="364"/>
                  <a:pt x="105" y="363"/>
                  <a:pt x="103" y="365"/>
                </a:cubicBezTo>
                <a:cubicBezTo>
                  <a:pt x="99" y="367"/>
                  <a:pt x="99" y="367"/>
                  <a:pt x="99" y="367"/>
                </a:cubicBezTo>
                <a:cubicBezTo>
                  <a:pt x="97" y="369"/>
                  <a:pt x="96" y="373"/>
                  <a:pt x="98" y="376"/>
                </a:cubicBezTo>
                <a:cubicBezTo>
                  <a:pt x="100" y="379"/>
                  <a:pt x="104" y="379"/>
                  <a:pt x="107" y="377"/>
                </a:cubicBezTo>
                <a:close/>
                <a:moveTo>
                  <a:pt x="87" y="391"/>
                </a:moveTo>
                <a:cubicBezTo>
                  <a:pt x="91" y="389"/>
                  <a:pt x="91" y="389"/>
                  <a:pt x="91" y="389"/>
                </a:cubicBezTo>
                <a:cubicBezTo>
                  <a:pt x="93" y="387"/>
                  <a:pt x="94" y="383"/>
                  <a:pt x="92" y="381"/>
                </a:cubicBezTo>
                <a:cubicBezTo>
                  <a:pt x="90" y="378"/>
                  <a:pt x="86" y="377"/>
                  <a:pt x="83" y="379"/>
                </a:cubicBezTo>
                <a:cubicBezTo>
                  <a:pt x="80" y="382"/>
                  <a:pt x="80" y="382"/>
                  <a:pt x="80" y="382"/>
                </a:cubicBezTo>
                <a:cubicBezTo>
                  <a:pt x="78" y="384"/>
                  <a:pt x="77" y="388"/>
                  <a:pt x="79" y="390"/>
                </a:cubicBezTo>
                <a:cubicBezTo>
                  <a:pt x="81" y="393"/>
                  <a:pt x="85" y="393"/>
                  <a:pt x="87" y="391"/>
                </a:cubicBezTo>
                <a:close/>
                <a:moveTo>
                  <a:pt x="68" y="406"/>
                </a:moveTo>
                <a:cubicBezTo>
                  <a:pt x="71" y="403"/>
                  <a:pt x="71" y="403"/>
                  <a:pt x="71" y="403"/>
                </a:cubicBezTo>
                <a:cubicBezTo>
                  <a:pt x="74" y="401"/>
                  <a:pt x="75" y="398"/>
                  <a:pt x="73" y="395"/>
                </a:cubicBezTo>
                <a:cubicBezTo>
                  <a:pt x="71" y="392"/>
                  <a:pt x="67" y="392"/>
                  <a:pt x="64" y="394"/>
                </a:cubicBezTo>
                <a:cubicBezTo>
                  <a:pt x="61" y="396"/>
                  <a:pt x="61" y="396"/>
                  <a:pt x="61" y="396"/>
                </a:cubicBezTo>
                <a:cubicBezTo>
                  <a:pt x="58" y="398"/>
                  <a:pt x="58" y="402"/>
                  <a:pt x="60" y="405"/>
                </a:cubicBezTo>
                <a:cubicBezTo>
                  <a:pt x="62" y="407"/>
                  <a:pt x="65" y="408"/>
                  <a:pt x="68" y="406"/>
                </a:cubicBezTo>
                <a:close/>
                <a:moveTo>
                  <a:pt x="49" y="420"/>
                </a:moveTo>
                <a:cubicBezTo>
                  <a:pt x="52" y="418"/>
                  <a:pt x="52" y="418"/>
                  <a:pt x="52" y="418"/>
                </a:cubicBezTo>
                <a:cubicBezTo>
                  <a:pt x="55" y="416"/>
                  <a:pt x="55" y="412"/>
                  <a:pt x="53" y="409"/>
                </a:cubicBezTo>
                <a:cubicBezTo>
                  <a:pt x="51" y="407"/>
                  <a:pt x="48" y="406"/>
                  <a:pt x="45" y="408"/>
                </a:cubicBezTo>
                <a:cubicBezTo>
                  <a:pt x="42" y="410"/>
                  <a:pt x="42" y="410"/>
                  <a:pt x="42" y="410"/>
                </a:cubicBezTo>
                <a:cubicBezTo>
                  <a:pt x="39" y="412"/>
                  <a:pt x="38" y="416"/>
                  <a:pt x="40" y="419"/>
                </a:cubicBezTo>
                <a:cubicBezTo>
                  <a:pt x="42" y="421"/>
                  <a:pt x="46" y="422"/>
                  <a:pt x="49" y="420"/>
                </a:cubicBezTo>
                <a:close/>
                <a:moveTo>
                  <a:pt x="30" y="434"/>
                </a:moveTo>
                <a:cubicBezTo>
                  <a:pt x="33" y="432"/>
                  <a:pt x="33" y="432"/>
                  <a:pt x="33" y="432"/>
                </a:cubicBezTo>
                <a:cubicBezTo>
                  <a:pt x="35" y="430"/>
                  <a:pt x="36" y="426"/>
                  <a:pt x="34" y="424"/>
                </a:cubicBezTo>
                <a:cubicBezTo>
                  <a:pt x="32" y="421"/>
                  <a:pt x="28" y="420"/>
                  <a:pt x="26" y="422"/>
                </a:cubicBezTo>
                <a:cubicBezTo>
                  <a:pt x="22" y="425"/>
                  <a:pt x="22" y="425"/>
                  <a:pt x="22" y="425"/>
                </a:cubicBezTo>
                <a:cubicBezTo>
                  <a:pt x="20" y="427"/>
                  <a:pt x="19" y="430"/>
                  <a:pt x="21" y="433"/>
                </a:cubicBezTo>
                <a:cubicBezTo>
                  <a:pt x="23" y="436"/>
                  <a:pt x="27" y="436"/>
                  <a:pt x="30" y="434"/>
                </a:cubicBezTo>
                <a:close/>
                <a:moveTo>
                  <a:pt x="10" y="449"/>
                </a:moveTo>
                <a:cubicBezTo>
                  <a:pt x="13" y="446"/>
                  <a:pt x="13" y="446"/>
                  <a:pt x="13" y="446"/>
                </a:cubicBezTo>
                <a:cubicBezTo>
                  <a:pt x="16" y="444"/>
                  <a:pt x="17" y="441"/>
                  <a:pt x="15" y="438"/>
                </a:cubicBezTo>
                <a:cubicBezTo>
                  <a:pt x="13" y="435"/>
                  <a:pt x="9" y="435"/>
                  <a:pt x="6" y="437"/>
                </a:cubicBezTo>
                <a:cubicBezTo>
                  <a:pt x="3" y="439"/>
                  <a:pt x="3" y="439"/>
                  <a:pt x="3" y="439"/>
                </a:cubicBezTo>
                <a:cubicBezTo>
                  <a:pt x="0" y="441"/>
                  <a:pt x="0" y="445"/>
                  <a:pt x="2" y="447"/>
                </a:cubicBezTo>
                <a:cubicBezTo>
                  <a:pt x="4" y="450"/>
                  <a:pt x="8" y="451"/>
                  <a:pt x="10" y="4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7" name="Freeform 151">
            <a:extLst>
              <a:ext uri="{FF2B5EF4-FFF2-40B4-BE49-F238E27FC236}">
                <a16:creationId xmlns:a16="http://schemas.microsoft.com/office/drawing/2014/main" id="{4A7E2240-B13D-46AB-9FB6-54D8011957B9}"/>
              </a:ext>
            </a:extLst>
          </p:cNvPr>
          <p:cNvSpPr>
            <a:spLocks/>
          </p:cNvSpPr>
          <p:nvPr/>
        </p:nvSpPr>
        <p:spPr bwMode="auto">
          <a:xfrm>
            <a:off x="9024579" y="3586037"/>
            <a:ext cx="148800" cy="148800"/>
          </a:xfrm>
          <a:custGeom>
            <a:avLst/>
            <a:gdLst>
              <a:gd name="T0" fmla="*/ 46 w 62"/>
              <a:gd name="T1" fmla="*/ 54 h 62"/>
              <a:gd name="T2" fmla="*/ 8 w 62"/>
              <a:gd name="T3" fmla="*/ 45 h 62"/>
              <a:gd name="T4" fmla="*/ 17 w 62"/>
              <a:gd name="T5" fmla="*/ 8 h 62"/>
              <a:gd name="T6" fmla="*/ 54 w 62"/>
              <a:gd name="T7" fmla="*/ 16 h 62"/>
              <a:gd name="T8" fmla="*/ 46 w 62"/>
              <a:gd name="T9" fmla="*/ 54 h 62"/>
            </a:gdLst>
            <a:ahLst/>
            <a:cxnLst>
              <a:cxn ang="0">
                <a:pos x="T0" y="T1"/>
              </a:cxn>
              <a:cxn ang="0">
                <a:pos x="T2" y="T3"/>
              </a:cxn>
              <a:cxn ang="0">
                <a:pos x="T4" y="T5"/>
              </a:cxn>
              <a:cxn ang="0">
                <a:pos x="T6" y="T7"/>
              </a:cxn>
              <a:cxn ang="0">
                <a:pos x="T8" y="T9"/>
              </a:cxn>
            </a:cxnLst>
            <a:rect l="0" t="0" r="r" b="b"/>
            <a:pathLst>
              <a:path w="62" h="62">
                <a:moveTo>
                  <a:pt x="46" y="54"/>
                </a:moveTo>
                <a:cubicBezTo>
                  <a:pt x="33" y="62"/>
                  <a:pt x="16" y="58"/>
                  <a:pt x="8" y="45"/>
                </a:cubicBezTo>
                <a:cubicBezTo>
                  <a:pt x="0" y="33"/>
                  <a:pt x="4" y="16"/>
                  <a:pt x="17" y="8"/>
                </a:cubicBezTo>
                <a:cubicBezTo>
                  <a:pt x="29" y="0"/>
                  <a:pt x="46" y="4"/>
                  <a:pt x="54" y="16"/>
                </a:cubicBezTo>
                <a:cubicBezTo>
                  <a:pt x="62" y="29"/>
                  <a:pt x="58" y="46"/>
                  <a:pt x="46"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68" name="Freeform 152">
            <a:extLst>
              <a:ext uri="{FF2B5EF4-FFF2-40B4-BE49-F238E27FC236}">
                <a16:creationId xmlns:a16="http://schemas.microsoft.com/office/drawing/2014/main" id="{FF5150B8-DDD3-44BE-A810-9CF78EA2FA87}"/>
              </a:ext>
            </a:extLst>
          </p:cNvPr>
          <p:cNvSpPr>
            <a:spLocks/>
          </p:cNvSpPr>
          <p:nvPr/>
        </p:nvSpPr>
        <p:spPr bwMode="auto">
          <a:xfrm>
            <a:off x="9024579" y="3586037"/>
            <a:ext cx="148800" cy="148800"/>
          </a:xfrm>
          <a:custGeom>
            <a:avLst/>
            <a:gdLst>
              <a:gd name="T0" fmla="*/ 46 w 62"/>
              <a:gd name="T1" fmla="*/ 54 h 62"/>
              <a:gd name="T2" fmla="*/ 43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0 w 62"/>
              <a:gd name="T15" fmla="*/ 19 h 62"/>
              <a:gd name="T16" fmla="*/ 54 w 62"/>
              <a:gd name="T17" fmla="*/ 31 h 62"/>
              <a:gd name="T18" fmla="*/ 43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7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3" y="50"/>
                  <a:pt x="43" y="50"/>
                  <a:pt x="43" y="50"/>
                </a:cubicBezTo>
                <a:cubicBezTo>
                  <a:pt x="40" y="53"/>
                  <a:pt x="35" y="54"/>
                  <a:pt x="31" y="54"/>
                </a:cubicBezTo>
                <a:cubicBezTo>
                  <a:pt x="24" y="54"/>
                  <a:pt x="16" y="50"/>
                  <a:pt x="12" y="43"/>
                </a:cubicBezTo>
                <a:cubicBezTo>
                  <a:pt x="9" y="39"/>
                  <a:pt x="8" y="35"/>
                  <a:pt x="8" y="31"/>
                </a:cubicBezTo>
                <a:cubicBezTo>
                  <a:pt x="8" y="23"/>
                  <a:pt x="12" y="16"/>
                  <a:pt x="19" y="12"/>
                </a:cubicBezTo>
                <a:cubicBezTo>
                  <a:pt x="23" y="9"/>
                  <a:pt x="27" y="8"/>
                  <a:pt x="31" y="8"/>
                </a:cubicBezTo>
                <a:cubicBezTo>
                  <a:pt x="39" y="8"/>
                  <a:pt x="46" y="12"/>
                  <a:pt x="50" y="19"/>
                </a:cubicBezTo>
                <a:cubicBezTo>
                  <a:pt x="53" y="22"/>
                  <a:pt x="54" y="27"/>
                  <a:pt x="54" y="31"/>
                </a:cubicBezTo>
                <a:cubicBezTo>
                  <a:pt x="54" y="38"/>
                  <a:pt x="50" y="46"/>
                  <a:pt x="43" y="50"/>
                </a:cubicBezTo>
                <a:cubicBezTo>
                  <a:pt x="46" y="54"/>
                  <a:pt x="46" y="54"/>
                  <a:pt x="46" y="54"/>
                </a:cubicBezTo>
                <a:cubicBezTo>
                  <a:pt x="48" y="57"/>
                  <a:pt x="48" y="57"/>
                  <a:pt x="48" y="57"/>
                </a:cubicBezTo>
                <a:cubicBezTo>
                  <a:pt x="57" y="51"/>
                  <a:pt x="62" y="41"/>
                  <a:pt x="62" y="31"/>
                </a:cubicBezTo>
                <a:cubicBezTo>
                  <a:pt x="62" y="25"/>
                  <a:pt x="60" y="19"/>
                  <a:pt x="57" y="14"/>
                </a:cubicBezTo>
                <a:cubicBezTo>
                  <a:pt x="51" y="5"/>
                  <a:pt x="41" y="0"/>
                  <a:pt x="31" y="0"/>
                </a:cubicBezTo>
                <a:cubicBezTo>
                  <a:pt x="25" y="0"/>
                  <a:pt x="20" y="2"/>
                  <a:pt x="15" y="5"/>
                </a:cubicBezTo>
                <a:cubicBezTo>
                  <a:pt x="5" y="11"/>
                  <a:pt x="0" y="21"/>
                  <a:pt x="0" y="31"/>
                </a:cubicBezTo>
                <a:cubicBezTo>
                  <a:pt x="0" y="37"/>
                  <a:pt x="2" y="42"/>
                  <a:pt x="5" y="47"/>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69" name="Freeform 153">
            <a:extLst>
              <a:ext uri="{FF2B5EF4-FFF2-40B4-BE49-F238E27FC236}">
                <a16:creationId xmlns:a16="http://schemas.microsoft.com/office/drawing/2014/main" id="{DCF3B31B-FF53-45E6-A4A6-7376A88288C0}"/>
              </a:ext>
            </a:extLst>
          </p:cNvPr>
          <p:cNvSpPr>
            <a:spLocks/>
          </p:cNvSpPr>
          <p:nvPr/>
        </p:nvSpPr>
        <p:spPr bwMode="auto">
          <a:xfrm>
            <a:off x="8128742" y="3970690"/>
            <a:ext cx="146776"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9"/>
                  <a:pt x="58" y="45"/>
                  <a:pt x="45"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0" name="Freeform 154">
            <a:extLst>
              <a:ext uri="{FF2B5EF4-FFF2-40B4-BE49-F238E27FC236}">
                <a16:creationId xmlns:a16="http://schemas.microsoft.com/office/drawing/2014/main" id="{0491595C-B726-4BB5-AF81-FE1DF764C74E}"/>
              </a:ext>
            </a:extLst>
          </p:cNvPr>
          <p:cNvSpPr>
            <a:spLocks/>
          </p:cNvSpPr>
          <p:nvPr/>
        </p:nvSpPr>
        <p:spPr bwMode="auto">
          <a:xfrm>
            <a:off x="8128742" y="3970690"/>
            <a:ext cx="148800" cy="146776"/>
          </a:xfrm>
          <a:custGeom>
            <a:avLst/>
            <a:gdLst>
              <a:gd name="T0" fmla="*/ 45 w 62"/>
              <a:gd name="T1" fmla="*/ 53 h 61"/>
              <a:gd name="T2" fmla="*/ 43 w 62"/>
              <a:gd name="T3" fmla="*/ 50 h 61"/>
              <a:gd name="T4" fmla="*/ 31 w 62"/>
              <a:gd name="T5" fmla="*/ 53 h 61"/>
              <a:gd name="T6" fmla="*/ 11 w 62"/>
              <a:gd name="T7" fmla="*/ 43 h 61"/>
              <a:gd name="T8" fmla="*/ 8 w 62"/>
              <a:gd name="T9" fmla="*/ 30 h 61"/>
              <a:gd name="T10" fmla="*/ 18 w 62"/>
              <a:gd name="T11" fmla="*/ 11 h 61"/>
              <a:gd name="T12" fmla="*/ 31 w 62"/>
              <a:gd name="T13" fmla="*/ 8 h 61"/>
              <a:gd name="T14" fmla="*/ 50 w 62"/>
              <a:gd name="T15" fmla="*/ 18 h 61"/>
              <a:gd name="T16" fmla="*/ 54 w 62"/>
              <a:gd name="T17" fmla="*/ 30 h 61"/>
              <a:gd name="T18" fmla="*/ 43 w 62"/>
              <a:gd name="T19" fmla="*/ 50 h 61"/>
              <a:gd name="T20" fmla="*/ 45 w 62"/>
              <a:gd name="T21" fmla="*/ 53 h 61"/>
              <a:gd name="T22" fmla="*/ 47 w 62"/>
              <a:gd name="T23" fmla="*/ 56 h 61"/>
              <a:gd name="T24" fmla="*/ 62 w 62"/>
              <a:gd name="T25" fmla="*/ 30 h 61"/>
              <a:gd name="T26" fmla="*/ 57 w 62"/>
              <a:gd name="T27" fmla="*/ 14 h 61"/>
              <a:gd name="T28" fmla="*/ 31 w 62"/>
              <a:gd name="T29" fmla="*/ 0 h 61"/>
              <a:gd name="T30" fmla="*/ 14 w 62"/>
              <a:gd name="T31" fmla="*/ 4 h 61"/>
              <a:gd name="T32" fmla="*/ 0 w 62"/>
              <a:gd name="T33" fmla="*/ 30 h 61"/>
              <a:gd name="T34" fmla="*/ 5 w 62"/>
              <a:gd name="T35" fmla="*/ 47 h 61"/>
              <a:gd name="T36" fmla="*/ 31 w 62"/>
              <a:gd name="T37" fmla="*/ 61 h 61"/>
              <a:gd name="T38" fmla="*/ 47 w 62"/>
              <a:gd name="T39" fmla="*/ 56 h 61"/>
              <a:gd name="T40" fmla="*/ 45 w 62"/>
              <a:gd name="T41"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1">
                <a:moveTo>
                  <a:pt x="45" y="53"/>
                </a:moveTo>
                <a:cubicBezTo>
                  <a:pt x="43" y="50"/>
                  <a:pt x="43" y="50"/>
                  <a:pt x="43" y="50"/>
                </a:cubicBezTo>
                <a:cubicBezTo>
                  <a:pt x="39" y="52"/>
                  <a:pt x="35" y="53"/>
                  <a:pt x="31" y="53"/>
                </a:cubicBezTo>
                <a:cubicBezTo>
                  <a:pt x="23" y="53"/>
                  <a:pt x="16" y="50"/>
                  <a:pt x="11" y="43"/>
                </a:cubicBezTo>
                <a:cubicBezTo>
                  <a:pt x="9" y="39"/>
                  <a:pt x="8" y="35"/>
                  <a:pt x="8" y="30"/>
                </a:cubicBezTo>
                <a:cubicBezTo>
                  <a:pt x="8" y="23"/>
                  <a:pt x="12" y="15"/>
                  <a:pt x="18" y="11"/>
                </a:cubicBezTo>
                <a:cubicBezTo>
                  <a:pt x="22" y="9"/>
                  <a:pt x="27" y="8"/>
                  <a:pt x="31" y="8"/>
                </a:cubicBezTo>
                <a:cubicBezTo>
                  <a:pt x="38" y="8"/>
                  <a:pt x="46" y="11"/>
                  <a:pt x="50" y="18"/>
                </a:cubicBezTo>
                <a:cubicBezTo>
                  <a:pt x="53" y="22"/>
                  <a:pt x="54" y="26"/>
                  <a:pt x="54" y="30"/>
                </a:cubicBezTo>
                <a:cubicBezTo>
                  <a:pt x="54" y="38"/>
                  <a:pt x="50" y="45"/>
                  <a:pt x="43" y="50"/>
                </a:cubicBezTo>
                <a:cubicBezTo>
                  <a:pt x="45" y="53"/>
                  <a:pt x="45" y="53"/>
                  <a:pt x="45" y="53"/>
                </a:cubicBezTo>
                <a:cubicBezTo>
                  <a:pt x="47" y="56"/>
                  <a:pt x="47" y="56"/>
                  <a:pt x="47" y="56"/>
                </a:cubicBezTo>
                <a:cubicBezTo>
                  <a:pt x="57" y="51"/>
                  <a:pt x="62" y="41"/>
                  <a:pt x="62" y="30"/>
                </a:cubicBezTo>
                <a:cubicBezTo>
                  <a:pt x="62" y="25"/>
                  <a:pt x="60" y="19"/>
                  <a:pt x="57" y="14"/>
                </a:cubicBezTo>
                <a:cubicBezTo>
                  <a:pt x="51" y="5"/>
                  <a:pt x="41" y="0"/>
                  <a:pt x="31" y="0"/>
                </a:cubicBezTo>
                <a:cubicBezTo>
                  <a:pt x="25" y="0"/>
                  <a:pt x="19" y="1"/>
                  <a:pt x="14" y="4"/>
                </a:cubicBezTo>
                <a:cubicBezTo>
                  <a:pt x="5" y="10"/>
                  <a:pt x="0" y="20"/>
                  <a:pt x="0" y="30"/>
                </a:cubicBezTo>
                <a:cubicBezTo>
                  <a:pt x="0" y="36"/>
                  <a:pt x="1" y="42"/>
                  <a:pt x="5" y="47"/>
                </a:cubicBezTo>
                <a:cubicBezTo>
                  <a:pt x="11" y="56"/>
                  <a:pt x="21" y="61"/>
                  <a:pt x="31" y="61"/>
                </a:cubicBezTo>
                <a:cubicBezTo>
                  <a:pt x="36" y="61"/>
                  <a:pt x="42" y="60"/>
                  <a:pt x="47" y="56"/>
                </a:cubicBezTo>
                <a:lnTo>
                  <a:pt x="45" y="5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1" name="Freeform 155">
            <a:extLst>
              <a:ext uri="{FF2B5EF4-FFF2-40B4-BE49-F238E27FC236}">
                <a16:creationId xmlns:a16="http://schemas.microsoft.com/office/drawing/2014/main" id="{DD5CCCC6-96FE-46F6-9CAB-F180A4D8511F}"/>
              </a:ext>
            </a:extLst>
          </p:cNvPr>
          <p:cNvSpPr>
            <a:spLocks/>
          </p:cNvSpPr>
          <p:nvPr/>
        </p:nvSpPr>
        <p:spPr bwMode="auto">
          <a:xfrm>
            <a:off x="9687601" y="3204420"/>
            <a:ext cx="98188" cy="101225"/>
          </a:xfrm>
          <a:custGeom>
            <a:avLst/>
            <a:gdLst>
              <a:gd name="T0" fmla="*/ 30 w 41"/>
              <a:gd name="T1" fmla="*/ 36 h 42"/>
              <a:gd name="T2" fmla="*/ 5 w 41"/>
              <a:gd name="T3" fmla="*/ 31 h 42"/>
              <a:gd name="T4" fmla="*/ 11 w 41"/>
              <a:gd name="T5" fmla="*/ 5 h 42"/>
              <a:gd name="T6" fmla="*/ 36 w 41"/>
              <a:gd name="T7" fmla="*/ 11 h 42"/>
              <a:gd name="T8" fmla="*/ 30 w 41"/>
              <a:gd name="T9" fmla="*/ 36 h 42"/>
            </a:gdLst>
            <a:ahLst/>
            <a:cxnLst>
              <a:cxn ang="0">
                <a:pos x="T0" y="T1"/>
              </a:cxn>
              <a:cxn ang="0">
                <a:pos x="T2" y="T3"/>
              </a:cxn>
              <a:cxn ang="0">
                <a:pos x="T4" y="T5"/>
              </a:cxn>
              <a:cxn ang="0">
                <a:pos x="T6" y="T7"/>
              </a:cxn>
              <a:cxn ang="0">
                <a:pos x="T8" y="T9"/>
              </a:cxn>
            </a:cxnLst>
            <a:rect l="0" t="0" r="r" b="b"/>
            <a:pathLst>
              <a:path w="41" h="42">
                <a:moveTo>
                  <a:pt x="30" y="36"/>
                </a:moveTo>
                <a:cubicBezTo>
                  <a:pt x="22" y="42"/>
                  <a:pt x="10" y="39"/>
                  <a:pt x="5" y="31"/>
                </a:cubicBezTo>
                <a:cubicBezTo>
                  <a:pt x="0" y="22"/>
                  <a:pt x="2" y="11"/>
                  <a:pt x="11" y="5"/>
                </a:cubicBezTo>
                <a:cubicBezTo>
                  <a:pt x="19" y="0"/>
                  <a:pt x="30" y="2"/>
                  <a:pt x="36" y="11"/>
                </a:cubicBezTo>
                <a:cubicBezTo>
                  <a:pt x="41" y="19"/>
                  <a:pt x="39" y="31"/>
                  <a:pt x="30"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2" name="Freeform 156">
            <a:extLst>
              <a:ext uri="{FF2B5EF4-FFF2-40B4-BE49-F238E27FC236}">
                <a16:creationId xmlns:a16="http://schemas.microsoft.com/office/drawing/2014/main" id="{3806B36E-DB18-412F-A0E3-12C29BE4C7AB}"/>
              </a:ext>
            </a:extLst>
          </p:cNvPr>
          <p:cNvSpPr>
            <a:spLocks/>
          </p:cNvSpPr>
          <p:nvPr/>
        </p:nvSpPr>
        <p:spPr bwMode="auto">
          <a:xfrm>
            <a:off x="9682539" y="3199359"/>
            <a:ext cx="108310" cy="108310"/>
          </a:xfrm>
          <a:custGeom>
            <a:avLst/>
            <a:gdLst>
              <a:gd name="T0" fmla="*/ 32 w 45"/>
              <a:gd name="T1" fmla="*/ 38 h 45"/>
              <a:gd name="T2" fmla="*/ 30 w 45"/>
              <a:gd name="T3" fmla="*/ 35 h 45"/>
              <a:gd name="T4" fmla="*/ 22 w 45"/>
              <a:gd name="T5" fmla="*/ 37 h 45"/>
              <a:gd name="T6" fmla="*/ 10 w 45"/>
              <a:gd name="T7" fmla="*/ 30 h 45"/>
              <a:gd name="T8" fmla="*/ 8 w 45"/>
              <a:gd name="T9" fmla="*/ 23 h 45"/>
              <a:gd name="T10" fmla="*/ 15 w 45"/>
              <a:gd name="T11" fmla="*/ 11 h 45"/>
              <a:gd name="T12" fmla="*/ 22 w 45"/>
              <a:gd name="T13" fmla="*/ 8 h 45"/>
              <a:gd name="T14" fmla="*/ 34 w 45"/>
              <a:gd name="T15" fmla="*/ 15 h 45"/>
              <a:gd name="T16" fmla="*/ 37 w 45"/>
              <a:gd name="T17" fmla="*/ 23 h 45"/>
              <a:gd name="T18" fmla="*/ 30 w 45"/>
              <a:gd name="T19" fmla="*/ 35 h 45"/>
              <a:gd name="T20" fmla="*/ 32 w 45"/>
              <a:gd name="T21" fmla="*/ 38 h 45"/>
              <a:gd name="T22" fmla="*/ 34 w 45"/>
              <a:gd name="T23" fmla="*/ 42 h 45"/>
              <a:gd name="T24" fmla="*/ 45 w 45"/>
              <a:gd name="T25" fmla="*/ 23 h 45"/>
              <a:gd name="T26" fmla="*/ 41 w 45"/>
              <a:gd name="T27" fmla="*/ 11 h 45"/>
              <a:gd name="T28" fmla="*/ 22 w 45"/>
              <a:gd name="T29" fmla="*/ 0 h 45"/>
              <a:gd name="T30" fmla="*/ 10 w 45"/>
              <a:gd name="T31" fmla="*/ 4 h 45"/>
              <a:gd name="T32" fmla="*/ 0 w 45"/>
              <a:gd name="T33" fmla="*/ 23 h 45"/>
              <a:gd name="T34" fmla="*/ 4 w 45"/>
              <a:gd name="T35" fmla="*/ 35 h 45"/>
              <a:gd name="T36" fmla="*/ 22 w 45"/>
              <a:gd name="T37" fmla="*/ 45 h 45"/>
              <a:gd name="T38" fmla="*/ 34 w 45"/>
              <a:gd name="T39" fmla="*/ 42 h 45"/>
              <a:gd name="T40" fmla="*/ 32 w 45"/>
              <a:gd name="T4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45">
                <a:moveTo>
                  <a:pt x="32" y="38"/>
                </a:moveTo>
                <a:cubicBezTo>
                  <a:pt x="30" y="35"/>
                  <a:pt x="30" y="35"/>
                  <a:pt x="30" y="35"/>
                </a:cubicBezTo>
                <a:cubicBezTo>
                  <a:pt x="28" y="36"/>
                  <a:pt x="25" y="37"/>
                  <a:pt x="22" y="37"/>
                </a:cubicBezTo>
                <a:cubicBezTo>
                  <a:pt x="18" y="37"/>
                  <a:pt x="13" y="35"/>
                  <a:pt x="10" y="30"/>
                </a:cubicBezTo>
                <a:cubicBezTo>
                  <a:pt x="9" y="28"/>
                  <a:pt x="8" y="25"/>
                  <a:pt x="8" y="23"/>
                </a:cubicBezTo>
                <a:cubicBezTo>
                  <a:pt x="8" y="18"/>
                  <a:pt x="10" y="13"/>
                  <a:pt x="15" y="11"/>
                </a:cubicBezTo>
                <a:cubicBezTo>
                  <a:pt x="17" y="9"/>
                  <a:pt x="20" y="8"/>
                  <a:pt x="22" y="8"/>
                </a:cubicBezTo>
                <a:cubicBezTo>
                  <a:pt x="27" y="9"/>
                  <a:pt x="32" y="11"/>
                  <a:pt x="34" y="15"/>
                </a:cubicBezTo>
                <a:cubicBezTo>
                  <a:pt x="36" y="17"/>
                  <a:pt x="37" y="20"/>
                  <a:pt x="37" y="23"/>
                </a:cubicBezTo>
                <a:cubicBezTo>
                  <a:pt x="37" y="27"/>
                  <a:pt x="34" y="32"/>
                  <a:pt x="30" y="35"/>
                </a:cubicBezTo>
                <a:cubicBezTo>
                  <a:pt x="32" y="38"/>
                  <a:pt x="32" y="38"/>
                  <a:pt x="32" y="38"/>
                </a:cubicBezTo>
                <a:cubicBezTo>
                  <a:pt x="34" y="42"/>
                  <a:pt x="34" y="42"/>
                  <a:pt x="34" y="42"/>
                </a:cubicBezTo>
                <a:cubicBezTo>
                  <a:pt x="41" y="37"/>
                  <a:pt x="45" y="30"/>
                  <a:pt x="45" y="23"/>
                </a:cubicBezTo>
                <a:cubicBezTo>
                  <a:pt x="45" y="19"/>
                  <a:pt x="44" y="15"/>
                  <a:pt x="41" y="11"/>
                </a:cubicBezTo>
                <a:cubicBezTo>
                  <a:pt x="37" y="4"/>
                  <a:pt x="30" y="0"/>
                  <a:pt x="22" y="0"/>
                </a:cubicBezTo>
                <a:cubicBezTo>
                  <a:pt x="18" y="0"/>
                  <a:pt x="14" y="2"/>
                  <a:pt x="10" y="4"/>
                </a:cubicBezTo>
                <a:cubicBezTo>
                  <a:pt x="4" y="8"/>
                  <a:pt x="0" y="15"/>
                  <a:pt x="0" y="23"/>
                </a:cubicBezTo>
                <a:cubicBezTo>
                  <a:pt x="0" y="27"/>
                  <a:pt x="1" y="31"/>
                  <a:pt x="4" y="35"/>
                </a:cubicBezTo>
                <a:cubicBezTo>
                  <a:pt x="8" y="41"/>
                  <a:pt x="15" y="45"/>
                  <a:pt x="22" y="45"/>
                </a:cubicBezTo>
                <a:cubicBezTo>
                  <a:pt x="27" y="45"/>
                  <a:pt x="31" y="44"/>
                  <a:pt x="34" y="42"/>
                </a:cubicBezTo>
                <a:lnTo>
                  <a:pt x="32" y="3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3" name="Freeform 157">
            <a:extLst>
              <a:ext uri="{FF2B5EF4-FFF2-40B4-BE49-F238E27FC236}">
                <a16:creationId xmlns:a16="http://schemas.microsoft.com/office/drawing/2014/main" id="{B0309D2D-E345-437E-8577-CCF45C5C1163}"/>
              </a:ext>
            </a:extLst>
          </p:cNvPr>
          <p:cNvSpPr>
            <a:spLocks/>
          </p:cNvSpPr>
          <p:nvPr/>
        </p:nvSpPr>
        <p:spPr bwMode="auto">
          <a:xfrm>
            <a:off x="4665848" y="4910054"/>
            <a:ext cx="145763" cy="146776"/>
          </a:xfrm>
          <a:custGeom>
            <a:avLst/>
            <a:gdLst>
              <a:gd name="T0" fmla="*/ 45 w 61"/>
              <a:gd name="T1" fmla="*/ 53 h 61"/>
              <a:gd name="T2" fmla="*/ 8 w 61"/>
              <a:gd name="T3" fmla="*/ 45 h 61"/>
              <a:gd name="T4" fmla="*/ 16 w 61"/>
              <a:gd name="T5" fmla="*/ 8 h 61"/>
              <a:gd name="T6" fmla="*/ 53 w 61"/>
              <a:gd name="T7" fmla="*/ 16 h 61"/>
              <a:gd name="T8" fmla="*/ 45 w 61"/>
              <a:gd name="T9" fmla="*/ 53 h 61"/>
            </a:gdLst>
            <a:ahLst/>
            <a:cxnLst>
              <a:cxn ang="0">
                <a:pos x="T0" y="T1"/>
              </a:cxn>
              <a:cxn ang="0">
                <a:pos x="T2" y="T3"/>
              </a:cxn>
              <a:cxn ang="0">
                <a:pos x="T4" y="T5"/>
              </a:cxn>
              <a:cxn ang="0">
                <a:pos x="T6" y="T7"/>
              </a:cxn>
              <a:cxn ang="0">
                <a:pos x="T8" y="T9"/>
              </a:cxn>
            </a:cxnLst>
            <a:rect l="0" t="0" r="r" b="b"/>
            <a:pathLst>
              <a:path w="61" h="61">
                <a:moveTo>
                  <a:pt x="45" y="53"/>
                </a:moveTo>
                <a:cubicBezTo>
                  <a:pt x="33" y="61"/>
                  <a:pt x="16" y="57"/>
                  <a:pt x="8" y="45"/>
                </a:cubicBezTo>
                <a:cubicBezTo>
                  <a:pt x="0" y="32"/>
                  <a:pt x="4" y="16"/>
                  <a:pt x="16" y="8"/>
                </a:cubicBezTo>
                <a:cubicBezTo>
                  <a:pt x="29" y="0"/>
                  <a:pt x="45" y="3"/>
                  <a:pt x="53" y="16"/>
                </a:cubicBezTo>
                <a:cubicBezTo>
                  <a:pt x="61" y="28"/>
                  <a:pt x="58" y="45"/>
                  <a:pt x="45" y="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74" name="Freeform 158">
            <a:extLst>
              <a:ext uri="{FF2B5EF4-FFF2-40B4-BE49-F238E27FC236}">
                <a16:creationId xmlns:a16="http://schemas.microsoft.com/office/drawing/2014/main" id="{72E9F13A-5785-4C08-81FA-61CEF1B1A465}"/>
              </a:ext>
            </a:extLst>
          </p:cNvPr>
          <p:cNvSpPr>
            <a:spLocks/>
          </p:cNvSpPr>
          <p:nvPr/>
        </p:nvSpPr>
        <p:spPr bwMode="auto">
          <a:xfrm>
            <a:off x="4665848" y="4908030"/>
            <a:ext cx="148800" cy="148800"/>
          </a:xfrm>
          <a:custGeom>
            <a:avLst/>
            <a:gdLst>
              <a:gd name="T0" fmla="*/ 45 w 62"/>
              <a:gd name="T1" fmla="*/ 54 h 62"/>
              <a:gd name="T2" fmla="*/ 43 w 62"/>
              <a:gd name="T3" fmla="*/ 51 h 62"/>
              <a:gd name="T4" fmla="*/ 31 w 62"/>
              <a:gd name="T5" fmla="*/ 54 h 62"/>
              <a:gd name="T6" fmla="*/ 11 w 62"/>
              <a:gd name="T7" fmla="*/ 44 h 62"/>
              <a:gd name="T8" fmla="*/ 8 w 62"/>
              <a:gd name="T9" fmla="*/ 31 h 62"/>
              <a:gd name="T10" fmla="*/ 18 w 62"/>
              <a:gd name="T11" fmla="*/ 12 h 62"/>
              <a:gd name="T12" fmla="*/ 18 w 62"/>
              <a:gd name="T13" fmla="*/ 12 h 62"/>
              <a:gd name="T14" fmla="*/ 31 w 62"/>
              <a:gd name="T15" fmla="*/ 8 h 62"/>
              <a:gd name="T16" fmla="*/ 50 w 62"/>
              <a:gd name="T17" fmla="*/ 19 h 62"/>
              <a:gd name="T18" fmla="*/ 54 w 62"/>
              <a:gd name="T19" fmla="*/ 31 h 62"/>
              <a:gd name="T20" fmla="*/ 43 w 62"/>
              <a:gd name="T21" fmla="*/ 51 h 62"/>
              <a:gd name="T22" fmla="*/ 43 w 62"/>
              <a:gd name="T23" fmla="*/ 51 h 62"/>
              <a:gd name="T24" fmla="*/ 45 w 62"/>
              <a:gd name="T25" fmla="*/ 54 h 62"/>
              <a:gd name="T26" fmla="*/ 47 w 62"/>
              <a:gd name="T27" fmla="*/ 57 h 62"/>
              <a:gd name="T28" fmla="*/ 62 w 62"/>
              <a:gd name="T29" fmla="*/ 31 h 62"/>
              <a:gd name="T30" fmla="*/ 57 w 62"/>
              <a:gd name="T31" fmla="*/ 15 h 62"/>
              <a:gd name="T32" fmla="*/ 31 w 62"/>
              <a:gd name="T33" fmla="*/ 0 h 62"/>
              <a:gd name="T34" fmla="*/ 14 w 62"/>
              <a:gd name="T35" fmla="*/ 5 h 62"/>
              <a:gd name="T36" fmla="*/ 14 w 62"/>
              <a:gd name="T37" fmla="*/ 5 h 62"/>
              <a:gd name="T38" fmla="*/ 0 w 62"/>
              <a:gd name="T39" fmla="*/ 31 h 62"/>
              <a:gd name="T40" fmla="*/ 5 w 62"/>
              <a:gd name="T41" fmla="*/ 48 h 62"/>
              <a:gd name="T42" fmla="*/ 31 w 62"/>
              <a:gd name="T43" fmla="*/ 62 h 62"/>
              <a:gd name="T44" fmla="*/ 47 w 62"/>
              <a:gd name="T45" fmla="*/ 57 h 62"/>
              <a:gd name="T46" fmla="*/ 47 w 62"/>
              <a:gd name="T47" fmla="*/ 57 h 62"/>
              <a:gd name="T48" fmla="*/ 45 w 62"/>
              <a:gd name="T4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62">
                <a:moveTo>
                  <a:pt x="45" y="54"/>
                </a:moveTo>
                <a:cubicBezTo>
                  <a:pt x="43" y="51"/>
                  <a:pt x="43" y="51"/>
                  <a:pt x="43" y="51"/>
                </a:cubicBezTo>
                <a:cubicBezTo>
                  <a:pt x="39" y="53"/>
                  <a:pt x="35" y="54"/>
                  <a:pt x="31" y="54"/>
                </a:cubicBezTo>
                <a:cubicBezTo>
                  <a:pt x="23" y="54"/>
                  <a:pt x="16" y="50"/>
                  <a:pt x="11" y="44"/>
                </a:cubicBezTo>
                <a:cubicBezTo>
                  <a:pt x="9" y="40"/>
                  <a:pt x="8" y="36"/>
                  <a:pt x="8" y="31"/>
                </a:cubicBezTo>
                <a:cubicBezTo>
                  <a:pt x="8" y="24"/>
                  <a:pt x="12" y="16"/>
                  <a:pt x="18" y="12"/>
                </a:cubicBezTo>
                <a:cubicBezTo>
                  <a:pt x="18" y="12"/>
                  <a:pt x="18" y="12"/>
                  <a:pt x="18" y="12"/>
                </a:cubicBezTo>
                <a:cubicBezTo>
                  <a:pt x="22" y="10"/>
                  <a:pt x="27" y="8"/>
                  <a:pt x="31" y="8"/>
                </a:cubicBezTo>
                <a:cubicBezTo>
                  <a:pt x="38" y="8"/>
                  <a:pt x="46" y="12"/>
                  <a:pt x="50" y="19"/>
                </a:cubicBezTo>
                <a:cubicBezTo>
                  <a:pt x="52" y="23"/>
                  <a:pt x="54" y="27"/>
                  <a:pt x="54" y="31"/>
                </a:cubicBezTo>
                <a:cubicBezTo>
                  <a:pt x="54" y="39"/>
                  <a:pt x="50" y="46"/>
                  <a:pt x="43" y="51"/>
                </a:cubicBezTo>
                <a:cubicBezTo>
                  <a:pt x="43" y="51"/>
                  <a:pt x="43" y="51"/>
                  <a:pt x="43" y="51"/>
                </a:cubicBezTo>
                <a:cubicBezTo>
                  <a:pt x="45" y="54"/>
                  <a:pt x="45" y="54"/>
                  <a:pt x="45" y="54"/>
                </a:cubicBezTo>
                <a:cubicBezTo>
                  <a:pt x="47" y="57"/>
                  <a:pt x="47" y="57"/>
                  <a:pt x="47" y="57"/>
                </a:cubicBezTo>
                <a:cubicBezTo>
                  <a:pt x="57" y="51"/>
                  <a:pt x="62" y="41"/>
                  <a:pt x="62" y="31"/>
                </a:cubicBezTo>
                <a:cubicBezTo>
                  <a:pt x="62" y="26"/>
                  <a:pt x="60" y="20"/>
                  <a:pt x="57" y="15"/>
                </a:cubicBezTo>
                <a:cubicBezTo>
                  <a:pt x="51" y="5"/>
                  <a:pt x="41" y="0"/>
                  <a:pt x="31" y="0"/>
                </a:cubicBezTo>
                <a:cubicBezTo>
                  <a:pt x="25" y="0"/>
                  <a:pt x="19" y="2"/>
                  <a:pt x="14" y="5"/>
                </a:cubicBezTo>
                <a:cubicBezTo>
                  <a:pt x="14" y="5"/>
                  <a:pt x="14" y="5"/>
                  <a:pt x="14" y="5"/>
                </a:cubicBezTo>
                <a:cubicBezTo>
                  <a:pt x="5" y="11"/>
                  <a:pt x="0" y="21"/>
                  <a:pt x="0" y="31"/>
                </a:cubicBezTo>
                <a:cubicBezTo>
                  <a:pt x="0" y="37"/>
                  <a:pt x="1" y="43"/>
                  <a:pt x="5" y="48"/>
                </a:cubicBezTo>
                <a:cubicBezTo>
                  <a:pt x="11" y="57"/>
                  <a:pt x="21" y="62"/>
                  <a:pt x="31" y="62"/>
                </a:cubicBezTo>
                <a:cubicBezTo>
                  <a:pt x="36" y="62"/>
                  <a:pt x="42" y="61"/>
                  <a:pt x="47" y="57"/>
                </a:cubicBezTo>
                <a:cubicBezTo>
                  <a:pt x="47" y="57"/>
                  <a:pt x="47" y="57"/>
                  <a:pt x="47" y="57"/>
                </a:cubicBezTo>
                <a:lnTo>
                  <a:pt x="45"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5" name="Rectangle 159">
            <a:extLst>
              <a:ext uri="{FF2B5EF4-FFF2-40B4-BE49-F238E27FC236}">
                <a16:creationId xmlns:a16="http://schemas.microsoft.com/office/drawing/2014/main" id="{BDA8E986-2472-49CE-9573-16A40078069E}"/>
              </a:ext>
            </a:extLst>
          </p:cNvPr>
          <p:cNvSpPr>
            <a:spLocks noChangeArrowheads="1"/>
          </p:cNvSpPr>
          <p:nvPr/>
        </p:nvSpPr>
        <p:spPr bwMode="auto">
          <a:xfrm>
            <a:off x="10096548" y="3257057"/>
            <a:ext cx="547625" cy="310860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160">
            <a:extLst>
              <a:ext uri="{FF2B5EF4-FFF2-40B4-BE49-F238E27FC236}">
                <a16:creationId xmlns:a16="http://schemas.microsoft.com/office/drawing/2014/main" id="{C9F6E9C3-3AEB-4647-9BD9-ADF2BE0C040E}"/>
              </a:ext>
            </a:extLst>
          </p:cNvPr>
          <p:cNvSpPr>
            <a:spLocks noEditPoints="1"/>
          </p:cNvSpPr>
          <p:nvPr/>
        </p:nvSpPr>
        <p:spPr bwMode="auto">
          <a:xfrm>
            <a:off x="10081364" y="3242885"/>
            <a:ext cx="576980" cy="3136950"/>
          </a:xfrm>
          <a:custGeom>
            <a:avLst/>
            <a:gdLst>
              <a:gd name="T0" fmla="*/ 229 w 240"/>
              <a:gd name="T1" fmla="*/ 1278 h 1306"/>
              <a:gd name="T2" fmla="*/ 234 w 240"/>
              <a:gd name="T3" fmla="*/ 1237 h 1306"/>
              <a:gd name="T4" fmla="*/ 240 w 240"/>
              <a:gd name="T5" fmla="*/ 1184 h 1306"/>
              <a:gd name="T6" fmla="*/ 240 w 240"/>
              <a:gd name="T7" fmla="*/ 1133 h 1306"/>
              <a:gd name="T8" fmla="*/ 234 w 240"/>
              <a:gd name="T9" fmla="*/ 1081 h 1306"/>
              <a:gd name="T10" fmla="*/ 229 w 240"/>
              <a:gd name="T11" fmla="*/ 1040 h 1306"/>
              <a:gd name="T12" fmla="*/ 229 w 240"/>
              <a:gd name="T13" fmla="*/ 969 h 1306"/>
              <a:gd name="T14" fmla="*/ 229 w 240"/>
              <a:gd name="T15" fmla="*/ 927 h 1306"/>
              <a:gd name="T16" fmla="*/ 234 w 240"/>
              <a:gd name="T17" fmla="*/ 886 h 1306"/>
              <a:gd name="T18" fmla="*/ 240 w 240"/>
              <a:gd name="T19" fmla="*/ 833 h 1306"/>
              <a:gd name="T20" fmla="*/ 240 w 240"/>
              <a:gd name="T21" fmla="*/ 782 h 1306"/>
              <a:gd name="T22" fmla="*/ 234 w 240"/>
              <a:gd name="T23" fmla="*/ 730 h 1306"/>
              <a:gd name="T24" fmla="*/ 229 w 240"/>
              <a:gd name="T25" fmla="*/ 689 h 1306"/>
              <a:gd name="T26" fmla="*/ 229 w 240"/>
              <a:gd name="T27" fmla="*/ 619 h 1306"/>
              <a:gd name="T28" fmla="*/ 229 w 240"/>
              <a:gd name="T29" fmla="*/ 576 h 1306"/>
              <a:gd name="T30" fmla="*/ 234 w 240"/>
              <a:gd name="T31" fmla="*/ 535 h 1306"/>
              <a:gd name="T32" fmla="*/ 240 w 240"/>
              <a:gd name="T33" fmla="*/ 482 h 1306"/>
              <a:gd name="T34" fmla="*/ 240 w 240"/>
              <a:gd name="T35" fmla="*/ 431 h 1306"/>
              <a:gd name="T36" fmla="*/ 234 w 240"/>
              <a:gd name="T37" fmla="*/ 379 h 1306"/>
              <a:gd name="T38" fmla="*/ 229 w 240"/>
              <a:gd name="T39" fmla="*/ 338 h 1306"/>
              <a:gd name="T40" fmla="*/ 229 w 240"/>
              <a:gd name="T41" fmla="*/ 268 h 1306"/>
              <a:gd name="T42" fmla="*/ 229 w 240"/>
              <a:gd name="T43" fmla="*/ 225 h 1306"/>
              <a:gd name="T44" fmla="*/ 234 w 240"/>
              <a:gd name="T45" fmla="*/ 184 h 1306"/>
              <a:gd name="T46" fmla="*/ 240 w 240"/>
              <a:gd name="T47" fmla="*/ 131 h 1306"/>
              <a:gd name="T48" fmla="*/ 240 w 240"/>
              <a:gd name="T49" fmla="*/ 81 h 1306"/>
              <a:gd name="T50" fmla="*/ 234 w 240"/>
              <a:gd name="T51" fmla="*/ 28 h 1306"/>
              <a:gd name="T52" fmla="*/ 215 w 240"/>
              <a:gd name="T53" fmla="*/ 12 h 1306"/>
              <a:gd name="T54" fmla="*/ 145 w 240"/>
              <a:gd name="T55" fmla="*/ 12 h 1306"/>
              <a:gd name="T56" fmla="*/ 102 w 240"/>
              <a:gd name="T57" fmla="*/ 12 h 1306"/>
              <a:gd name="T58" fmla="*/ 61 w 240"/>
              <a:gd name="T59" fmla="*/ 6 h 1306"/>
              <a:gd name="T60" fmla="*/ 6 w 240"/>
              <a:gd name="T61" fmla="*/ 12 h 1306"/>
              <a:gd name="T62" fmla="*/ 6 w 240"/>
              <a:gd name="T63" fmla="*/ 37 h 1306"/>
              <a:gd name="T64" fmla="*/ 12 w 240"/>
              <a:gd name="T65" fmla="*/ 78 h 1306"/>
              <a:gd name="T66" fmla="*/ 12 w 240"/>
              <a:gd name="T67" fmla="*/ 148 h 1306"/>
              <a:gd name="T68" fmla="*/ 12 w 240"/>
              <a:gd name="T69" fmla="*/ 191 h 1306"/>
              <a:gd name="T70" fmla="*/ 6 w 240"/>
              <a:gd name="T71" fmla="*/ 232 h 1306"/>
              <a:gd name="T72" fmla="*/ 0 w 240"/>
              <a:gd name="T73" fmla="*/ 284 h 1306"/>
              <a:gd name="T74" fmla="*/ 0 w 240"/>
              <a:gd name="T75" fmla="*/ 335 h 1306"/>
              <a:gd name="T76" fmla="*/ 6 w 240"/>
              <a:gd name="T77" fmla="*/ 388 h 1306"/>
              <a:gd name="T78" fmla="*/ 12 w 240"/>
              <a:gd name="T79" fmla="*/ 429 h 1306"/>
              <a:gd name="T80" fmla="*/ 12 w 240"/>
              <a:gd name="T81" fmla="*/ 499 h 1306"/>
              <a:gd name="T82" fmla="*/ 12 w 240"/>
              <a:gd name="T83" fmla="*/ 542 h 1306"/>
              <a:gd name="T84" fmla="*/ 6 w 240"/>
              <a:gd name="T85" fmla="*/ 583 h 1306"/>
              <a:gd name="T86" fmla="*/ 0 w 240"/>
              <a:gd name="T87" fmla="*/ 635 h 1306"/>
              <a:gd name="T88" fmla="*/ 0 w 240"/>
              <a:gd name="T89" fmla="*/ 686 h 1306"/>
              <a:gd name="T90" fmla="*/ 6 w 240"/>
              <a:gd name="T91" fmla="*/ 739 h 1306"/>
              <a:gd name="T92" fmla="*/ 12 w 240"/>
              <a:gd name="T93" fmla="*/ 780 h 1306"/>
              <a:gd name="T94" fmla="*/ 12 w 240"/>
              <a:gd name="T95" fmla="*/ 850 h 1306"/>
              <a:gd name="T96" fmla="*/ 12 w 240"/>
              <a:gd name="T97" fmla="*/ 893 h 1306"/>
              <a:gd name="T98" fmla="*/ 6 w 240"/>
              <a:gd name="T99" fmla="*/ 934 h 1306"/>
              <a:gd name="T100" fmla="*/ 0 w 240"/>
              <a:gd name="T101" fmla="*/ 986 h 1306"/>
              <a:gd name="T102" fmla="*/ 0 w 240"/>
              <a:gd name="T103" fmla="*/ 1037 h 1306"/>
              <a:gd name="T104" fmla="*/ 6 w 240"/>
              <a:gd name="T105" fmla="*/ 1090 h 1306"/>
              <a:gd name="T106" fmla="*/ 12 w 240"/>
              <a:gd name="T107" fmla="*/ 1131 h 1306"/>
              <a:gd name="T108" fmla="*/ 12 w 240"/>
              <a:gd name="T109" fmla="*/ 1201 h 1306"/>
              <a:gd name="T110" fmla="*/ 12 w 240"/>
              <a:gd name="T111" fmla="*/ 1244 h 1306"/>
              <a:gd name="T112" fmla="*/ 6 w 240"/>
              <a:gd name="T113" fmla="*/ 1285 h 1306"/>
              <a:gd name="T114" fmla="*/ 43 w 240"/>
              <a:gd name="T115" fmla="*/ 1306 h 1306"/>
              <a:gd name="T116" fmla="*/ 94 w 240"/>
              <a:gd name="T117" fmla="*/ 1306 h 1306"/>
              <a:gd name="T118" fmla="*/ 147 w 240"/>
              <a:gd name="T119" fmla="*/ 1300 h 1306"/>
              <a:gd name="T120" fmla="*/ 188 w 240"/>
              <a:gd name="T121" fmla="*/ 129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1306">
                <a:moveTo>
                  <a:pt x="229" y="1297"/>
                </a:moveTo>
                <a:cubicBezTo>
                  <a:pt x="229" y="1300"/>
                  <a:pt x="229" y="1300"/>
                  <a:pt x="229" y="1300"/>
                </a:cubicBezTo>
                <a:cubicBezTo>
                  <a:pt x="234" y="1300"/>
                  <a:pt x="234" y="1300"/>
                  <a:pt x="234" y="1300"/>
                </a:cubicBezTo>
                <a:cubicBezTo>
                  <a:pt x="234" y="1294"/>
                  <a:pt x="234" y="1294"/>
                  <a:pt x="234" y="1294"/>
                </a:cubicBezTo>
                <a:cubicBezTo>
                  <a:pt x="231" y="1294"/>
                  <a:pt x="231" y="1294"/>
                  <a:pt x="231" y="1294"/>
                </a:cubicBezTo>
                <a:cubicBezTo>
                  <a:pt x="227" y="1294"/>
                  <a:pt x="225" y="1297"/>
                  <a:pt x="225" y="1300"/>
                </a:cubicBezTo>
                <a:cubicBezTo>
                  <a:pt x="225" y="1303"/>
                  <a:pt x="227" y="1306"/>
                  <a:pt x="231" y="1306"/>
                </a:cubicBezTo>
                <a:cubicBezTo>
                  <a:pt x="234" y="1306"/>
                  <a:pt x="234" y="1306"/>
                  <a:pt x="234" y="1306"/>
                </a:cubicBezTo>
                <a:cubicBezTo>
                  <a:pt x="236" y="1306"/>
                  <a:pt x="238" y="1305"/>
                  <a:pt x="239" y="1304"/>
                </a:cubicBezTo>
                <a:cubicBezTo>
                  <a:pt x="240" y="1303"/>
                  <a:pt x="240" y="1301"/>
                  <a:pt x="240" y="1300"/>
                </a:cubicBezTo>
                <a:cubicBezTo>
                  <a:pt x="240" y="1297"/>
                  <a:pt x="240" y="1297"/>
                  <a:pt x="240" y="1297"/>
                </a:cubicBezTo>
                <a:cubicBezTo>
                  <a:pt x="240" y="1294"/>
                  <a:pt x="238" y="1291"/>
                  <a:pt x="234" y="1291"/>
                </a:cubicBezTo>
                <a:cubicBezTo>
                  <a:pt x="231" y="1291"/>
                  <a:pt x="229" y="1294"/>
                  <a:pt x="229" y="1297"/>
                </a:cubicBezTo>
                <a:close/>
                <a:moveTo>
                  <a:pt x="229" y="1274"/>
                </a:moveTo>
                <a:cubicBezTo>
                  <a:pt x="229" y="1278"/>
                  <a:pt x="229" y="1278"/>
                  <a:pt x="229" y="1278"/>
                </a:cubicBezTo>
                <a:cubicBezTo>
                  <a:pt x="229" y="1281"/>
                  <a:pt x="231" y="1283"/>
                  <a:pt x="234" y="1283"/>
                </a:cubicBezTo>
                <a:cubicBezTo>
                  <a:pt x="238" y="1283"/>
                  <a:pt x="240" y="1281"/>
                  <a:pt x="240" y="1278"/>
                </a:cubicBezTo>
                <a:cubicBezTo>
                  <a:pt x="240" y="1274"/>
                  <a:pt x="240" y="1274"/>
                  <a:pt x="240" y="1274"/>
                </a:cubicBezTo>
                <a:cubicBezTo>
                  <a:pt x="240" y="1270"/>
                  <a:pt x="238" y="1268"/>
                  <a:pt x="234" y="1268"/>
                </a:cubicBezTo>
                <a:cubicBezTo>
                  <a:pt x="231" y="1268"/>
                  <a:pt x="229" y="1270"/>
                  <a:pt x="229" y="1274"/>
                </a:cubicBezTo>
                <a:close/>
                <a:moveTo>
                  <a:pt x="229" y="1250"/>
                </a:moveTo>
                <a:cubicBezTo>
                  <a:pt x="229" y="1254"/>
                  <a:pt x="229" y="1254"/>
                  <a:pt x="229" y="1254"/>
                </a:cubicBezTo>
                <a:cubicBezTo>
                  <a:pt x="229" y="1257"/>
                  <a:pt x="231" y="1260"/>
                  <a:pt x="234" y="1260"/>
                </a:cubicBezTo>
                <a:cubicBezTo>
                  <a:pt x="238" y="1260"/>
                  <a:pt x="240" y="1257"/>
                  <a:pt x="240" y="1254"/>
                </a:cubicBezTo>
                <a:cubicBezTo>
                  <a:pt x="240" y="1250"/>
                  <a:pt x="240" y="1250"/>
                  <a:pt x="240" y="1250"/>
                </a:cubicBezTo>
                <a:cubicBezTo>
                  <a:pt x="240" y="1247"/>
                  <a:pt x="238" y="1244"/>
                  <a:pt x="234" y="1244"/>
                </a:cubicBezTo>
                <a:cubicBezTo>
                  <a:pt x="231" y="1244"/>
                  <a:pt x="229" y="1247"/>
                  <a:pt x="229" y="1250"/>
                </a:cubicBezTo>
                <a:close/>
                <a:moveTo>
                  <a:pt x="229" y="1227"/>
                </a:moveTo>
                <a:cubicBezTo>
                  <a:pt x="229" y="1231"/>
                  <a:pt x="229" y="1231"/>
                  <a:pt x="229" y="1231"/>
                </a:cubicBezTo>
                <a:cubicBezTo>
                  <a:pt x="229" y="1234"/>
                  <a:pt x="231" y="1237"/>
                  <a:pt x="234" y="1237"/>
                </a:cubicBezTo>
                <a:cubicBezTo>
                  <a:pt x="238" y="1237"/>
                  <a:pt x="240" y="1234"/>
                  <a:pt x="240" y="1231"/>
                </a:cubicBezTo>
                <a:cubicBezTo>
                  <a:pt x="240" y="1227"/>
                  <a:pt x="240" y="1227"/>
                  <a:pt x="240" y="1227"/>
                </a:cubicBezTo>
                <a:cubicBezTo>
                  <a:pt x="240" y="1224"/>
                  <a:pt x="238" y="1221"/>
                  <a:pt x="234" y="1221"/>
                </a:cubicBezTo>
                <a:cubicBezTo>
                  <a:pt x="231" y="1221"/>
                  <a:pt x="229" y="1224"/>
                  <a:pt x="229" y="1227"/>
                </a:cubicBezTo>
                <a:close/>
                <a:moveTo>
                  <a:pt x="229" y="1203"/>
                </a:moveTo>
                <a:cubicBezTo>
                  <a:pt x="229" y="1207"/>
                  <a:pt x="229" y="1207"/>
                  <a:pt x="229" y="1207"/>
                </a:cubicBezTo>
                <a:cubicBezTo>
                  <a:pt x="229" y="1211"/>
                  <a:pt x="231" y="1213"/>
                  <a:pt x="234" y="1213"/>
                </a:cubicBezTo>
                <a:cubicBezTo>
                  <a:pt x="238" y="1213"/>
                  <a:pt x="240" y="1211"/>
                  <a:pt x="240" y="1207"/>
                </a:cubicBezTo>
                <a:cubicBezTo>
                  <a:pt x="240" y="1203"/>
                  <a:pt x="240" y="1203"/>
                  <a:pt x="240" y="1203"/>
                </a:cubicBezTo>
                <a:cubicBezTo>
                  <a:pt x="240" y="1200"/>
                  <a:pt x="238" y="1198"/>
                  <a:pt x="234" y="1198"/>
                </a:cubicBezTo>
                <a:cubicBezTo>
                  <a:pt x="231" y="1198"/>
                  <a:pt x="229" y="1200"/>
                  <a:pt x="229" y="1203"/>
                </a:cubicBezTo>
                <a:close/>
                <a:moveTo>
                  <a:pt x="229" y="1180"/>
                </a:moveTo>
                <a:cubicBezTo>
                  <a:pt x="229" y="1184"/>
                  <a:pt x="229" y="1184"/>
                  <a:pt x="229" y="1184"/>
                </a:cubicBezTo>
                <a:cubicBezTo>
                  <a:pt x="229" y="1187"/>
                  <a:pt x="231" y="1190"/>
                  <a:pt x="234" y="1190"/>
                </a:cubicBezTo>
                <a:cubicBezTo>
                  <a:pt x="238" y="1190"/>
                  <a:pt x="240" y="1187"/>
                  <a:pt x="240" y="1184"/>
                </a:cubicBezTo>
                <a:cubicBezTo>
                  <a:pt x="240" y="1180"/>
                  <a:pt x="240" y="1180"/>
                  <a:pt x="240" y="1180"/>
                </a:cubicBezTo>
                <a:cubicBezTo>
                  <a:pt x="240" y="1177"/>
                  <a:pt x="238" y="1174"/>
                  <a:pt x="234" y="1174"/>
                </a:cubicBezTo>
                <a:cubicBezTo>
                  <a:pt x="231" y="1174"/>
                  <a:pt x="229" y="1177"/>
                  <a:pt x="229" y="1180"/>
                </a:cubicBezTo>
                <a:close/>
                <a:moveTo>
                  <a:pt x="229" y="1157"/>
                </a:moveTo>
                <a:cubicBezTo>
                  <a:pt x="229" y="1161"/>
                  <a:pt x="229" y="1161"/>
                  <a:pt x="229" y="1161"/>
                </a:cubicBezTo>
                <a:cubicBezTo>
                  <a:pt x="229" y="1164"/>
                  <a:pt x="231" y="1166"/>
                  <a:pt x="234" y="1166"/>
                </a:cubicBezTo>
                <a:cubicBezTo>
                  <a:pt x="238" y="1166"/>
                  <a:pt x="240" y="1164"/>
                  <a:pt x="240" y="1161"/>
                </a:cubicBezTo>
                <a:cubicBezTo>
                  <a:pt x="240" y="1157"/>
                  <a:pt x="240" y="1157"/>
                  <a:pt x="240" y="1157"/>
                </a:cubicBezTo>
                <a:cubicBezTo>
                  <a:pt x="240" y="1153"/>
                  <a:pt x="238" y="1151"/>
                  <a:pt x="234" y="1151"/>
                </a:cubicBezTo>
                <a:cubicBezTo>
                  <a:pt x="231" y="1151"/>
                  <a:pt x="229" y="1153"/>
                  <a:pt x="229" y="1157"/>
                </a:cubicBezTo>
                <a:close/>
                <a:moveTo>
                  <a:pt x="229" y="1133"/>
                </a:moveTo>
                <a:cubicBezTo>
                  <a:pt x="229" y="1137"/>
                  <a:pt x="229" y="1137"/>
                  <a:pt x="229" y="1137"/>
                </a:cubicBezTo>
                <a:cubicBezTo>
                  <a:pt x="229" y="1140"/>
                  <a:pt x="231" y="1143"/>
                  <a:pt x="234" y="1143"/>
                </a:cubicBezTo>
                <a:cubicBezTo>
                  <a:pt x="238" y="1143"/>
                  <a:pt x="240" y="1140"/>
                  <a:pt x="240" y="1137"/>
                </a:cubicBezTo>
                <a:cubicBezTo>
                  <a:pt x="240" y="1133"/>
                  <a:pt x="240" y="1133"/>
                  <a:pt x="240" y="1133"/>
                </a:cubicBezTo>
                <a:cubicBezTo>
                  <a:pt x="240" y="1130"/>
                  <a:pt x="238" y="1127"/>
                  <a:pt x="234" y="1127"/>
                </a:cubicBezTo>
                <a:cubicBezTo>
                  <a:pt x="231" y="1127"/>
                  <a:pt x="229" y="1130"/>
                  <a:pt x="229" y="1133"/>
                </a:cubicBezTo>
                <a:close/>
                <a:moveTo>
                  <a:pt x="229" y="1110"/>
                </a:moveTo>
                <a:cubicBezTo>
                  <a:pt x="229" y="1114"/>
                  <a:pt x="229" y="1114"/>
                  <a:pt x="229" y="1114"/>
                </a:cubicBezTo>
                <a:cubicBezTo>
                  <a:pt x="229" y="1117"/>
                  <a:pt x="231" y="1120"/>
                  <a:pt x="234" y="1120"/>
                </a:cubicBezTo>
                <a:cubicBezTo>
                  <a:pt x="238" y="1120"/>
                  <a:pt x="240" y="1117"/>
                  <a:pt x="240" y="1114"/>
                </a:cubicBezTo>
                <a:cubicBezTo>
                  <a:pt x="240" y="1110"/>
                  <a:pt x="240" y="1110"/>
                  <a:pt x="240" y="1110"/>
                </a:cubicBezTo>
                <a:cubicBezTo>
                  <a:pt x="240" y="1107"/>
                  <a:pt x="238" y="1104"/>
                  <a:pt x="234" y="1104"/>
                </a:cubicBezTo>
                <a:cubicBezTo>
                  <a:pt x="231" y="1104"/>
                  <a:pt x="229" y="1107"/>
                  <a:pt x="229" y="1110"/>
                </a:cubicBezTo>
                <a:close/>
                <a:moveTo>
                  <a:pt x="229" y="1086"/>
                </a:moveTo>
                <a:cubicBezTo>
                  <a:pt x="229" y="1090"/>
                  <a:pt x="229" y="1090"/>
                  <a:pt x="229" y="1090"/>
                </a:cubicBezTo>
                <a:cubicBezTo>
                  <a:pt x="229" y="1094"/>
                  <a:pt x="231" y="1096"/>
                  <a:pt x="234" y="1096"/>
                </a:cubicBezTo>
                <a:cubicBezTo>
                  <a:pt x="238" y="1096"/>
                  <a:pt x="240" y="1094"/>
                  <a:pt x="240" y="1090"/>
                </a:cubicBezTo>
                <a:cubicBezTo>
                  <a:pt x="240" y="1086"/>
                  <a:pt x="240" y="1086"/>
                  <a:pt x="240" y="1086"/>
                </a:cubicBezTo>
                <a:cubicBezTo>
                  <a:pt x="240" y="1083"/>
                  <a:pt x="238" y="1081"/>
                  <a:pt x="234" y="1081"/>
                </a:cubicBezTo>
                <a:cubicBezTo>
                  <a:pt x="231" y="1081"/>
                  <a:pt x="229" y="1083"/>
                  <a:pt x="229" y="1086"/>
                </a:cubicBezTo>
                <a:close/>
                <a:moveTo>
                  <a:pt x="229" y="1063"/>
                </a:moveTo>
                <a:cubicBezTo>
                  <a:pt x="229" y="1067"/>
                  <a:pt x="229" y="1067"/>
                  <a:pt x="229" y="1067"/>
                </a:cubicBezTo>
                <a:cubicBezTo>
                  <a:pt x="229" y="1070"/>
                  <a:pt x="231" y="1073"/>
                  <a:pt x="234" y="1073"/>
                </a:cubicBezTo>
                <a:cubicBezTo>
                  <a:pt x="238" y="1073"/>
                  <a:pt x="240" y="1070"/>
                  <a:pt x="240" y="1067"/>
                </a:cubicBezTo>
                <a:cubicBezTo>
                  <a:pt x="240" y="1063"/>
                  <a:pt x="240" y="1063"/>
                  <a:pt x="240" y="1063"/>
                </a:cubicBezTo>
                <a:cubicBezTo>
                  <a:pt x="240" y="1060"/>
                  <a:pt x="238" y="1057"/>
                  <a:pt x="234" y="1057"/>
                </a:cubicBezTo>
                <a:cubicBezTo>
                  <a:pt x="231" y="1057"/>
                  <a:pt x="229" y="1060"/>
                  <a:pt x="229" y="1063"/>
                </a:cubicBezTo>
                <a:close/>
                <a:moveTo>
                  <a:pt x="229" y="1040"/>
                </a:moveTo>
                <a:cubicBezTo>
                  <a:pt x="229" y="1044"/>
                  <a:pt x="229" y="1044"/>
                  <a:pt x="229" y="1044"/>
                </a:cubicBezTo>
                <a:cubicBezTo>
                  <a:pt x="229" y="1047"/>
                  <a:pt x="231" y="1049"/>
                  <a:pt x="234" y="1049"/>
                </a:cubicBezTo>
                <a:cubicBezTo>
                  <a:pt x="238" y="1049"/>
                  <a:pt x="240" y="1047"/>
                  <a:pt x="240" y="1044"/>
                </a:cubicBezTo>
                <a:cubicBezTo>
                  <a:pt x="240" y="1040"/>
                  <a:pt x="240" y="1040"/>
                  <a:pt x="240" y="1040"/>
                </a:cubicBezTo>
                <a:cubicBezTo>
                  <a:pt x="240" y="1036"/>
                  <a:pt x="238" y="1034"/>
                  <a:pt x="234" y="1034"/>
                </a:cubicBezTo>
                <a:cubicBezTo>
                  <a:pt x="231" y="1034"/>
                  <a:pt x="229" y="1036"/>
                  <a:pt x="229" y="1040"/>
                </a:cubicBezTo>
                <a:close/>
                <a:moveTo>
                  <a:pt x="229" y="1016"/>
                </a:moveTo>
                <a:cubicBezTo>
                  <a:pt x="229" y="1020"/>
                  <a:pt x="229" y="1020"/>
                  <a:pt x="229" y="1020"/>
                </a:cubicBezTo>
                <a:cubicBezTo>
                  <a:pt x="229" y="1023"/>
                  <a:pt x="231" y="1026"/>
                  <a:pt x="234" y="1026"/>
                </a:cubicBezTo>
                <a:cubicBezTo>
                  <a:pt x="238" y="1026"/>
                  <a:pt x="240" y="1023"/>
                  <a:pt x="240" y="1020"/>
                </a:cubicBezTo>
                <a:cubicBezTo>
                  <a:pt x="240" y="1016"/>
                  <a:pt x="240" y="1016"/>
                  <a:pt x="240" y="1016"/>
                </a:cubicBezTo>
                <a:cubicBezTo>
                  <a:pt x="240" y="1013"/>
                  <a:pt x="238" y="1010"/>
                  <a:pt x="234" y="1010"/>
                </a:cubicBezTo>
                <a:cubicBezTo>
                  <a:pt x="231" y="1010"/>
                  <a:pt x="229" y="1013"/>
                  <a:pt x="229" y="1016"/>
                </a:cubicBezTo>
                <a:close/>
                <a:moveTo>
                  <a:pt x="229" y="993"/>
                </a:moveTo>
                <a:cubicBezTo>
                  <a:pt x="229" y="997"/>
                  <a:pt x="229" y="997"/>
                  <a:pt x="229" y="997"/>
                </a:cubicBezTo>
                <a:cubicBezTo>
                  <a:pt x="229" y="1000"/>
                  <a:pt x="231" y="1003"/>
                  <a:pt x="234" y="1003"/>
                </a:cubicBezTo>
                <a:cubicBezTo>
                  <a:pt x="238" y="1003"/>
                  <a:pt x="240" y="1000"/>
                  <a:pt x="240" y="997"/>
                </a:cubicBezTo>
                <a:cubicBezTo>
                  <a:pt x="240" y="993"/>
                  <a:pt x="240" y="993"/>
                  <a:pt x="240" y="993"/>
                </a:cubicBezTo>
                <a:cubicBezTo>
                  <a:pt x="240" y="990"/>
                  <a:pt x="238" y="987"/>
                  <a:pt x="234" y="987"/>
                </a:cubicBezTo>
                <a:cubicBezTo>
                  <a:pt x="231" y="987"/>
                  <a:pt x="229" y="990"/>
                  <a:pt x="229" y="993"/>
                </a:cubicBezTo>
                <a:close/>
                <a:moveTo>
                  <a:pt x="229" y="969"/>
                </a:moveTo>
                <a:cubicBezTo>
                  <a:pt x="229" y="973"/>
                  <a:pt x="229" y="973"/>
                  <a:pt x="229" y="973"/>
                </a:cubicBezTo>
                <a:cubicBezTo>
                  <a:pt x="229" y="977"/>
                  <a:pt x="231" y="979"/>
                  <a:pt x="234" y="979"/>
                </a:cubicBezTo>
                <a:cubicBezTo>
                  <a:pt x="238" y="979"/>
                  <a:pt x="240" y="977"/>
                  <a:pt x="240" y="973"/>
                </a:cubicBezTo>
                <a:cubicBezTo>
                  <a:pt x="240" y="969"/>
                  <a:pt x="240" y="969"/>
                  <a:pt x="240" y="969"/>
                </a:cubicBezTo>
                <a:cubicBezTo>
                  <a:pt x="240" y="966"/>
                  <a:pt x="238" y="964"/>
                  <a:pt x="234" y="964"/>
                </a:cubicBezTo>
                <a:cubicBezTo>
                  <a:pt x="231" y="964"/>
                  <a:pt x="229" y="966"/>
                  <a:pt x="229" y="969"/>
                </a:cubicBezTo>
                <a:close/>
                <a:moveTo>
                  <a:pt x="229" y="946"/>
                </a:moveTo>
                <a:cubicBezTo>
                  <a:pt x="229" y="950"/>
                  <a:pt x="229" y="950"/>
                  <a:pt x="229" y="950"/>
                </a:cubicBezTo>
                <a:cubicBezTo>
                  <a:pt x="229" y="953"/>
                  <a:pt x="231" y="956"/>
                  <a:pt x="234" y="956"/>
                </a:cubicBezTo>
                <a:cubicBezTo>
                  <a:pt x="238" y="956"/>
                  <a:pt x="240" y="953"/>
                  <a:pt x="240" y="950"/>
                </a:cubicBezTo>
                <a:cubicBezTo>
                  <a:pt x="240" y="946"/>
                  <a:pt x="240" y="946"/>
                  <a:pt x="240" y="946"/>
                </a:cubicBezTo>
                <a:cubicBezTo>
                  <a:pt x="240" y="943"/>
                  <a:pt x="238" y="940"/>
                  <a:pt x="234" y="940"/>
                </a:cubicBezTo>
                <a:cubicBezTo>
                  <a:pt x="231" y="940"/>
                  <a:pt x="229" y="943"/>
                  <a:pt x="229" y="946"/>
                </a:cubicBezTo>
                <a:close/>
                <a:moveTo>
                  <a:pt x="229" y="923"/>
                </a:moveTo>
                <a:cubicBezTo>
                  <a:pt x="229" y="927"/>
                  <a:pt x="229" y="927"/>
                  <a:pt x="229" y="927"/>
                </a:cubicBezTo>
                <a:cubicBezTo>
                  <a:pt x="229" y="930"/>
                  <a:pt x="231" y="932"/>
                  <a:pt x="234" y="932"/>
                </a:cubicBezTo>
                <a:cubicBezTo>
                  <a:pt x="238" y="932"/>
                  <a:pt x="240" y="930"/>
                  <a:pt x="240" y="927"/>
                </a:cubicBezTo>
                <a:cubicBezTo>
                  <a:pt x="240" y="923"/>
                  <a:pt x="240" y="923"/>
                  <a:pt x="240" y="923"/>
                </a:cubicBezTo>
                <a:cubicBezTo>
                  <a:pt x="240" y="919"/>
                  <a:pt x="238" y="917"/>
                  <a:pt x="234" y="917"/>
                </a:cubicBezTo>
                <a:cubicBezTo>
                  <a:pt x="231" y="917"/>
                  <a:pt x="229" y="919"/>
                  <a:pt x="229" y="923"/>
                </a:cubicBezTo>
                <a:close/>
                <a:moveTo>
                  <a:pt x="229" y="899"/>
                </a:moveTo>
                <a:cubicBezTo>
                  <a:pt x="229" y="903"/>
                  <a:pt x="229" y="903"/>
                  <a:pt x="229" y="903"/>
                </a:cubicBezTo>
                <a:cubicBezTo>
                  <a:pt x="229" y="906"/>
                  <a:pt x="231" y="909"/>
                  <a:pt x="234" y="909"/>
                </a:cubicBezTo>
                <a:cubicBezTo>
                  <a:pt x="238" y="909"/>
                  <a:pt x="240" y="906"/>
                  <a:pt x="240" y="903"/>
                </a:cubicBezTo>
                <a:cubicBezTo>
                  <a:pt x="240" y="899"/>
                  <a:pt x="240" y="899"/>
                  <a:pt x="240" y="899"/>
                </a:cubicBezTo>
                <a:cubicBezTo>
                  <a:pt x="240" y="896"/>
                  <a:pt x="238" y="893"/>
                  <a:pt x="234" y="893"/>
                </a:cubicBezTo>
                <a:cubicBezTo>
                  <a:pt x="231" y="893"/>
                  <a:pt x="229" y="896"/>
                  <a:pt x="229" y="899"/>
                </a:cubicBezTo>
                <a:close/>
                <a:moveTo>
                  <a:pt x="229" y="876"/>
                </a:moveTo>
                <a:cubicBezTo>
                  <a:pt x="229" y="880"/>
                  <a:pt x="229" y="880"/>
                  <a:pt x="229" y="880"/>
                </a:cubicBezTo>
                <a:cubicBezTo>
                  <a:pt x="229" y="883"/>
                  <a:pt x="231" y="886"/>
                  <a:pt x="234" y="886"/>
                </a:cubicBezTo>
                <a:cubicBezTo>
                  <a:pt x="238" y="886"/>
                  <a:pt x="240" y="883"/>
                  <a:pt x="240" y="880"/>
                </a:cubicBezTo>
                <a:cubicBezTo>
                  <a:pt x="240" y="876"/>
                  <a:pt x="240" y="876"/>
                  <a:pt x="240" y="876"/>
                </a:cubicBezTo>
                <a:cubicBezTo>
                  <a:pt x="240" y="873"/>
                  <a:pt x="238" y="870"/>
                  <a:pt x="234" y="870"/>
                </a:cubicBezTo>
                <a:cubicBezTo>
                  <a:pt x="231" y="870"/>
                  <a:pt x="229" y="873"/>
                  <a:pt x="229" y="876"/>
                </a:cubicBezTo>
                <a:close/>
                <a:moveTo>
                  <a:pt x="229" y="853"/>
                </a:moveTo>
                <a:cubicBezTo>
                  <a:pt x="229" y="856"/>
                  <a:pt x="229" y="856"/>
                  <a:pt x="229" y="856"/>
                </a:cubicBezTo>
                <a:cubicBezTo>
                  <a:pt x="229" y="860"/>
                  <a:pt x="231" y="862"/>
                  <a:pt x="234" y="862"/>
                </a:cubicBezTo>
                <a:cubicBezTo>
                  <a:pt x="238" y="862"/>
                  <a:pt x="240" y="860"/>
                  <a:pt x="240" y="856"/>
                </a:cubicBezTo>
                <a:cubicBezTo>
                  <a:pt x="240" y="853"/>
                  <a:pt x="240" y="853"/>
                  <a:pt x="240" y="853"/>
                </a:cubicBezTo>
                <a:cubicBezTo>
                  <a:pt x="240" y="849"/>
                  <a:pt x="238" y="847"/>
                  <a:pt x="234" y="847"/>
                </a:cubicBezTo>
                <a:cubicBezTo>
                  <a:pt x="231" y="847"/>
                  <a:pt x="229" y="849"/>
                  <a:pt x="229" y="853"/>
                </a:cubicBezTo>
                <a:close/>
                <a:moveTo>
                  <a:pt x="229" y="829"/>
                </a:moveTo>
                <a:cubicBezTo>
                  <a:pt x="229" y="833"/>
                  <a:pt x="229" y="833"/>
                  <a:pt x="229" y="833"/>
                </a:cubicBezTo>
                <a:cubicBezTo>
                  <a:pt x="229" y="836"/>
                  <a:pt x="231" y="839"/>
                  <a:pt x="234" y="839"/>
                </a:cubicBezTo>
                <a:cubicBezTo>
                  <a:pt x="238" y="839"/>
                  <a:pt x="240" y="836"/>
                  <a:pt x="240" y="833"/>
                </a:cubicBezTo>
                <a:cubicBezTo>
                  <a:pt x="240" y="829"/>
                  <a:pt x="240" y="829"/>
                  <a:pt x="240" y="829"/>
                </a:cubicBezTo>
                <a:cubicBezTo>
                  <a:pt x="240" y="826"/>
                  <a:pt x="238" y="823"/>
                  <a:pt x="234" y="823"/>
                </a:cubicBezTo>
                <a:cubicBezTo>
                  <a:pt x="231" y="823"/>
                  <a:pt x="229" y="826"/>
                  <a:pt x="229" y="829"/>
                </a:cubicBezTo>
                <a:close/>
                <a:moveTo>
                  <a:pt x="229" y="806"/>
                </a:moveTo>
                <a:cubicBezTo>
                  <a:pt x="229" y="810"/>
                  <a:pt x="229" y="810"/>
                  <a:pt x="229" y="810"/>
                </a:cubicBezTo>
                <a:cubicBezTo>
                  <a:pt x="229" y="813"/>
                  <a:pt x="231" y="815"/>
                  <a:pt x="234" y="815"/>
                </a:cubicBezTo>
                <a:cubicBezTo>
                  <a:pt x="238" y="815"/>
                  <a:pt x="240" y="813"/>
                  <a:pt x="240" y="810"/>
                </a:cubicBezTo>
                <a:cubicBezTo>
                  <a:pt x="240" y="806"/>
                  <a:pt x="240" y="806"/>
                  <a:pt x="240" y="806"/>
                </a:cubicBezTo>
                <a:cubicBezTo>
                  <a:pt x="240" y="803"/>
                  <a:pt x="238" y="800"/>
                  <a:pt x="234" y="800"/>
                </a:cubicBezTo>
                <a:cubicBezTo>
                  <a:pt x="231" y="800"/>
                  <a:pt x="229" y="803"/>
                  <a:pt x="229" y="806"/>
                </a:cubicBezTo>
                <a:close/>
                <a:moveTo>
                  <a:pt x="229" y="782"/>
                </a:moveTo>
                <a:cubicBezTo>
                  <a:pt x="229" y="786"/>
                  <a:pt x="229" y="786"/>
                  <a:pt x="229" y="786"/>
                </a:cubicBezTo>
                <a:cubicBezTo>
                  <a:pt x="229" y="789"/>
                  <a:pt x="231" y="792"/>
                  <a:pt x="234" y="792"/>
                </a:cubicBezTo>
                <a:cubicBezTo>
                  <a:pt x="238" y="792"/>
                  <a:pt x="240" y="789"/>
                  <a:pt x="240" y="786"/>
                </a:cubicBezTo>
                <a:cubicBezTo>
                  <a:pt x="240" y="782"/>
                  <a:pt x="240" y="782"/>
                  <a:pt x="240" y="782"/>
                </a:cubicBezTo>
                <a:cubicBezTo>
                  <a:pt x="240" y="779"/>
                  <a:pt x="238" y="776"/>
                  <a:pt x="234" y="776"/>
                </a:cubicBezTo>
                <a:cubicBezTo>
                  <a:pt x="231" y="776"/>
                  <a:pt x="229" y="779"/>
                  <a:pt x="229" y="782"/>
                </a:cubicBezTo>
                <a:close/>
                <a:moveTo>
                  <a:pt x="229" y="759"/>
                </a:moveTo>
                <a:cubicBezTo>
                  <a:pt x="229" y="763"/>
                  <a:pt x="229" y="763"/>
                  <a:pt x="229" y="763"/>
                </a:cubicBezTo>
                <a:cubicBezTo>
                  <a:pt x="229" y="766"/>
                  <a:pt x="231" y="769"/>
                  <a:pt x="234" y="769"/>
                </a:cubicBezTo>
                <a:cubicBezTo>
                  <a:pt x="238" y="769"/>
                  <a:pt x="240" y="766"/>
                  <a:pt x="240" y="763"/>
                </a:cubicBezTo>
                <a:cubicBezTo>
                  <a:pt x="240" y="759"/>
                  <a:pt x="240" y="759"/>
                  <a:pt x="240" y="759"/>
                </a:cubicBezTo>
                <a:cubicBezTo>
                  <a:pt x="240" y="756"/>
                  <a:pt x="238" y="753"/>
                  <a:pt x="234" y="753"/>
                </a:cubicBezTo>
                <a:cubicBezTo>
                  <a:pt x="231" y="753"/>
                  <a:pt x="229" y="756"/>
                  <a:pt x="229" y="759"/>
                </a:cubicBezTo>
                <a:close/>
                <a:moveTo>
                  <a:pt x="229" y="736"/>
                </a:moveTo>
                <a:cubicBezTo>
                  <a:pt x="229" y="739"/>
                  <a:pt x="229" y="739"/>
                  <a:pt x="229" y="739"/>
                </a:cubicBezTo>
                <a:cubicBezTo>
                  <a:pt x="229" y="743"/>
                  <a:pt x="231" y="745"/>
                  <a:pt x="234" y="745"/>
                </a:cubicBezTo>
                <a:cubicBezTo>
                  <a:pt x="238" y="745"/>
                  <a:pt x="240" y="743"/>
                  <a:pt x="240" y="739"/>
                </a:cubicBezTo>
                <a:cubicBezTo>
                  <a:pt x="240" y="736"/>
                  <a:pt x="240" y="736"/>
                  <a:pt x="240" y="736"/>
                </a:cubicBezTo>
                <a:cubicBezTo>
                  <a:pt x="240" y="732"/>
                  <a:pt x="238" y="730"/>
                  <a:pt x="234" y="730"/>
                </a:cubicBezTo>
                <a:cubicBezTo>
                  <a:pt x="231" y="730"/>
                  <a:pt x="229" y="732"/>
                  <a:pt x="229" y="736"/>
                </a:cubicBezTo>
                <a:close/>
                <a:moveTo>
                  <a:pt x="229" y="712"/>
                </a:moveTo>
                <a:cubicBezTo>
                  <a:pt x="229" y="716"/>
                  <a:pt x="229" y="716"/>
                  <a:pt x="229" y="716"/>
                </a:cubicBezTo>
                <a:cubicBezTo>
                  <a:pt x="229" y="719"/>
                  <a:pt x="231" y="722"/>
                  <a:pt x="234" y="722"/>
                </a:cubicBezTo>
                <a:cubicBezTo>
                  <a:pt x="238" y="722"/>
                  <a:pt x="240" y="719"/>
                  <a:pt x="240" y="716"/>
                </a:cubicBezTo>
                <a:cubicBezTo>
                  <a:pt x="240" y="712"/>
                  <a:pt x="240" y="712"/>
                  <a:pt x="240" y="712"/>
                </a:cubicBezTo>
                <a:cubicBezTo>
                  <a:pt x="240" y="709"/>
                  <a:pt x="238" y="706"/>
                  <a:pt x="234" y="706"/>
                </a:cubicBezTo>
                <a:cubicBezTo>
                  <a:pt x="231" y="706"/>
                  <a:pt x="229" y="709"/>
                  <a:pt x="229" y="712"/>
                </a:cubicBezTo>
                <a:close/>
                <a:moveTo>
                  <a:pt x="229" y="689"/>
                </a:moveTo>
                <a:cubicBezTo>
                  <a:pt x="229" y="693"/>
                  <a:pt x="229" y="693"/>
                  <a:pt x="229" y="693"/>
                </a:cubicBezTo>
                <a:cubicBezTo>
                  <a:pt x="229" y="696"/>
                  <a:pt x="231" y="699"/>
                  <a:pt x="234" y="699"/>
                </a:cubicBezTo>
                <a:cubicBezTo>
                  <a:pt x="238" y="699"/>
                  <a:pt x="240" y="696"/>
                  <a:pt x="240" y="693"/>
                </a:cubicBezTo>
                <a:cubicBezTo>
                  <a:pt x="240" y="689"/>
                  <a:pt x="240" y="689"/>
                  <a:pt x="240" y="689"/>
                </a:cubicBezTo>
                <a:cubicBezTo>
                  <a:pt x="240" y="686"/>
                  <a:pt x="238" y="683"/>
                  <a:pt x="234" y="683"/>
                </a:cubicBezTo>
                <a:cubicBezTo>
                  <a:pt x="231" y="683"/>
                  <a:pt x="229" y="686"/>
                  <a:pt x="229" y="689"/>
                </a:cubicBezTo>
                <a:close/>
                <a:moveTo>
                  <a:pt x="229" y="665"/>
                </a:moveTo>
                <a:cubicBezTo>
                  <a:pt x="229" y="669"/>
                  <a:pt x="229" y="669"/>
                  <a:pt x="229" y="669"/>
                </a:cubicBezTo>
                <a:cubicBezTo>
                  <a:pt x="229" y="673"/>
                  <a:pt x="231" y="675"/>
                  <a:pt x="234" y="675"/>
                </a:cubicBezTo>
                <a:cubicBezTo>
                  <a:pt x="238" y="675"/>
                  <a:pt x="240" y="673"/>
                  <a:pt x="240" y="669"/>
                </a:cubicBezTo>
                <a:cubicBezTo>
                  <a:pt x="240" y="665"/>
                  <a:pt x="240" y="665"/>
                  <a:pt x="240" y="665"/>
                </a:cubicBezTo>
                <a:cubicBezTo>
                  <a:pt x="240" y="662"/>
                  <a:pt x="238" y="660"/>
                  <a:pt x="234" y="660"/>
                </a:cubicBezTo>
                <a:cubicBezTo>
                  <a:pt x="231" y="660"/>
                  <a:pt x="229" y="662"/>
                  <a:pt x="229" y="665"/>
                </a:cubicBezTo>
                <a:close/>
                <a:moveTo>
                  <a:pt x="229" y="642"/>
                </a:moveTo>
                <a:cubicBezTo>
                  <a:pt x="229" y="646"/>
                  <a:pt x="229" y="646"/>
                  <a:pt x="229" y="646"/>
                </a:cubicBezTo>
                <a:cubicBezTo>
                  <a:pt x="229" y="649"/>
                  <a:pt x="231" y="652"/>
                  <a:pt x="234" y="652"/>
                </a:cubicBezTo>
                <a:cubicBezTo>
                  <a:pt x="238" y="652"/>
                  <a:pt x="240" y="649"/>
                  <a:pt x="240" y="646"/>
                </a:cubicBezTo>
                <a:cubicBezTo>
                  <a:pt x="240" y="642"/>
                  <a:pt x="240" y="642"/>
                  <a:pt x="240" y="642"/>
                </a:cubicBezTo>
                <a:cubicBezTo>
                  <a:pt x="240" y="639"/>
                  <a:pt x="238" y="636"/>
                  <a:pt x="234" y="636"/>
                </a:cubicBezTo>
                <a:cubicBezTo>
                  <a:pt x="231" y="636"/>
                  <a:pt x="229" y="639"/>
                  <a:pt x="229" y="642"/>
                </a:cubicBezTo>
                <a:close/>
                <a:moveTo>
                  <a:pt x="229" y="619"/>
                </a:moveTo>
                <a:cubicBezTo>
                  <a:pt x="229" y="622"/>
                  <a:pt x="229" y="622"/>
                  <a:pt x="229" y="622"/>
                </a:cubicBezTo>
                <a:cubicBezTo>
                  <a:pt x="229" y="626"/>
                  <a:pt x="231" y="628"/>
                  <a:pt x="234" y="628"/>
                </a:cubicBezTo>
                <a:cubicBezTo>
                  <a:pt x="238" y="628"/>
                  <a:pt x="240" y="626"/>
                  <a:pt x="240" y="622"/>
                </a:cubicBezTo>
                <a:cubicBezTo>
                  <a:pt x="240" y="619"/>
                  <a:pt x="240" y="619"/>
                  <a:pt x="240" y="619"/>
                </a:cubicBezTo>
                <a:cubicBezTo>
                  <a:pt x="240" y="615"/>
                  <a:pt x="238" y="613"/>
                  <a:pt x="234" y="613"/>
                </a:cubicBezTo>
                <a:cubicBezTo>
                  <a:pt x="231" y="613"/>
                  <a:pt x="229" y="615"/>
                  <a:pt x="229" y="619"/>
                </a:cubicBezTo>
                <a:close/>
                <a:moveTo>
                  <a:pt x="229" y="595"/>
                </a:moveTo>
                <a:cubicBezTo>
                  <a:pt x="229" y="599"/>
                  <a:pt x="229" y="599"/>
                  <a:pt x="229" y="599"/>
                </a:cubicBezTo>
                <a:cubicBezTo>
                  <a:pt x="229" y="602"/>
                  <a:pt x="231" y="605"/>
                  <a:pt x="234" y="605"/>
                </a:cubicBezTo>
                <a:cubicBezTo>
                  <a:pt x="238" y="605"/>
                  <a:pt x="240" y="602"/>
                  <a:pt x="240" y="599"/>
                </a:cubicBezTo>
                <a:cubicBezTo>
                  <a:pt x="240" y="595"/>
                  <a:pt x="240" y="595"/>
                  <a:pt x="240" y="595"/>
                </a:cubicBezTo>
                <a:cubicBezTo>
                  <a:pt x="240" y="592"/>
                  <a:pt x="238" y="589"/>
                  <a:pt x="234" y="589"/>
                </a:cubicBezTo>
                <a:cubicBezTo>
                  <a:pt x="231" y="589"/>
                  <a:pt x="229" y="592"/>
                  <a:pt x="229" y="595"/>
                </a:cubicBezTo>
                <a:close/>
                <a:moveTo>
                  <a:pt x="229" y="572"/>
                </a:moveTo>
                <a:cubicBezTo>
                  <a:pt x="229" y="576"/>
                  <a:pt x="229" y="576"/>
                  <a:pt x="229" y="576"/>
                </a:cubicBezTo>
                <a:cubicBezTo>
                  <a:pt x="229" y="579"/>
                  <a:pt x="231" y="582"/>
                  <a:pt x="234" y="582"/>
                </a:cubicBezTo>
                <a:cubicBezTo>
                  <a:pt x="238" y="582"/>
                  <a:pt x="240" y="579"/>
                  <a:pt x="240" y="576"/>
                </a:cubicBezTo>
                <a:cubicBezTo>
                  <a:pt x="240" y="572"/>
                  <a:pt x="240" y="572"/>
                  <a:pt x="240" y="572"/>
                </a:cubicBezTo>
                <a:cubicBezTo>
                  <a:pt x="240" y="569"/>
                  <a:pt x="238" y="566"/>
                  <a:pt x="234" y="566"/>
                </a:cubicBezTo>
                <a:cubicBezTo>
                  <a:pt x="231" y="566"/>
                  <a:pt x="229" y="569"/>
                  <a:pt x="229" y="572"/>
                </a:cubicBezTo>
                <a:close/>
                <a:moveTo>
                  <a:pt x="229" y="548"/>
                </a:moveTo>
                <a:cubicBezTo>
                  <a:pt x="229" y="552"/>
                  <a:pt x="229" y="552"/>
                  <a:pt x="229" y="552"/>
                </a:cubicBezTo>
                <a:cubicBezTo>
                  <a:pt x="229" y="556"/>
                  <a:pt x="231" y="558"/>
                  <a:pt x="234" y="558"/>
                </a:cubicBezTo>
                <a:cubicBezTo>
                  <a:pt x="238" y="558"/>
                  <a:pt x="240" y="556"/>
                  <a:pt x="240" y="552"/>
                </a:cubicBezTo>
                <a:cubicBezTo>
                  <a:pt x="240" y="548"/>
                  <a:pt x="240" y="548"/>
                  <a:pt x="240" y="548"/>
                </a:cubicBezTo>
                <a:cubicBezTo>
                  <a:pt x="240" y="545"/>
                  <a:pt x="238" y="543"/>
                  <a:pt x="234" y="543"/>
                </a:cubicBezTo>
                <a:cubicBezTo>
                  <a:pt x="231" y="543"/>
                  <a:pt x="229" y="545"/>
                  <a:pt x="229" y="548"/>
                </a:cubicBezTo>
                <a:close/>
                <a:moveTo>
                  <a:pt x="229" y="525"/>
                </a:moveTo>
                <a:cubicBezTo>
                  <a:pt x="229" y="529"/>
                  <a:pt x="229" y="529"/>
                  <a:pt x="229" y="529"/>
                </a:cubicBezTo>
                <a:cubicBezTo>
                  <a:pt x="229" y="532"/>
                  <a:pt x="231" y="535"/>
                  <a:pt x="234" y="535"/>
                </a:cubicBezTo>
                <a:cubicBezTo>
                  <a:pt x="238" y="535"/>
                  <a:pt x="240" y="532"/>
                  <a:pt x="240" y="529"/>
                </a:cubicBezTo>
                <a:cubicBezTo>
                  <a:pt x="240" y="525"/>
                  <a:pt x="240" y="525"/>
                  <a:pt x="240" y="525"/>
                </a:cubicBezTo>
                <a:cubicBezTo>
                  <a:pt x="240" y="522"/>
                  <a:pt x="238" y="519"/>
                  <a:pt x="234" y="519"/>
                </a:cubicBezTo>
                <a:cubicBezTo>
                  <a:pt x="231" y="519"/>
                  <a:pt x="229" y="522"/>
                  <a:pt x="229" y="525"/>
                </a:cubicBezTo>
                <a:close/>
                <a:moveTo>
                  <a:pt x="229" y="502"/>
                </a:moveTo>
                <a:cubicBezTo>
                  <a:pt x="229" y="506"/>
                  <a:pt x="229" y="506"/>
                  <a:pt x="229" y="506"/>
                </a:cubicBezTo>
                <a:cubicBezTo>
                  <a:pt x="229" y="509"/>
                  <a:pt x="231" y="511"/>
                  <a:pt x="234" y="511"/>
                </a:cubicBezTo>
                <a:cubicBezTo>
                  <a:pt x="238" y="511"/>
                  <a:pt x="240" y="509"/>
                  <a:pt x="240" y="506"/>
                </a:cubicBezTo>
                <a:cubicBezTo>
                  <a:pt x="240" y="502"/>
                  <a:pt x="240" y="502"/>
                  <a:pt x="240" y="502"/>
                </a:cubicBezTo>
                <a:cubicBezTo>
                  <a:pt x="240" y="498"/>
                  <a:pt x="238" y="496"/>
                  <a:pt x="234" y="496"/>
                </a:cubicBezTo>
                <a:cubicBezTo>
                  <a:pt x="231" y="496"/>
                  <a:pt x="229" y="498"/>
                  <a:pt x="229" y="502"/>
                </a:cubicBezTo>
                <a:close/>
                <a:moveTo>
                  <a:pt x="229" y="478"/>
                </a:moveTo>
                <a:cubicBezTo>
                  <a:pt x="229" y="482"/>
                  <a:pt x="229" y="482"/>
                  <a:pt x="229" y="482"/>
                </a:cubicBezTo>
                <a:cubicBezTo>
                  <a:pt x="229" y="485"/>
                  <a:pt x="231" y="488"/>
                  <a:pt x="234" y="488"/>
                </a:cubicBezTo>
                <a:cubicBezTo>
                  <a:pt x="238" y="488"/>
                  <a:pt x="240" y="485"/>
                  <a:pt x="240" y="482"/>
                </a:cubicBezTo>
                <a:cubicBezTo>
                  <a:pt x="240" y="478"/>
                  <a:pt x="240" y="478"/>
                  <a:pt x="240" y="478"/>
                </a:cubicBezTo>
                <a:cubicBezTo>
                  <a:pt x="240" y="475"/>
                  <a:pt x="238" y="472"/>
                  <a:pt x="234" y="472"/>
                </a:cubicBezTo>
                <a:cubicBezTo>
                  <a:pt x="231" y="472"/>
                  <a:pt x="229" y="475"/>
                  <a:pt x="229" y="478"/>
                </a:cubicBezTo>
                <a:close/>
                <a:moveTo>
                  <a:pt x="229" y="455"/>
                </a:moveTo>
                <a:cubicBezTo>
                  <a:pt x="229" y="459"/>
                  <a:pt x="229" y="459"/>
                  <a:pt x="229" y="459"/>
                </a:cubicBezTo>
                <a:cubicBezTo>
                  <a:pt x="229" y="462"/>
                  <a:pt x="231" y="465"/>
                  <a:pt x="234" y="465"/>
                </a:cubicBezTo>
                <a:cubicBezTo>
                  <a:pt x="238" y="465"/>
                  <a:pt x="240" y="462"/>
                  <a:pt x="240" y="459"/>
                </a:cubicBezTo>
                <a:cubicBezTo>
                  <a:pt x="240" y="455"/>
                  <a:pt x="240" y="455"/>
                  <a:pt x="240" y="455"/>
                </a:cubicBezTo>
                <a:cubicBezTo>
                  <a:pt x="240" y="452"/>
                  <a:pt x="238" y="449"/>
                  <a:pt x="234" y="449"/>
                </a:cubicBezTo>
                <a:cubicBezTo>
                  <a:pt x="231" y="449"/>
                  <a:pt x="229" y="452"/>
                  <a:pt x="229" y="455"/>
                </a:cubicBezTo>
                <a:close/>
                <a:moveTo>
                  <a:pt x="229" y="431"/>
                </a:moveTo>
                <a:cubicBezTo>
                  <a:pt x="229" y="435"/>
                  <a:pt x="229" y="435"/>
                  <a:pt x="229" y="435"/>
                </a:cubicBezTo>
                <a:cubicBezTo>
                  <a:pt x="229" y="439"/>
                  <a:pt x="231" y="441"/>
                  <a:pt x="234" y="441"/>
                </a:cubicBezTo>
                <a:cubicBezTo>
                  <a:pt x="238" y="441"/>
                  <a:pt x="240" y="439"/>
                  <a:pt x="240" y="435"/>
                </a:cubicBezTo>
                <a:cubicBezTo>
                  <a:pt x="240" y="431"/>
                  <a:pt x="240" y="431"/>
                  <a:pt x="240" y="431"/>
                </a:cubicBezTo>
                <a:cubicBezTo>
                  <a:pt x="240" y="428"/>
                  <a:pt x="238" y="426"/>
                  <a:pt x="234" y="426"/>
                </a:cubicBezTo>
                <a:cubicBezTo>
                  <a:pt x="231" y="426"/>
                  <a:pt x="229" y="428"/>
                  <a:pt x="229" y="431"/>
                </a:cubicBezTo>
                <a:close/>
                <a:moveTo>
                  <a:pt x="229" y="408"/>
                </a:moveTo>
                <a:cubicBezTo>
                  <a:pt x="229" y="412"/>
                  <a:pt x="229" y="412"/>
                  <a:pt x="229" y="412"/>
                </a:cubicBezTo>
                <a:cubicBezTo>
                  <a:pt x="229" y="415"/>
                  <a:pt x="231" y="418"/>
                  <a:pt x="234" y="418"/>
                </a:cubicBezTo>
                <a:cubicBezTo>
                  <a:pt x="238" y="418"/>
                  <a:pt x="240" y="415"/>
                  <a:pt x="240" y="412"/>
                </a:cubicBezTo>
                <a:cubicBezTo>
                  <a:pt x="240" y="408"/>
                  <a:pt x="240" y="408"/>
                  <a:pt x="240" y="408"/>
                </a:cubicBezTo>
                <a:cubicBezTo>
                  <a:pt x="240" y="405"/>
                  <a:pt x="238" y="402"/>
                  <a:pt x="234" y="402"/>
                </a:cubicBezTo>
                <a:cubicBezTo>
                  <a:pt x="231" y="402"/>
                  <a:pt x="229" y="405"/>
                  <a:pt x="229" y="408"/>
                </a:cubicBezTo>
                <a:close/>
                <a:moveTo>
                  <a:pt x="229" y="385"/>
                </a:moveTo>
                <a:cubicBezTo>
                  <a:pt x="229" y="389"/>
                  <a:pt x="229" y="389"/>
                  <a:pt x="229" y="389"/>
                </a:cubicBezTo>
                <a:cubicBezTo>
                  <a:pt x="229" y="392"/>
                  <a:pt x="231" y="394"/>
                  <a:pt x="234" y="394"/>
                </a:cubicBezTo>
                <a:cubicBezTo>
                  <a:pt x="238" y="394"/>
                  <a:pt x="240" y="392"/>
                  <a:pt x="240" y="389"/>
                </a:cubicBezTo>
                <a:cubicBezTo>
                  <a:pt x="240" y="385"/>
                  <a:pt x="240" y="385"/>
                  <a:pt x="240" y="385"/>
                </a:cubicBezTo>
                <a:cubicBezTo>
                  <a:pt x="240" y="381"/>
                  <a:pt x="238" y="379"/>
                  <a:pt x="234" y="379"/>
                </a:cubicBezTo>
                <a:cubicBezTo>
                  <a:pt x="231" y="379"/>
                  <a:pt x="229" y="381"/>
                  <a:pt x="229" y="385"/>
                </a:cubicBezTo>
                <a:close/>
                <a:moveTo>
                  <a:pt x="229" y="361"/>
                </a:moveTo>
                <a:cubicBezTo>
                  <a:pt x="229" y="365"/>
                  <a:pt x="229" y="365"/>
                  <a:pt x="229" y="365"/>
                </a:cubicBezTo>
                <a:cubicBezTo>
                  <a:pt x="229" y="368"/>
                  <a:pt x="231" y="371"/>
                  <a:pt x="234" y="371"/>
                </a:cubicBezTo>
                <a:cubicBezTo>
                  <a:pt x="238" y="371"/>
                  <a:pt x="240" y="368"/>
                  <a:pt x="240" y="365"/>
                </a:cubicBezTo>
                <a:cubicBezTo>
                  <a:pt x="240" y="361"/>
                  <a:pt x="240" y="361"/>
                  <a:pt x="240" y="361"/>
                </a:cubicBezTo>
                <a:cubicBezTo>
                  <a:pt x="240" y="358"/>
                  <a:pt x="238" y="355"/>
                  <a:pt x="234" y="355"/>
                </a:cubicBezTo>
                <a:cubicBezTo>
                  <a:pt x="231" y="355"/>
                  <a:pt x="229" y="358"/>
                  <a:pt x="229" y="361"/>
                </a:cubicBezTo>
                <a:close/>
                <a:moveTo>
                  <a:pt x="229" y="338"/>
                </a:moveTo>
                <a:cubicBezTo>
                  <a:pt x="229" y="342"/>
                  <a:pt x="229" y="342"/>
                  <a:pt x="229" y="342"/>
                </a:cubicBezTo>
                <a:cubicBezTo>
                  <a:pt x="229" y="345"/>
                  <a:pt x="231" y="348"/>
                  <a:pt x="234" y="348"/>
                </a:cubicBezTo>
                <a:cubicBezTo>
                  <a:pt x="238" y="348"/>
                  <a:pt x="240" y="345"/>
                  <a:pt x="240" y="342"/>
                </a:cubicBezTo>
                <a:cubicBezTo>
                  <a:pt x="240" y="338"/>
                  <a:pt x="240" y="338"/>
                  <a:pt x="240" y="338"/>
                </a:cubicBezTo>
                <a:cubicBezTo>
                  <a:pt x="240" y="335"/>
                  <a:pt x="238" y="332"/>
                  <a:pt x="234" y="332"/>
                </a:cubicBezTo>
                <a:cubicBezTo>
                  <a:pt x="231" y="332"/>
                  <a:pt x="229" y="335"/>
                  <a:pt x="229" y="338"/>
                </a:cubicBezTo>
                <a:close/>
                <a:moveTo>
                  <a:pt x="229" y="314"/>
                </a:moveTo>
                <a:cubicBezTo>
                  <a:pt x="229" y="318"/>
                  <a:pt x="229" y="318"/>
                  <a:pt x="229" y="318"/>
                </a:cubicBezTo>
                <a:cubicBezTo>
                  <a:pt x="229" y="322"/>
                  <a:pt x="231" y="324"/>
                  <a:pt x="234" y="324"/>
                </a:cubicBezTo>
                <a:cubicBezTo>
                  <a:pt x="238" y="324"/>
                  <a:pt x="240" y="322"/>
                  <a:pt x="240" y="318"/>
                </a:cubicBezTo>
                <a:cubicBezTo>
                  <a:pt x="240" y="314"/>
                  <a:pt x="240" y="314"/>
                  <a:pt x="240" y="314"/>
                </a:cubicBezTo>
                <a:cubicBezTo>
                  <a:pt x="240" y="311"/>
                  <a:pt x="238" y="309"/>
                  <a:pt x="234" y="309"/>
                </a:cubicBezTo>
                <a:cubicBezTo>
                  <a:pt x="231" y="309"/>
                  <a:pt x="229" y="311"/>
                  <a:pt x="229" y="314"/>
                </a:cubicBezTo>
                <a:close/>
                <a:moveTo>
                  <a:pt x="229" y="291"/>
                </a:moveTo>
                <a:cubicBezTo>
                  <a:pt x="229" y="295"/>
                  <a:pt x="229" y="295"/>
                  <a:pt x="229" y="295"/>
                </a:cubicBezTo>
                <a:cubicBezTo>
                  <a:pt x="229" y="298"/>
                  <a:pt x="231" y="301"/>
                  <a:pt x="234" y="301"/>
                </a:cubicBezTo>
                <a:cubicBezTo>
                  <a:pt x="238" y="301"/>
                  <a:pt x="240" y="298"/>
                  <a:pt x="240" y="295"/>
                </a:cubicBezTo>
                <a:cubicBezTo>
                  <a:pt x="240" y="291"/>
                  <a:pt x="240" y="291"/>
                  <a:pt x="240" y="291"/>
                </a:cubicBezTo>
                <a:cubicBezTo>
                  <a:pt x="240" y="288"/>
                  <a:pt x="238" y="285"/>
                  <a:pt x="234" y="285"/>
                </a:cubicBezTo>
                <a:cubicBezTo>
                  <a:pt x="231" y="285"/>
                  <a:pt x="229" y="288"/>
                  <a:pt x="229" y="291"/>
                </a:cubicBezTo>
                <a:close/>
                <a:moveTo>
                  <a:pt x="229" y="268"/>
                </a:moveTo>
                <a:cubicBezTo>
                  <a:pt x="229" y="272"/>
                  <a:pt x="229" y="272"/>
                  <a:pt x="229" y="272"/>
                </a:cubicBezTo>
                <a:cubicBezTo>
                  <a:pt x="229" y="275"/>
                  <a:pt x="231" y="277"/>
                  <a:pt x="234" y="277"/>
                </a:cubicBezTo>
                <a:cubicBezTo>
                  <a:pt x="238" y="277"/>
                  <a:pt x="240" y="275"/>
                  <a:pt x="240" y="272"/>
                </a:cubicBezTo>
                <a:cubicBezTo>
                  <a:pt x="240" y="268"/>
                  <a:pt x="240" y="268"/>
                  <a:pt x="240" y="268"/>
                </a:cubicBezTo>
                <a:cubicBezTo>
                  <a:pt x="240" y="264"/>
                  <a:pt x="238" y="262"/>
                  <a:pt x="234" y="262"/>
                </a:cubicBezTo>
                <a:cubicBezTo>
                  <a:pt x="231" y="262"/>
                  <a:pt x="229" y="264"/>
                  <a:pt x="229" y="268"/>
                </a:cubicBezTo>
                <a:close/>
                <a:moveTo>
                  <a:pt x="229" y="244"/>
                </a:moveTo>
                <a:cubicBezTo>
                  <a:pt x="229" y="248"/>
                  <a:pt x="229" y="248"/>
                  <a:pt x="229" y="248"/>
                </a:cubicBezTo>
                <a:cubicBezTo>
                  <a:pt x="229" y="251"/>
                  <a:pt x="231" y="254"/>
                  <a:pt x="234" y="254"/>
                </a:cubicBezTo>
                <a:cubicBezTo>
                  <a:pt x="238" y="254"/>
                  <a:pt x="240" y="251"/>
                  <a:pt x="240" y="248"/>
                </a:cubicBezTo>
                <a:cubicBezTo>
                  <a:pt x="240" y="244"/>
                  <a:pt x="240" y="244"/>
                  <a:pt x="240" y="244"/>
                </a:cubicBezTo>
                <a:cubicBezTo>
                  <a:pt x="240" y="241"/>
                  <a:pt x="238" y="238"/>
                  <a:pt x="234" y="238"/>
                </a:cubicBezTo>
                <a:cubicBezTo>
                  <a:pt x="231" y="238"/>
                  <a:pt x="229" y="241"/>
                  <a:pt x="229" y="244"/>
                </a:cubicBezTo>
                <a:close/>
                <a:moveTo>
                  <a:pt x="229" y="221"/>
                </a:moveTo>
                <a:cubicBezTo>
                  <a:pt x="229" y="225"/>
                  <a:pt x="229" y="225"/>
                  <a:pt x="229" y="225"/>
                </a:cubicBezTo>
                <a:cubicBezTo>
                  <a:pt x="229" y="228"/>
                  <a:pt x="231" y="231"/>
                  <a:pt x="234" y="231"/>
                </a:cubicBezTo>
                <a:cubicBezTo>
                  <a:pt x="238" y="231"/>
                  <a:pt x="240" y="228"/>
                  <a:pt x="240" y="225"/>
                </a:cubicBezTo>
                <a:cubicBezTo>
                  <a:pt x="240" y="221"/>
                  <a:pt x="240" y="221"/>
                  <a:pt x="240" y="221"/>
                </a:cubicBezTo>
                <a:cubicBezTo>
                  <a:pt x="240" y="218"/>
                  <a:pt x="238" y="215"/>
                  <a:pt x="234" y="215"/>
                </a:cubicBezTo>
                <a:cubicBezTo>
                  <a:pt x="231" y="215"/>
                  <a:pt x="229" y="218"/>
                  <a:pt x="229" y="221"/>
                </a:cubicBezTo>
                <a:close/>
                <a:moveTo>
                  <a:pt x="229" y="198"/>
                </a:moveTo>
                <a:cubicBezTo>
                  <a:pt x="229" y="201"/>
                  <a:pt x="229" y="201"/>
                  <a:pt x="229" y="201"/>
                </a:cubicBezTo>
                <a:cubicBezTo>
                  <a:pt x="229" y="205"/>
                  <a:pt x="231" y="207"/>
                  <a:pt x="234" y="207"/>
                </a:cubicBezTo>
                <a:cubicBezTo>
                  <a:pt x="238" y="207"/>
                  <a:pt x="240" y="205"/>
                  <a:pt x="240" y="201"/>
                </a:cubicBezTo>
                <a:cubicBezTo>
                  <a:pt x="240" y="198"/>
                  <a:pt x="240" y="198"/>
                  <a:pt x="240" y="198"/>
                </a:cubicBezTo>
                <a:cubicBezTo>
                  <a:pt x="240" y="194"/>
                  <a:pt x="238" y="192"/>
                  <a:pt x="234" y="192"/>
                </a:cubicBezTo>
                <a:cubicBezTo>
                  <a:pt x="231" y="192"/>
                  <a:pt x="229" y="194"/>
                  <a:pt x="229" y="198"/>
                </a:cubicBezTo>
                <a:close/>
                <a:moveTo>
                  <a:pt x="229" y="174"/>
                </a:moveTo>
                <a:cubicBezTo>
                  <a:pt x="229" y="178"/>
                  <a:pt x="229" y="178"/>
                  <a:pt x="229" y="178"/>
                </a:cubicBezTo>
                <a:cubicBezTo>
                  <a:pt x="229" y="181"/>
                  <a:pt x="231" y="184"/>
                  <a:pt x="234" y="184"/>
                </a:cubicBezTo>
                <a:cubicBezTo>
                  <a:pt x="238" y="184"/>
                  <a:pt x="240" y="181"/>
                  <a:pt x="240" y="178"/>
                </a:cubicBezTo>
                <a:cubicBezTo>
                  <a:pt x="240" y="174"/>
                  <a:pt x="240" y="174"/>
                  <a:pt x="240" y="174"/>
                </a:cubicBezTo>
                <a:cubicBezTo>
                  <a:pt x="240" y="171"/>
                  <a:pt x="238" y="168"/>
                  <a:pt x="234" y="168"/>
                </a:cubicBezTo>
                <a:cubicBezTo>
                  <a:pt x="231" y="168"/>
                  <a:pt x="229" y="171"/>
                  <a:pt x="229" y="174"/>
                </a:cubicBezTo>
                <a:close/>
                <a:moveTo>
                  <a:pt x="229" y="151"/>
                </a:moveTo>
                <a:cubicBezTo>
                  <a:pt x="229" y="155"/>
                  <a:pt x="229" y="155"/>
                  <a:pt x="229" y="155"/>
                </a:cubicBezTo>
                <a:cubicBezTo>
                  <a:pt x="229" y="158"/>
                  <a:pt x="231" y="160"/>
                  <a:pt x="234" y="160"/>
                </a:cubicBezTo>
                <a:cubicBezTo>
                  <a:pt x="238" y="160"/>
                  <a:pt x="240" y="158"/>
                  <a:pt x="240" y="155"/>
                </a:cubicBezTo>
                <a:cubicBezTo>
                  <a:pt x="240" y="151"/>
                  <a:pt x="240" y="151"/>
                  <a:pt x="240" y="151"/>
                </a:cubicBezTo>
                <a:cubicBezTo>
                  <a:pt x="240" y="147"/>
                  <a:pt x="238" y="145"/>
                  <a:pt x="234" y="145"/>
                </a:cubicBezTo>
                <a:cubicBezTo>
                  <a:pt x="231" y="145"/>
                  <a:pt x="229" y="147"/>
                  <a:pt x="229" y="151"/>
                </a:cubicBezTo>
                <a:close/>
                <a:moveTo>
                  <a:pt x="229" y="127"/>
                </a:moveTo>
                <a:cubicBezTo>
                  <a:pt x="229" y="131"/>
                  <a:pt x="229" y="131"/>
                  <a:pt x="229" y="131"/>
                </a:cubicBezTo>
                <a:cubicBezTo>
                  <a:pt x="229" y="134"/>
                  <a:pt x="231" y="137"/>
                  <a:pt x="234" y="137"/>
                </a:cubicBezTo>
                <a:cubicBezTo>
                  <a:pt x="238" y="137"/>
                  <a:pt x="240" y="134"/>
                  <a:pt x="240" y="131"/>
                </a:cubicBezTo>
                <a:cubicBezTo>
                  <a:pt x="240" y="127"/>
                  <a:pt x="240" y="127"/>
                  <a:pt x="240" y="127"/>
                </a:cubicBezTo>
                <a:cubicBezTo>
                  <a:pt x="240" y="124"/>
                  <a:pt x="238" y="121"/>
                  <a:pt x="234" y="121"/>
                </a:cubicBezTo>
                <a:cubicBezTo>
                  <a:pt x="231" y="121"/>
                  <a:pt x="229" y="124"/>
                  <a:pt x="229" y="127"/>
                </a:cubicBezTo>
                <a:close/>
                <a:moveTo>
                  <a:pt x="229" y="104"/>
                </a:moveTo>
                <a:cubicBezTo>
                  <a:pt x="229" y="108"/>
                  <a:pt x="229" y="108"/>
                  <a:pt x="229" y="108"/>
                </a:cubicBezTo>
                <a:cubicBezTo>
                  <a:pt x="229" y="111"/>
                  <a:pt x="231" y="114"/>
                  <a:pt x="234" y="114"/>
                </a:cubicBezTo>
                <a:cubicBezTo>
                  <a:pt x="238" y="114"/>
                  <a:pt x="240" y="111"/>
                  <a:pt x="240" y="108"/>
                </a:cubicBezTo>
                <a:cubicBezTo>
                  <a:pt x="240" y="104"/>
                  <a:pt x="240" y="104"/>
                  <a:pt x="240" y="104"/>
                </a:cubicBezTo>
                <a:cubicBezTo>
                  <a:pt x="240" y="101"/>
                  <a:pt x="238" y="98"/>
                  <a:pt x="234" y="98"/>
                </a:cubicBezTo>
                <a:cubicBezTo>
                  <a:pt x="231" y="98"/>
                  <a:pt x="229" y="101"/>
                  <a:pt x="229" y="104"/>
                </a:cubicBezTo>
                <a:close/>
                <a:moveTo>
                  <a:pt x="229" y="81"/>
                </a:moveTo>
                <a:cubicBezTo>
                  <a:pt x="229" y="84"/>
                  <a:pt x="229" y="84"/>
                  <a:pt x="229" y="84"/>
                </a:cubicBezTo>
                <a:cubicBezTo>
                  <a:pt x="229" y="88"/>
                  <a:pt x="231" y="90"/>
                  <a:pt x="234" y="90"/>
                </a:cubicBezTo>
                <a:cubicBezTo>
                  <a:pt x="238" y="90"/>
                  <a:pt x="240" y="88"/>
                  <a:pt x="240" y="84"/>
                </a:cubicBezTo>
                <a:cubicBezTo>
                  <a:pt x="240" y="81"/>
                  <a:pt x="240" y="81"/>
                  <a:pt x="240" y="81"/>
                </a:cubicBezTo>
                <a:cubicBezTo>
                  <a:pt x="240" y="77"/>
                  <a:pt x="238" y="75"/>
                  <a:pt x="234" y="75"/>
                </a:cubicBezTo>
                <a:cubicBezTo>
                  <a:pt x="231" y="75"/>
                  <a:pt x="229" y="77"/>
                  <a:pt x="229" y="81"/>
                </a:cubicBezTo>
                <a:close/>
                <a:moveTo>
                  <a:pt x="229" y="57"/>
                </a:moveTo>
                <a:cubicBezTo>
                  <a:pt x="229" y="61"/>
                  <a:pt x="229" y="61"/>
                  <a:pt x="229" y="61"/>
                </a:cubicBezTo>
                <a:cubicBezTo>
                  <a:pt x="229" y="64"/>
                  <a:pt x="231" y="67"/>
                  <a:pt x="234" y="67"/>
                </a:cubicBezTo>
                <a:cubicBezTo>
                  <a:pt x="238" y="67"/>
                  <a:pt x="240" y="64"/>
                  <a:pt x="240" y="61"/>
                </a:cubicBezTo>
                <a:cubicBezTo>
                  <a:pt x="240" y="57"/>
                  <a:pt x="240" y="57"/>
                  <a:pt x="240" y="57"/>
                </a:cubicBezTo>
                <a:cubicBezTo>
                  <a:pt x="240" y="54"/>
                  <a:pt x="238" y="51"/>
                  <a:pt x="234" y="51"/>
                </a:cubicBezTo>
                <a:cubicBezTo>
                  <a:pt x="231" y="51"/>
                  <a:pt x="229" y="54"/>
                  <a:pt x="229" y="57"/>
                </a:cubicBezTo>
                <a:close/>
                <a:moveTo>
                  <a:pt x="229" y="34"/>
                </a:moveTo>
                <a:cubicBezTo>
                  <a:pt x="229" y="38"/>
                  <a:pt x="229" y="38"/>
                  <a:pt x="229" y="38"/>
                </a:cubicBezTo>
                <a:cubicBezTo>
                  <a:pt x="229" y="41"/>
                  <a:pt x="231" y="43"/>
                  <a:pt x="234" y="43"/>
                </a:cubicBezTo>
                <a:cubicBezTo>
                  <a:pt x="238" y="43"/>
                  <a:pt x="240" y="41"/>
                  <a:pt x="240" y="38"/>
                </a:cubicBezTo>
                <a:cubicBezTo>
                  <a:pt x="240" y="34"/>
                  <a:pt x="240" y="34"/>
                  <a:pt x="240" y="34"/>
                </a:cubicBezTo>
                <a:cubicBezTo>
                  <a:pt x="240" y="31"/>
                  <a:pt x="238" y="28"/>
                  <a:pt x="234" y="28"/>
                </a:cubicBezTo>
                <a:cubicBezTo>
                  <a:pt x="231" y="28"/>
                  <a:pt x="229" y="31"/>
                  <a:pt x="229" y="34"/>
                </a:cubicBezTo>
                <a:close/>
                <a:moveTo>
                  <a:pt x="229" y="10"/>
                </a:moveTo>
                <a:cubicBezTo>
                  <a:pt x="229" y="14"/>
                  <a:pt x="229" y="14"/>
                  <a:pt x="229" y="14"/>
                </a:cubicBezTo>
                <a:cubicBezTo>
                  <a:pt x="229" y="17"/>
                  <a:pt x="231" y="20"/>
                  <a:pt x="234" y="20"/>
                </a:cubicBezTo>
                <a:cubicBezTo>
                  <a:pt x="238" y="20"/>
                  <a:pt x="240" y="17"/>
                  <a:pt x="240" y="14"/>
                </a:cubicBezTo>
                <a:cubicBezTo>
                  <a:pt x="240" y="10"/>
                  <a:pt x="240" y="10"/>
                  <a:pt x="240" y="10"/>
                </a:cubicBezTo>
                <a:cubicBezTo>
                  <a:pt x="240" y="7"/>
                  <a:pt x="238" y="5"/>
                  <a:pt x="234" y="5"/>
                </a:cubicBezTo>
                <a:cubicBezTo>
                  <a:pt x="231" y="5"/>
                  <a:pt x="229" y="7"/>
                  <a:pt x="229" y="10"/>
                </a:cubicBezTo>
                <a:close/>
                <a:moveTo>
                  <a:pt x="215" y="12"/>
                </a:moveTo>
                <a:cubicBezTo>
                  <a:pt x="219" y="12"/>
                  <a:pt x="219" y="12"/>
                  <a:pt x="219" y="12"/>
                </a:cubicBezTo>
                <a:cubicBezTo>
                  <a:pt x="222" y="12"/>
                  <a:pt x="225" y="9"/>
                  <a:pt x="225" y="6"/>
                </a:cubicBezTo>
                <a:cubicBezTo>
                  <a:pt x="225" y="3"/>
                  <a:pt x="222" y="0"/>
                  <a:pt x="219" y="0"/>
                </a:cubicBezTo>
                <a:cubicBezTo>
                  <a:pt x="215" y="0"/>
                  <a:pt x="215" y="0"/>
                  <a:pt x="215" y="0"/>
                </a:cubicBezTo>
                <a:cubicBezTo>
                  <a:pt x="212" y="0"/>
                  <a:pt x="209" y="3"/>
                  <a:pt x="209" y="6"/>
                </a:cubicBezTo>
                <a:cubicBezTo>
                  <a:pt x="209" y="9"/>
                  <a:pt x="212" y="12"/>
                  <a:pt x="215" y="12"/>
                </a:cubicBezTo>
                <a:close/>
                <a:moveTo>
                  <a:pt x="192" y="12"/>
                </a:moveTo>
                <a:cubicBezTo>
                  <a:pt x="196" y="12"/>
                  <a:pt x="196" y="12"/>
                  <a:pt x="196" y="12"/>
                </a:cubicBezTo>
                <a:cubicBezTo>
                  <a:pt x="199" y="12"/>
                  <a:pt x="202" y="9"/>
                  <a:pt x="202" y="6"/>
                </a:cubicBezTo>
                <a:cubicBezTo>
                  <a:pt x="202" y="3"/>
                  <a:pt x="199" y="0"/>
                  <a:pt x="196" y="0"/>
                </a:cubicBezTo>
                <a:cubicBezTo>
                  <a:pt x="192" y="0"/>
                  <a:pt x="192" y="0"/>
                  <a:pt x="192" y="0"/>
                </a:cubicBezTo>
                <a:cubicBezTo>
                  <a:pt x="189" y="0"/>
                  <a:pt x="186" y="3"/>
                  <a:pt x="186" y="6"/>
                </a:cubicBezTo>
                <a:cubicBezTo>
                  <a:pt x="186" y="9"/>
                  <a:pt x="189" y="12"/>
                  <a:pt x="192" y="12"/>
                </a:cubicBezTo>
                <a:close/>
                <a:moveTo>
                  <a:pt x="168" y="12"/>
                </a:moveTo>
                <a:cubicBezTo>
                  <a:pt x="172" y="12"/>
                  <a:pt x="172" y="12"/>
                  <a:pt x="172" y="12"/>
                </a:cubicBezTo>
                <a:cubicBezTo>
                  <a:pt x="176" y="12"/>
                  <a:pt x="178" y="9"/>
                  <a:pt x="178" y="6"/>
                </a:cubicBezTo>
                <a:cubicBezTo>
                  <a:pt x="178" y="3"/>
                  <a:pt x="176" y="0"/>
                  <a:pt x="172" y="0"/>
                </a:cubicBezTo>
                <a:cubicBezTo>
                  <a:pt x="168" y="0"/>
                  <a:pt x="168" y="0"/>
                  <a:pt x="168" y="0"/>
                </a:cubicBezTo>
                <a:cubicBezTo>
                  <a:pt x="165" y="0"/>
                  <a:pt x="163" y="3"/>
                  <a:pt x="163" y="6"/>
                </a:cubicBezTo>
                <a:cubicBezTo>
                  <a:pt x="163" y="9"/>
                  <a:pt x="165" y="12"/>
                  <a:pt x="168" y="12"/>
                </a:cubicBezTo>
                <a:close/>
                <a:moveTo>
                  <a:pt x="145" y="12"/>
                </a:moveTo>
                <a:cubicBezTo>
                  <a:pt x="149" y="12"/>
                  <a:pt x="149" y="12"/>
                  <a:pt x="149" y="12"/>
                </a:cubicBezTo>
                <a:cubicBezTo>
                  <a:pt x="152" y="12"/>
                  <a:pt x="155" y="9"/>
                  <a:pt x="155" y="6"/>
                </a:cubicBezTo>
                <a:cubicBezTo>
                  <a:pt x="155" y="3"/>
                  <a:pt x="152" y="0"/>
                  <a:pt x="149" y="0"/>
                </a:cubicBezTo>
                <a:cubicBezTo>
                  <a:pt x="145" y="0"/>
                  <a:pt x="145" y="0"/>
                  <a:pt x="145" y="0"/>
                </a:cubicBezTo>
                <a:cubicBezTo>
                  <a:pt x="142" y="0"/>
                  <a:pt x="139" y="3"/>
                  <a:pt x="139" y="6"/>
                </a:cubicBezTo>
                <a:cubicBezTo>
                  <a:pt x="139" y="9"/>
                  <a:pt x="142" y="12"/>
                  <a:pt x="145" y="12"/>
                </a:cubicBezTo>
                <a:close/>
                <a:moveTo>
                  <a:pt x="122" y="12"/>
                </a:moveTo>
                <a:cubicBezTo>
                  <a:pt x="126" y="12"/>
                  <a:pt x="126" y="12"/>
                  <a:pt x="126" y="12"/>
                </a:cubicBezTo>
                <a:cubicBezTo>
                  <a:pt x="129" y="12"/>
                  <a:pt x="131" y="9"/>
                  <a:pt x="131" y="6"/>
                </a:cubicBezTo>
                <a:cubicBezTo>
                  <a:pt x="131" y="3"/>
                  <a:pt x="129" y="0"/>
                  <a:pt x="126" y="0"/>
                </a:cubicBezTo>
                <a:cubicBezTo>
                  <a:pt x="122" y="0"/>
                  <a:pt x="122" y="0"/>
                  <a:pt x="122" y="0"/>
                </a:cubicBezTo>
                <a:cubicBezTo>
                  <a:pt x="118" y="0"/>
                  <a:pt x="116" y="3"/>
                  <a:pt x="116" y="6"/>
                </a:cubicBezTo>
                <a:cubicBezTo>
                  <a:pt x="116" y="9"/>
                  <a:pt x="118" y="12"/>
                  <a:pt x="122" y="12"/>
                </a:cubicBezTo>
                <a:close/>
                <a:moveTo>
                  <a:pt x="98" y="12"/>
                </a:moveTo>
                <a:cubicBezTo>
                  <a:pt x="102" y="12"/>
                  <a:pt x="102" y="12"/>
                  <a:pt x="102" y="12"/>
                </a:cubicBezTo>
                <a:cubicBezTo>
                  <a:pt x="105" y="12"/>
                  <a:pt x="108" y="9"/>
                  <a:pt x="108" y="6"/>
                </a:cubicBezTo>
                <a:cubicBezTo>
                  <a:pt x="108" y="3"/>
                  <a:pt x="105" y="0"/>
                  <a:pt x="102" y="0"/>
                </a:cubicBezTo>
                <a:cubicBezTo>
                  <a:pt x="98" y="0"/>
                  <a:pt x="98" y="0"/>
                  <a:pt x="98" y="0"/>
                </a:cubicBezTo>
                <a:cubicBezTo>
                  <a:pt x="95" y="0"/>
                  <a:pt x="92" y="3"/>
                  <a:pt x="92" y="6"/>
                </a:cubicBezTo>
                <a:cubicBezTo>
                  <a:pt x="92" y="9"/>
                  <a:pt x="95" y="12"/>
                  <a:pt x="98" y="12"/>
                </a:cubicBezTo>
                <a:close/>
                <a:moveTo>
                  <a:pt x="75" y="12"/>
                </a:moveTo>
                <a:cubicBezTo>
                  <a:pt x="79" y="12"/>
                  <a:pt x="79" y="12"/>
                  <a:pt x="79" y="12"/>
                </a:cubicBezTo>
                <a:cubicBezTo>
                  <a:pt x="82" y="12"/>
                  <a:pt x="85" y="9"/>
                  <a:pt x="85" y="6"/>
                </a:cubicBezTo>
                <a:cubicBezTo>
                  <a:pt x="85" y="3"/>
                  <a:pt x="82" y="0"/>
                  <a:pt x="79" y="0"/>
                </a:cubicBezTo>
                <a:cubicBezTo>
                  <a:pt x="75" y="0"/>
                  <a:pt x="75" y="0"/>
                  <a:pt x="75" y="0"/>
                </a:cubicBezTo>
                <a:cubicBezTo>
                  <a:pt x="72" y="0"/>
                  <a:pt x="69" y="3"/>
                  <a:pt x="69" y="6"/>
                </a:cubicBezTo>
                <a:cubicBezTo>
                  <a:pt x="69" y="9"/>
                  <a:pt x="72" y="12"/>
                  <a:pt x="75" y="12"/>
                </a:cubicBezTo>
                <a:close/>
                <a:moveTo>
                  <a:pt x="51" y="12"/>
                </a:moveTo>
                <a:cubicBezTo>
                  <a:pt x="55" y="12"/>
                  <a:pt x="55" y="12"/>
                  <a:pt x="55" y="12"/>
                </a:cubicBezTo>
                <a:cubicBezTo>
                  <a:pt x="59" y="12"/>
                  <a:pt x="61" y="9"/>
                  <a:pt x="61" y="6"/>
                </a:cubicBezTo>
                <a:cubicBezTo>
                  <a:pt x="61" y="3"/>
                  <a:pt x="59" y="0"/>
                  <a:pt x="55" y="0"/>
                </a:cubicBezTo>
                <a:cubicBezTo>
                  <a:pt x="51" y="0"/>
                  <a:pt x="51" y="0"/>
                  <a:pt x="51" y="0"/>
                </a:cubicBezTo>
                <a:cubicBezTo>
                  <a:pt x="48" y="0"/>
                  <a:pt x="46" y="3"/>
                  <a:pt x="46" y="6"/>
                </a:cubicBezTo>
                <a:cubicBezTo>
                  <a:pt x="46" y="9"/>
                  <a:pt x="48" y="12"/>
                  <a:pt x="51" y="12"/>
                </a:cubicBezTo>
                <a:close/>
                <a:moveTo>
                  <a:pt x="28" y="12"/>
                </a:moveTo>
                <a:cubicBezTo>
                  <a:pt x="32" y="12"/>
                  <a:pt x="32" y="12"/>
                  <a:pt x="32" y="12"/>
                </a:cubicBezTo>
                <a:cubicBezTo>
                  <a:pt x="35" y="12"/>
                  <a:pt x="38" y="9"/>
                  <a:pt x="38" y="6"/>
                </a:cubicBezTo>
                <a:cubicBezTo>
                  <a:pt x="38" y="3"/>
                  <a:pt x="35" y="0"/>
                  <a:pt x="32" y="0"/>
                </a:cubicBezTo>
                <a:cubicBezTo>
                  <a:pt x="28" y="0"/>
                  <a:pt x="28" y="0"/>
                  <a:pt x="28" y="0"/>
                </a:cubicBezTo>
                <a:cubicBezTo>
                  <a:pt x="25" y="0"/>
                  <a:pt x="22" y="3"/>
                  <a:pt x="22" y="6"/>
                </a:cubicBezTo>
                <a:cubicBezTo>
                  <a:pt x="22" y="9"/>
                  <a:pt x="25" y="12"/>
                  <a:pt x="28" y="12"/>
                </a:cubicBezTo>
                <a:close/>
                <a:moveTo>
                  <a:pt x="12" y="8"/>
                </a:moveTo>
                <a:cubicBezTo>
                  <a:pt x="12" y="6"/>
                  <a:pt x="12" y="6"/>
                  <a:pt x="12" y="6"/>
                </a:cubicBezTo>
                <a:cubicBezTo>
                  <a:pt x="6" y="6"/>
                  <a:pt x="6" y="6"/>
                  <a:pt x="6" y="6"/>
                </a:cubicBezTo>
                <a:cubicBezTo>
                  <a:pt x="6" y="12"/>
                  <a:pt x="6" y="12"/>
                  <a:pt x="6" y="12"/>
                </a:cubicBezTo>
                <a:cubicBezTo>
                  <a:pt x="9" y="12"/>
                  <a:pt x="9" y="12"/>
                  <a:pt x="9" y="12"/>
                </a:cubicBezTo>
                <a:cubicBezTo>
                  <a:pt x="12" y="12"/>
                  <a:pt x="14" y="9"/>
                  <a:pt x="14" y="6"/>
                </a:cubicBezTo>
                <a:cubicBezTo>
                  <a:pt x="14" y="3"/>
                  <a:pt x="12" y="0"/>
                  <a:pt x="9" y="0"/>
                </a:cubicBezTo>
                <a:cubicBezTo>
                  <a:pt x="6" y="0"/>
                  <a:pt x="6" y="0"/>
                  <a:pt x="6" y="0"/>
                </a:cubicBezTo>
                <a:cubicBezTo>
                  <a:pt x="5" y="0"/>
                  <a:pt x="3" y="1"/>
                  <a:pt x="2" y="2"/>
                </a:cubicBezTo>
                <a:cubicBezTo>
                  <a:pt x="1" y="3"/>
                  <a:pt x="0" y="5"/>
                  <a:pt x="0" y="6"/>
                </a:cubicBezTo>
                <a:cubicBezTo>
                  <a:pt x="0" y="8"/>
                  <a:pt x="0" y="8"/>
                  <a:pt x="0" y="8"/>
                </a:cubicBezTo>
                <a:cubicBezTo>
                  <a:pt x="0" y="11"/>
                  <a:pt x="3" y="14"/>
                  <a:pt x="6" y="14"/>
                </a:cubicBezTo>
                <a:cubicBezTo>
                  <a:pt x="9" y="14"/>
                  <a:pt x="12" y="11"/>
                  <a:pt x="12" y="8"/>
                </a:cubicBezTo>
                <a:close/>
                <a:moveTo>
                  <a:pt x="12" y="31"/>
                </a:moveTo>
                <a:cubicBezTo>
                  <a:pt x="12" y="27"/>
                  <a:pt x="12" y="27"/>
                  <a:pt x="12" y="27"/>
                </a:cubicBezTo>
                <a:cubicBezTo>
                  <a:pt x="12" y="24"/>
                  <a:pt x="9" y="21"/>
                  <a:pt x="6" y="21"/>
                </a:cubicBezTo>
                <a:cubicBezTo>
                  <a:pt x="3" y="21"/>
                  <a:pt x="0" y="24"/>
                  <a:pt x="0" y="27"/>
                </a:cubicBezTo>
                <a:cubicBezTo>
                  <a:pt x="0" y="31"/>
                  <a:pt x="0" y="31"/>
                  <a:pt x="0" y="31"/>
                </a:cubicBezTo>
                <a:cubicBezTo>
                  <a:pt x="0" y="34"/>
                  <a:pt x="3" y="37"/>
                  <a:pt x="6" y="37"/>
                </a:cubicBezTo>
                <a:cubicBezTo>
                  <a:pt x="9" y="37"/>
                  <a:pt x="12" y="34"/>
                  <a:pt x="12" y="31"/>
                </a:cubicBezTo>
                <a:close/>
                <a:moveTo>
                  <a:pt x="12" y="54"/>
                </a:moveTo>
                <a:cubicBezTo>
                  <a:pt x="12" y="51"/>
                  <a:pt x="12" y="51"/>
                  <a:pt x="12" y="51"/>
                </a:cubicBezTo>
                <a:cubicBezTo>
                  <a:pt x="12" y="47"/>
                  <a:pt x="9" y="45"/>
                  <a:pt x="6" y="45"/>
                </a:cubicBezTo>
                <a:cubicBezTo>
                  <a:pt x="3" y="45"/>
                  <a:pt x="0" y="47"/>
                  <a:pt x="0" y="51"/>
                </a:cubicBezTo>
                <a:cubicBezTo>
                  <a:pt x="0" y="54"/>
                  <a:pt x="0" y="54"/>
                  <a:pt x="0" y="54"/>
                </a:cubicBezTo>
                <a:cubicBezTo>
                  <a:pt x="0" y="58"/>
                  <a:pt x="3" y="60"/>
                  <a:pt x="6" y="60"/>
                </a:cubicBezTo>
                <a:cubicBezTo>
                  <a:pt x="9" y="60"/>
                  <a:pt x="12" y="58"/>
                  <a:pt x="12" y="54"/>
                </a:cubicBezTo>
                <a:close/>
                <a:moveTo>
                  <a:pt x="12" y="78"/>
                </a:moveTo>
                <a:cubicBezTo>
                  <a:pt x="12" y="74"/>
                  <a:pt x="12" y="74"/>
                  <a:pt x="12" y="74"/>
                </a:cubicBezTo>
                <a:cubicBezTo>
                  <a:pt x="12" y="71"/>
                  <a:pt x="9" y="68"/>
                  <a:pt x="6" y="68"/>
                </a:cubicBezTo>
                <a:cubicBezTo>
                  <a:pt x="3" y="68"/>
                  <a:pt x="0" y="71"/>
                  <a:pt x="0" y="74"/>
                </a:cubicBezTo>
                <a:cubicBezTo>
                  <a:pt x="0" y="78"/>
                  <a:pt x="0" y="78"/>
                  <a:pt x="0" y="78"/>
                </a:cubicBezTo>
                <a:cubicBezTo>
                  <a:pt x="0" y="81"/>
                  <a:pt x="3" y="84"/>
                  <a:pt x="6" y="84"/>
                </a:cubicBezTo>
                <a:cubicBezTo>
                  <a:pt x="9" y="84"/>
                  <a:pt x="12" y="81"/>
                  <a:pt x="12" y="78"/>
                </a:cubicBezTo>
                <a:close/>
                <a:moveTo>
                  <a:pt x="12" y="101"/>
                </a:moveTo>
                <a:cubicBezTo>
                  <a:pt x="12" y="97"/>
                  <a:pt x="12" y="97"/>
                  <a:pt x="12" y="97"/>
                </a:cubicBezTo>
                <a:cubicBezTo>
                  <a:pt x="12" y="94"/>
                  <a:pt x="9" y="91"/>
                  <a:pt x="6" y="91"/>
                </a:cubicBezTo>
                <a:cubicBezTo>
                  <a:pt x="3" y="91"/>
                  <a:pt x="0" y="94"/>
                  <a:pt x="0" y="97"/>
                </a:cubicBezTo>
                <a:cubicBezTo>
                  <a:pt x="0" y="101"/>
                  <a:pt x="0" y="101"/>
                  <a:pt x="0" y="101"/>
                </a:cubicBezTo>
                <a:cubicBezTo>
                  <a:pt x="0" y="104"/>
                  <a:pt x="3" y="107"/>
                  <a:pt x="6" y="107"/>
                </a:cubicBezTo>
                <a:cubicBezTo>
                  <a:pt x="9" y="107"/>
                  <a:pt x="12" y="104"/>
                  <a:pt x="12" y="101"/>
                </a:cubicBezTo>
                <a:close/>
                <a:moveTo>
                  <a:pt x="12" y="125"/>
                </a:moveTo>
                <a:cubicBezTo>
                  <a:pt x="12" y="121"/>
                  <a:pt x="12" y="121"/>
                  <a:pt x="12" y="121"/>
                </a:cubicBezTo>
                <a:cubicBezTo>
                  <a:pt x="12" y="117"/>
                  <a:pt x="9" y="115"/>
                  <a:pt x="6" y="115"/>
                </a:cubicBezTo>
                <a:cubicBezTo>
                  <a:pt x="3" y="115"/>
                  <a:pt x="0" y="117"/>
                  <a:pt x="0" y="121"/>
                </a:cubicBezTo>
                <a:cubicBezTo>
                  <a:pt x="0" y="125"/>
                  <a:pt x="0" y="125"/>
                  <a:pt x="0" y="125"/>
                </a:cubicBezTo>
                <a:cubicBezTo>
                  <a:pt x="0" y="128"/>
                  <a:pt x="3" y="130"/>
                  <a:pt x="6" y="130"/>
                </a:cubicBezTo>
                <a:cubicBezTo>
                  <a:pt x="9" y="130"/>
                  <a:pt x="12" y="128"/>
                  <a:pt x="12" y="125"/>
                </a:cubicBezTo>
                <a:close/>
                <a:moveTo>
                  <a:pt x="12" y="148"/>
                </a:moveTo>
                <a:cubicBezTo>
                  <a:pt x="12" y="144"/>
                  <a:pt x="12" y="144"/>
                  <a:pt x="12" y="144"/>
                </a:cubicBezTo>
                <a:cubicBezTo>
                  <a:pt x="12" y="141"/>
                  <a:pt x="9" y="138"/>
                  <a:pt x="6" y="138"/>
                </a:cubicBezTo>
                <a:cubicBezTo>
                  <a:pt x="3" y="138"/>
                  <a:pt x="0" y="141"/>
                  <a:pt x="0" y="144"/>
                </a:cubicBezTo>
                <a:cubicBezTo>
                  <a:pt x="0" y="148"/>
                  <a:pt x="0" y="148"/>
                  <a:pt x="0" y="148"/>
                </a:cubicBezTo>
                <a:cubicBezTo>
                  <a:pt x="0" y="151"/>
                  <a:pt x="3" y="154"/>
                  <a:pt x="6" y="154"/>
                </a:cubicBezTo>
                <a:cubicBezTo>
                  <a:pt x="9" y="154"/>
                  <a:pt x="12" y="151"/>
                  <a:pt x="12" y="148"/>
                </a:cubicBezTo>
                <a:close/>
                <a:moveTo>
                  <a:pt x="12" y="171"/>
                </a:moveTo>
                <a:cubicBezTo>
                  <a:pt x="12" y="168"/>
                  <a:pt x="12" y="168"/>
                  <a:pt x="12" y="168"/>
                </a:cubicBezTo>
                <a:cubicBezTo>
                  <a:pt x="12" y="164"/>
                  <a:pt x="9" y="162"/>
                  <a:pt x="6" y="162"/>
                </a:cubicBezTo>
                <a:cubicBezTo>
                  <a:pt x="3" y="162"/>
                  <a:pt x="0" y="164"/>
                  <a:pt x="0" y="168"/>
                </a:cubicBezTo>
                <a:cubicBezTo>
                  <a:pt x="0" y="171"/>
                  <a:pt x="0" y="171"/>
                  <a:pt x="0" y="171"/>
                </a:cubicBezTo>
                <a:cubicBezTo>
                  <a:pt x="0" y="175"/>
                  <a:pt x="3" y="177"/>
                  <a:pt x="6" y="177"/>
                </a:cubicBezTo>
                <a:cubicBezTo>
                  <a:pt x="9" y="177"/>
                  <a:pt x="12" y="175"/>
                  <a:pt x="12" y="171"/>
                </a:cubicBezTo>
                <a:close/>
                <a:moveTo>
                  <a:pt x="12" y="195"/>
                </a:moveTo>
                <a:cubicBezTo>
                  <a:pt x="12" y="191"/>
                  <a:pt x="12" y="191"/>
                  <a:pt x="12" y="191"/>
                </a:cubicBezTo>
                <a:cubicBezTo>
                  <a:pt x="12" y="188"/>
                  <a:pt x="9" y="185"/>
                  <a:pt x="6" y="185"/>
                </a:cubicBezTo>
                <a:cubicBezTo>
                  <a:pt x="3" y="185"/>
                  <a:pt x="0" y="188"/>
                  <a:pt x="0" y="191"/>
                </a:cubicBezTo>
                <a:cubicBezTo>
                  <a:pt x="0" y="195"/>
                  <a:pt x="0" y="195"/>
                  <a:pt x="0" y="195"/>
                </a:cubicBezTo>
                <a:cubicBezTo>
                  <a:pt x="0" y="198"/>
                  <a:pt x="3" y="201"/>
                  <a:pt x="6" y="201"/>
                </a:cubicBezTo>
                <a:cubicBezTo>
                  <a:pt x="9" y="201"/>
                  <a:pt x="12" y="198"/>
                  <a:pt x="12" y="195"/>
                </a:cubicBezTo>
                <a:close/>
                <a:moveTo>
                  <a:pt x="12" y="218"/>
                </a:moveTo>
                <a:cubicBezTo>
                  <a:pt x="12" y="214"/>
                  <a:pt x="12" y="214"/>
                  <a:pt x="12" y="214"/>
                </a:cubicBezTo>
                <a:cubicBezTo>
                  <a:pt x="12" y="211"/>
                  <a:pt x="9" y="208"/>
                  <a:pt x="6" y="208"/>
                </a:cubicBezTo>
                <a:cubicBezTo>
                  <a:pt x="3" y="208"/>
                  <a:pt x="0" y="211"/>
                  <a:pt x="0" y="214"/>
                </a:cubicBezTo>
                <a:cubicBezTo>
                  <a:pt x="0" y="218"/>
                  <a:pt x="0" y="218"/>
                  <a:pt x="0" y="218"/>
                </a:cubicBezTo>
                <a:cubicBezTo>
                  <a:pt x="0" y="221"/>
                  <a:pt x="3" y="224"/>
                  <a:pt x="6" y="224"/>
                </a:cubicBezTo>
                <a:cubicBezTo>
                  <a:pt x="9" y="224"/>
                  <a:pt x="12" y="221"/>
                  <a:pt x="12" y="218"/>
                </a:cubicBezTo>
                <a:close/>
                <a:moveTo>
                  <a:pt x="12" y="242"/>
                </a:moveTo>
                <a:cubicBezTo>
                  <a:pt x="12" y="238"/>
                  <a:pt x="12" y="238"/>
                  <a:pt x="12" y="238"/>
                </a:cubicBezTo>
                <a:cubicBezTo>
                  <a:pt x="12" y="234"/>
                  <a:pt x="9" y="232"/>
                  <a:pt x="6" y="232"/>
                </a:cubicBezTo>
                <a:cubicBezTo>
                  <a:pt x="3" y="232"/>
                  <a:pt x="0" y="234"/>
                  <a:pt x="0" y="238"/>
                </a:cubicBezTo>
                <a:cubicBezTo>
                  <a:pt x="0" y="242"/>
                  <a:pt x="0" y="242"/>
                  <a:pt x="0" y="242"/>
                </a:cubicBezTo>
                <a:cubicBezTo>
                  <a:pt x="0" y="245"/>
                  <a:pt x="3" y="247"/>
                  <a:pt x="6" y="247"/>
                </a:cubicBezTo>
                <a:cubicBezTo>
                  <a:pt x="9" y="247"/>
                  <a:pt x="12" y="245"/>
                  <a:pt x="12" y="242"/>
                </a:cubicBezTo>
                <a:close/>
                <a:moveTo>
                  <a:pt x="12" y="265"/>
                </a:moveTo>
                <a:cubicBezTo>
                  <a:pt x="12" y="261"/>
                  <a:pt x="12" y="261"/>
                  <a:pt x="12" y="261"/>
                </a:cubicBezTo>
                <a:cubicBezTo>
                  <a:pt x="12" y="258"/>
                  <a:pt x="9" y="255"/>
                  <a:pt x="6" y="255"/>
                </a:cubicBezTo>
                <a:cubicBezTo>
                  <a:pt x="3" y="255"/>
                  <a:pt x="0" y="258"/>
                  <a:pt x="0" y="261"/>
                </a:cubicBezTo>
                <a:cubicBezTo>
                  <a:pt x="0" y="265"/>
                  <a:pt x="0" y="265"/>
                  <a:pt x="0" y="265"/>
                </a:cubicBezTo>
                <a:cubicBezTo>
                  <a:pt x="0" y="268"/>
                  <a:pt x="3" y="271"/>
                  <a:pt x="6" y="271"/>
                </a:cubicBezTo>
                <a:cubicBezTo>
                  <a:pt x="9" y="271"/>
                  <a:pt x="12" y="268"/>
                  <a:pt x="12" y="265"/>
                </a:cubicBezTo>
                <a:close/>
                <a:moveTo>
                  <a:pt x="12" y="288"/>
                </a:moveTo>
                <a:cubicBezTo>
                  <a:pt x="12" y="284"/>
                  <a:pt x="12" y="284"/>
                  <a:pt x="12" y="284"/>
                </a:cubicBezTo>
                <a:cubicBezTo>
                  <a:pt x="12" y="281"/>
                  <a:pt x="9" y="279"/>
                  <a:pt x="6" y="279"/>
                </a:cubicBezTo>
                <a:cubicBezTo>
                  <a:pt x="3" y="279"/>
                  <a:pt x="0" y="281"/>
                  <a:pt x="0" y="284"/>
                </a:cubicBezTo>
                <a:cubicBezTo>
                  <a:pt x="0" y="288"/>
                  <a:pt x="0" y="288"/>
                  <a:pt x="0" y="288"/>
                </a:cubicBezTo>
                <a:cubicBezTo>
                  <a:pt x="0" y="292"/>
                  <a:pt x="3" y="294"/>
                  <a:pt x="6" y="294"/>
                </a:cubicBezTo>
                <a:cubicBezTo>
                  <a:pt x="9" y="294"/>
                  <a:pt x="12" y="292"/>
                  <a:pt x="12" y="288"/>
                </a:cubicBezTo>
                <a:close/>
                <a:moveTo>
                  <a:pt x="12" y="312"/>
                </a:moveTo>
                <a:cubicBezTo>
                  <a:pt x="12" y="308"/>
                  <a:pt x="12" y="308"/>
                  <a:pt x="12" y="308"/>
                </a:cubicBezTo>
                <a:cubicBezTo>
                  <a:pt x="12" y="305"/>
                  <a:pt x="9" y="302"/>
                  <a:pt x="6" y="302"/>
                </a:cubicBezTo>
                <a:cubicBezTo>
                  <a:pt x="3" y="302"/>
                  <a:pt x="0" y="305"/>
                  <a:pt x="0" y="308"/>
                </a:cubicBezTo>
                <a:cubicBezTo>
                  <a:pt x="0" y="312"/>
                  <a:pt x="0" y="312"/>
                  <a:pt x="0" y="312"/>
                </a:cubicBezTo>
                <a:cubicBezTo>
                  <a:pt x="0" y="315"/>
                  <a:pt x="3" y="318"/>
                  <a:pt x="6" y="318"/>
                </a:cubicBezTo>
                <a:cubicBezTo>
                  <a:pt x="9" y="318"/>
                  <a:pt x="12" y="315"/>
                  <a:pt x="12" y="312"/>
                </a:cubicBezTo>
                <a:close/>
                <a:moveTo>
                  <a:pt x="12" y="335"/>
                </a:moveTo>
                <a:cubicBezTo>
                  <a:pt x="12" y="331"/>
                  <a:pt x="12" y="331"/>
                  <a:pt x="12" y="331"/>
                </a:cubicBezTo>
                <a:cubicBezTo>
                  <a:pt x="12" y="328"/>
                  <a:pt x="9" y="325"/>
                  <a:pt x="6" y="325"/>
                </a:cubicBezTo>
                <a:cubicBezTo>
                  <a:pt x="3" y="325"/>
                  <a:pt x="0" y="328"/>
                  <a:pt x="0" y="331"/>
                </a:cubicBezTo>
                <a:cubicBezTo>
                  <a:pt x="0" y="335"/>
                  <a:pt x="0" y="335"/>
                  <a:pt x="0" y="335"/>
                </a:cubicBezTo>
                <a:cubicBezTo>
                  <a:pt x="0" y="338"/>
                  <a:pt x="3" y="341"/>
                  <a:pt x="6" y="341"/>
                </a:cubicBezTo>
                <a:cubicBezTo>
                  <a:pt x="9" y="341"/>
                  <a:pt x="12" y="338"/>
                  <a:pt x="12" y="335"/>
                </a:cubicBezTo>
                <a:close/>
                <a:moveTo>
                  <a:pt x="12" y="359"/>
                </a:moveTo>
                <a:cubicBezTo>
                  <a:pt x="12" y="355"/>
                  <a:pt x="12" y="355"/>
                  <a:pt x="12" y="355"/>
                </a:cubicBezTo>
                <a:cubicBezTo>
                  <a:pt x="12" y="351"/>
                  <a:pt x="9" y="349"/>
                  <a:pt x="6" y="349"/>
                </a:cubicBezTo>
                <a:cubicBezTo>
                  <a:pt x="3" y="349"/>
                  <a:pt x="0" y="351"/>
                  <a:pt x="0" y="355"/>
                </a:cubicBezTo>
                <a:cubicBezTo>
                  <a:pt x="0" y="359"/>
                  <a:pt x="0" y="359"/>
                  <a:pt x="0" y="359"/>
                </a:cubicBezTo>
                <a:cubicBezTo>
                  <a:pt x="0" y="362"/>
                  <a:pt x="3" y="364"/>
                  <a:pt x="6" y="364"/>
                </a:cubicBezTo>
                <a:cubicBezTo>
                  <a:pt x="9" y="364"/>
                  <a:pt x="12" y="362"/>
                  <a:pt x="12" y="359"/>
                </a:cubicBezTo>
                <a:close/>
                <a:moveTo>
                  <a:pt x="12" y="382"/>
                </a:moveTo>
                <a:cubicBezTo>
                  <a:pt x="12" y="378"/>
                  <a:pt x="12" y="378"/>
                  <a:pt x="12" y="378"/>
                </a:cubicBezTo>
                <a:cubicBezTo>
                  <a:pt x="12" y="375"/>
                  <a:pt x="9" y="372"/>
                  <a:pt x="6" y="372"/>
                </a:cubicBezTo>
                <a:cubicBezTo>
                  <a:pt x="3" y="372"/>
                  <a:pt x="0" y="375"/>
                  <a:pt x="0" y="378"/>
                </a:cubicBezTo>
                <a:cubicBezTo>
                  <a:pt x="0" y="382"/>
                  <a:pt x="0" y="382"/>
                  <a:pt x="0" y="382"/>
                </a:cubicBezTo>
                <a:cubicBezTo>
                  <a:pt x="0" y="385"/>
                  <a:pt x="3" y="388"/>
                  <a:pt x="6" y="388"/>
                </a:cubicBezTo>
                <a:cubicBezTo>
                  <a:pt x="9" y="388"/>
                  <a:pt x="12" y="385"/>
                  <a:pt x="12" y="382"/>
                </a:cubicBezTo>
                <a:close/>
                <a:moveTo>
                  <a:pt x="12" y="405"/>
                </a:moveTo>
                <a:cubicBezTo>
                  <a:pt x="12" y="401"/>
                  <a:pt x="12" y="401"/>
                  <a:pt x="12" y="401"/>
                </a:cubicBezTo>
                <a:cubicBezTo>
                  <a:pt x="12" y="398"/>
                  <a:pt x="9" y="396"/>
                  <a:pt x="6" y="396"/>
                </a:cubicBezTo>
                <a:cubicBezTo>
                  <a:pt x="3" y="396"/>
                  <a:pt x="0" y="398"/>
                  <a:pt x="0" y="401"/>
                </a:cubicBezTo>
                <a:cubicBezTo>
                  <a:pt x="0" y="405"/>
                  <a:pt x="0" y="405"/>
                  <a:pt x="0" y="405"/>
                </a:cubicBezTo>
                <a:cubicBezTo>
                  <a:pt x="0" y="409"/>
                  <a:pt x="3" y="411"/>
                  <a:pt x="6" y="411"/>
                </a:cubicBezTo>
                <a:cubicBezTo>
                  <a:pt x="9" y="411"/>
                  <a:pt x="12" y="409"/>
                  <a:pt x="12" y="405"/>
                </a:cubicBezTo>
                <a:close/>
                <a:moveTo>
                  <a:pt x="12" y="429"/>
                </a:moveTo>
                <a:cubicBezTo>
                  <a:pt x="12" y="425"/>
                  <a:pt x="12" y="425"/>
                  <a:pt x="12" y="425"/>
                </a:cubicBezTo>
                <a:cubicBezTo>
                  <a:pt x="12" y="422"/>
                  <a:pt x="9" y="419"/>
                  <a:pt x="6" y="419"/>
                </a:cubicBezTo>
                <a:cubicBezTo>
                  <a:pt x="3" y="419"/>
                  <a:pt x="0" y="422"/>
                  <a:pt x="0" y="425"/>
                </a:cubicBezTo>
                <a:cubicBezTo>
                  <a:pt x="0" y="429"/>
                  <a:pt x="0" y="429"/>
                  <a:pt x="0" y="429"/>
                </a:cubicBezTo>
                <a:cubicBezTo>
                  <a:pt x="0" y="432"/>
                  <a:pt x="3" y="435"/>
                  <a:pt x="6" y="435"/>
                </a:cubicBezTo>
                <a:cubicBezTo>
                  <a:pt x="9" y="435"/>
                  <a:pt x="12" y="432"/>
                  <a:pt x="12" y="429"/>
                </a:cubicBezTo>
                <a:close/>
                <a:moveTo>
                  <a:pt x="12" y="452"/>
                </a:moveTo>
                <a:cubicBezTo>
                  <a:pt x="12" y="448"/>
                  <a:pt x="12" y="448"/>
                  <a:pt x="12" y="448"/>
                </a:cubicBezTo>
                <a:cubicBezTo>
                  <a:pt x="12" y="445"/>
                  <a:pt x="9" y="442"/>
                  <a:pt x="6" y="442"/>
                </a:cubicBezTo>
                <a:cubicBezTo>
                  <a:pt x="3" y="442"/>
                  <a:pt x="0" y="445"/>
                  <a:pt x="0" y="448"/>
                </a:cubicBezTo>
                <a:cubicBezTo>
                  <a:pt x="0" y="452"/>
                  <a:pt x="0" y="452"/>
                  <a:pt x="0" y="452"/>
                </a:cubicBezTo>
                <a:cubicBezTo>
                  <a:pt x="0" y="455"/>
                  <a:pt x="3" y="458"/>
                  <a:pt x="6" y="458"/>
                </a:cubicBezTo>
                <a:cubicBezTo>
                  <a:pt x="9" y="458"/>
                  <a:pt x="12" y="455"/>
                  <a:pt x="12" y="452"/>
                </a:cubicBezTo>
                <a:close/>
                <a:moveTo>
                  <a:pt x="12" y="476"/>
                </a:moveTo>
                <a:cubicBezTo>
                  <a:pt x="12" y="472"/>
                  <a:pt x="12" y="472"/>
                  <a:pt x="12" y="472"/>
                </a:cubicBezTo>
                <a:cubicBezTo>
                  <a:pt x="12" y="468"/>
                  <a:pt x="9" y="466"/>
                  <a:pt x="6" y="466"/>
                </a:cubicBezTo>
                <a:cubicBezTo>
                  <a:pt x="3" y="466"/>
                  <a:pt x="0" y="468"/>
                  <a:pt x="0" y="472"/>
                </a:cubicBezTo>
                <a:cubicBezTo>
                  <a:pt x="0" y="476"/>
                  <a:pt x="0" y="476"/>
                  <a:pt x="0" y="476"/>
                </a:cubicBezTo>
                <a:cubicBezTo>
                  <a:pt x="0" y="479"/>
                  <a:pt x="3" y="481"/>
                  <a:pt x="6" y="481"/>
                </a:cubicBezTo>
                <a:cubicBezTo>
                  <a:pt x="9" y="481"/>
                  <a:pt x="12" y="479"/>
                  <a:pt x="12" y="476"/>
                </a:cubicBezTo>
                <a:close/>
                <a:moveTo>
                  <a:pt x="12" y="499"/>
                </a:moveTo>
                <a:cubicBezTo>
                  <a:pt x="12" y="495"/>
                  <a:pt x="12" y="495"/>
                  <a:pt x="12" y="495"/>
                </a:cubicBezTo>
                <a:cubicBezTo>
                  <a:pt x="12" y="492"/>
                  <a:pt x="9" y="489"/>
                  <a:pt x="6" y="489"/>
                </a:cubicBezTo>
                <a:cubicBezTo>
                  <a:pt x="3" y="489"/>
                  <a:pt x="0" y="492"/>
                  <a:pt x="0" y="495"/>
                </a:cubicBezTo>
                <a:cubicBezTo>
                  <a:pt x="0" y="499"/>
                  <a:pt x="0" y="499"/>
                  <a:pt x="0" y="499"/>
                </a:cubicBezTo>
                <a:cubicBezTo>
                  <a:pt x="0" y="502"/>
                  <a:pt x="3" y="505"/>
                  <a:pt x="6" y="505"/>
                </a:cubicBezTo>
                <a:cubicBezTo>
                  <a:pt x="9" y="505"/>
                  <a:pt x="12" y="502"/>
                  <a:pt x="12" y="499"/>
                </a:cubicBezTo>
                <a:close/>
                <a:moveTo>
                  <a:pt x="12" y="522"/>
                </a:moveTo>
                <a:cubicBezTo>
                  <a:pt x="12" y="518"/>
                  <a:pt x="12" y="518"/>
                  <a:pt x="12" y="518"/>
                </a:cubicBezTo>
                <a:cubicBezTo>
                  <a:pt x="12" y="515"/>
                  <a:pt x="9" y="513"/>
                  <a:pt x="6" y="513"/>
                </a:cubicBezTo>
                <a:cubicBezTo>
                  <a:pt x="3" y="513"/>
                  <a:pt x="0" y="515"/>
                  <a:pt x="0" y="518"/>
                </a:cubicBezTo>
                <a:cubicBezTo>
                  <a:pt x="0" y="522"/>
                  <a:pt x="0" y="522"/>
                  <a:pt x="0" y="522"/>
                </a:cubicBezTo>
                <a:cubicBezTo>
                  <a:pt x="0" y="526"/>
                  <a:pt x="3" y="528"/>
                  <a:pt x="6" y="528"/>
                </a:cubicBezTo>
                <a:cubicBezTo>
                  <a:pt x="9" y="528"/>
                  <a:pt x="12" y="526"/>
                  <a:pt x="12" y="522"/>
                </a:cubicBezTo>
                <a:close/>
                <a:moveTo>
                  <a:pt x="12" y="546"/>
                </a:moveTo>
                <a:cubicBezTo>
                  <a:pt x="12" y="542"/>
                  <a:pt x="12" y="542"/>
                  <a:pt x="12" y="542"/>
                </a:cubicBezTo>
                <a:cubicBezTo>
                  <a:pt x="12" y="539"/>
                  <a:pt x="9" y="536"/>
                  <a:pt x="6" y="536"/>
                </a:cubicBezTo>
                <a:cubicBezTo>
                  <a:pt x="3" y="536"/>
                  <a:pt x="0" y="539"/>
                  <a:pt x="0" y="542"/>
                </a:cubicBezTo>
                <a:cubicBezTo>
                  <a:pt x="0" y="546"/>
                  <a:pt x="0" y="546"/>
                  <a:pt x="0" y="546"/>
                </a:cubicBezTo>
                <a:cubicBezTo>
                  <a:pt x="0" y="549"/>
                  <a:pt x="3" y="552"/>
                  <a:pt x="6" y="552"/>
                </a:cubicBezTo>
                <a:cubicBezTo>
                  <a:pt x="9" y="552"/>
                  <a:pt x="12" y="549"/>
                  <a:pt x="12" y="546"/>
                </a:cubicBezTo>
                <a:close/>
                <a:moveTo>
                  <a:pt x="12" y="569"/>
                </a:moveTo>
                <a:cubicBezTo>
                  <a:pt x="12" y="565"/>
                  <a:pt x="12" y="565"/>
                  <a:pt x="12" y="565"/>
                </a:cubicBezTo>
                <a:cubicBezTo>
                  <a:pt x="12" y="562"/>
                  <a:pt x="9" y="559"/>
                  <a:pt x="6" y="559"/>
                </a:cubicBezTo>
                <a:cubicBezTo>
                  <a:pt x="3" y="559"/>
                  <a:pt x="0" y="562"/>
                  <a:pt x="0" y="565"/>
                </a:cubicBezTo>
                <a:cubicBezTo>
                  <a:pt x="0" y="569"/>
                  <a:pt x="0" y="569"/>
                  <a:pt x="0" y="569"/>
                </a:cubicBezTo>
                <a:cubicBezTo>
                  <a:pt x="0" y="572"/>
                  <a:pt x="3" y="575"/>
                  <a:pt x="6" y="575"/>
                </a:cubicBezTo>
                <a:cubicBezTo>
                  <a:pt x="9" y="575"/>
                  <a:pt x="12" y="572"/>
                  <a:pt x="12" y="569"/>
                </a:cubicBezTo>
                <a:close/>
                <a:moveTo>
                  <a:pt x="12" y="592"/>
                </a:moveTo>
                <a:cubicBezTo>
                  <a:pt x="12" y="589"/>
                  <a:pt x="12" y="589"/>
                  <a:pt x="12" y="589"/>
                </a:cubicBezTo>
                <a:cubicBezTo>
                  <a:pt x="12" y="585"/>
                  <a:pt x="9" y="583"/>
                  <a:pt x="6" y="583"/>
                </a:cubicBezTo>
                <a:cubicBezTo>
                  <a:pt x="3" y="583"/>
                  <a:pt x="0" y="585"/>
                  <a:pt x="0" y="589"/>
                </a:cubicBezTo>
                <a:cubicBezTo>
                  <a:pt x="0" y="592"/>
                  <a:pt x="0" y="592"/>
                  <a:pt x="0" y="592"/>
                </a:cubicBezTo>
                <a:cubicBezTo>
                  <a:pt x="0" y="596"/>
                  <a:pt x="3" y="598"/>
                  <a:pt x="6" y="598"/>
                </a:cubicBezTo>
                <a:cubicBezTo>
                  <a:pt x="9" y="598"/>
                  <a:pt x="12" y="596"/>
                  <a:pt x="12" y="592"/>
                </a:cubicBezTo>
                <a:close/>
                <a:moveTo>
                  <a:pt x="12" y="616"/>
                </a:moveTo>
                <a:cubicBezTo>
                  <a:pt x="12" y="612"/>
                  <a:pt x="12" y="612"/>
                  <a:pt x="12" y="612"/>
                </a:cubicBezTo>
                <a:cubicBezTo>
                  <a:pt x="12" y="609"/>
                  <a:pt x="9" y="606"/>
                  <a:pt x="6" y="606"/>
                </a:cubicBezTo>
                <a:cubicBezTo>
                  <a:pt x="3" y="606"/>
                  <a:pt x="0" y="609"/>
                  <a:pt x="0" y="612"/>
                </a:cubicBezTo>
                <a:cubicBezTo>
                  <a:pt x="0" y="616"/>
                  <a:pt x="0" y="616"/>
                  <a:pt x="0" y="616"/>
                </a:cubicBezTo>
                <a:cubicBezTo>
                  <a:pt x="0" y="619"/>
                  <a:pt x="3" y="622"/>
                  <a:pt x="6" y="622"/>
                </a:cubicBezTo>
                <a:cubicBezTo>
                  <a:pt x="9" y="622"/>
                  <a:pt x="12" y="619"/>
                  <a:pt x="12" y="616"/>
                </a:cubicBezTo>
                <a:close/>
                <a:moveTo>
                  <a:pt x="12" y="639"/>
                </a:moveTo>
                <a:cubicBezTo>
                  <a:pt x="12" y="635"/>
                  <a:pt x="12" y="635"/>
                  <a:pt x="12" y="635"/>
                </a:cubicBezTo>
                <a:cubicBezTo>
                  <a:pt x="12" y="632"/>
                  <a:pt x="9" y="630"/>
                  <a:pt x="6" y="630"/>
                </a:cubicBezTo>
                <a:cubicBezTo>
                  <a:pt x="3" y="630"/>
                  <a:pt x="0" y="632"/>
                  <a:pt x="0" y="635"/>
                </a:cubicBezTo>
                <a:cubicBezTo>
                  <a:pt x="0" y="639"/>
                  <a:pt x="0" y="639"/>
                  <a:pt x="0" y="639"/>
                </a:cubicBezTo>
                <a:cubicBezTo>
                  <a:pt x="0" y="643"/>
                  <a:pt x="3" y="645"/>
                  <a:pt x="6" y="645"/>
                </a:cubicBezTo>
                <a:cubicBezTo>
                  <a:pt x="9" y="645"/>
                  <a:pt x="12" y="643"/>
                  <a:pt x="12" y="639"/>
                </a:cubicBezTo>
                <a:close/>
                <a:moveTo>
                  <a:pt x="12" y="663"/>
                </a:moveTo>
                <a:cubicBezTo>
                  <a:pt x="12" y="659"/>
                  <a:pt x="12" y="659"/>
                  <a:pt x="12" y="659"/>
                </a:cubicBezTo>
                <a:cubicBezTo>
                  <a:pt x="12" y="656"/>
                  <a:pt x="9" y="653"/>
                  <a:pt x="6" y="653"/>
                </a:cubicBezTo>
                <a:cubicBezTo>
                  <a:pt x="3" y="653"/>
                  <a:pt x="0" y="656"/>
                  <a:pt x="0" y="659"/>
                </a:cubicBezTo>
                <a:cubicBezTo>
                  <a:pt x="0" y="663"/>
                  <a:pt x="0" y="663"/>
                  <a:pt x="0" y="663"/>
                </a:cubicBezTo>
                <a:cubicBezTo>
                  <a:pt x="0" y="666"/>
                  <a:pt x="3" y="669"/>
                  <a:pt x="6" y="669"/>
                </a:cubicBezTo>
                <a:cubicBezTo>
                  <a:pt x="9" y="669"/>
                  <a:pt x="12" y="666"/>
                  <a:pt x="12" y="663"/>
                </a:cubicBezTo>
                <a:close/>
                <a:moveTo>
                  <a:pt x="12" y="686"/>
                </a:moveTo>
                <a:cubicBezTo>
                  <a:pt x="12" y="682"/>
                  <a:pt x="12" y="682"/>
                  <a:pt x="12" y="682"/>
                </a:cubicBezTo>
                <a:cubicBezTo>
                  <a:pt x="12" y="679"/>
                  <a:pt x="9" y="676"/>
                  <a:pt x="6" y="676"/>
                </a:cubicBezTo>
                <a:cubicBezTo>
                  <a:pt x="3" y="676"/>
                  <a:pt x="0" y="679"/>
                  <a:pt x="0" y="682"/>
                </a:cubicBezTo>
                <a:cubicBezTo>
                  <a:pt x="0" y="686"/>
                  <a:pt x="0" y="686"/>
                  <a:pt x="0" y="686"/>
                </a:cubicBezTo>
                <a:cubicBezTo>
                  <a:pt x="0" y="689"/>
                  <a:pt x="3" y="692"/>
                  <a:pt x="6" y="692"/>
                </a:cubicBezTo>
                <a:cubicBezTo>
                  <a:pt x="9" y="692"/>
                  <a:pt x="12" y="689"/>
                  <a:pt x="12" y="686"/>
                </a:cubicBezTo>
                <a:close/>
                <a:moveTo>
                  <a:pt x="12" y="709"/>
                </a:moveTo>
                <a:cubicBezTo>
                  <a:pt x="12" y="706"/>
                  <a:pt x="12" y="706"/>
                  <a:pt x="12" y="706"/>
                </a:cubicBezTo>
                <a:cubicBezTo>
                  <a:pt x="12" y="702"/>
                  <a:pt x="9" y="700"/>
                  <a:pt x="6" y="700"/>
                </a:cubicBezTo>
                <a:cubicBezTo>
                  <a:pt x="3" y="700"/>
                  <a:pt x="0" y="702"/>
                  <a:pt x="0" y="706"/>
                </a:cubicBezTo>
                <a:cubicBezTo>
                  <a:pt x="0" y="709"/>
                  <a:pt x="0" y="709"/>
                  <a:pt x="0" y="709"/>
                </a:cubicBezTo>
                <a:cubicBezTo>
                  <a:pt x="0" y="713"/>
                  <a:pt x="3" y="715"/>
                  <a:pt x="6" y="715"/>
                </a:cubicBezTo>
                <a:cubicBezTo>
                  <a:pt x="9" y="715"/>
                  <a:pt x="12" y="713"/>
                  <a:pt x="12" y="709"/>
                </a:cubicBezTo>
                <a:close/>
                <a:moveTo>
                  <a:pt x="12" y="733"/>
                </a:moveTo>
                <a:cubicBezTo>
                  <a:pt x="12" y="729"/>
                  <a:pt x="12" y="729"/>
                  <a:pt x="12" y="729"/>
                </a:cubicBezTo>
                <a:cubicBezTo>
                  <a:pt x="12" y="726"/>
                  <a:pt x="9" y="723"/>
                  <a:pt x="6" y="723"/>
                </a:cubicBezTo>
                <a:cubicBezTo>
                  <a:pt x="3" y="723"/>
                  <a:pt x="0" y="726"/>
                  <a:pt x="0" y="729"/>
                </a:cubicBezTo>
                <a:cubicBezTo>
                  <a:pt x="0" y="733"/>
                  <a:pt x="0" y="733"/>
                  <a:pt x="0" y="733"/>
                </a:cubicBezTo>
                <a:cubicBezTo>
                  <a:pt x="0" y="736"/>
                  <a:pt x="3" y="739"/>
                  <a:pt x="6" y="739"/>
                </a:cubicBezTo>
                <a:cubicBezTo>
                  <a:pt x="9" y="739"/>
                  <a:pt x="12" y="736"/>
                  <a:pt x="12" y="733"/>
                </a:cubicBezTo>
                <a:close/>
                <a:moveTo>
                  <a:pt x="12" y="756"/>
                </a:moveTo>
                <a:cubicBezTo>
                  <a:pt x="12" y="752"/>
                  <a:pt x="12" y="752"/>
                  <a:pt x="12" y="752"/>
                </a:cubicBezTo>
                <a:cubicBezTo>
                  <a:pt x="12" y="749"/>
                  <a:pt x="9" y="747"/>
                  <a:pt x="6" y="747"/>
                </a:cubicBezTo>
                <a:cubicBezTo>
                  <a:pt x="3" y="747"/>
                  <a:pt x="0" y="749"/>
                  <a:pt x="0" y="752"/>
                </a:cubicBezTo>
                <a:cubicBezTo>
                  <a:pt x="0" y="756"/>
                  <a:pt x="0" y="756"/>
                  <a:pt x="0" y="756"/>
                </a:cubicBezTo>
                <a:cubicBezTo>
                  <a:pt x="0" y="759"/>
                  <a:pt x="3" y="762"/>
                  <a:pt x="6" y="762"/>
                </a:cubicBezTo>
                <a:cubicBezTo>
                  <a:pt x="9" y="762"/>
                  <a:pt x="12" y="759"/>
                  <a:pt x="12" y="756"/>
                </a:cubicBezTo>
                <a:close/>
                <a:moveTo>
                  <a:pt x="12" y="780"/>
                </a:moveTo>
                <a:cubicBezTo>
                  <a:pt x="12" y="776"/>
                  <a:pt x="12" y="776"/>
                  <a:pt x="12" y="776"/>
                </a:cubicBezTo>
                <a:cubicBezTo>
                  <a:pt x="12" y="773"/>
                  <a:pt x="9" y="770"/>
                  <a:pt x="6" y="770"/>
                </a:cubicBezTo>
                <a:cubicBezTo>
                  <a:pt x="3" y="770"/>
                  <a:pt x="0" y="773"/>
                  <a:pt x="0" y="776"/>
                </a:cubicBezTo>
                <a:cubicBezTo>
                  <a:pt x="0" y="780"/>
                  <a:pt x="0" y="780"/>
                  <a:pt x="0" y="780"/>
                </a:cubicBezTo>
                <a:cubicBezTo>
                  <a:pt x="0" y="783"/>
                  <a:pt x="3" y="785"/>
                  <a:pt x="6" y="785"/>
                </a:cubicBezTo>
                <a:cubicBezTo>
                  <a:pt x="9" y="785"/>
                  <a:pt x="12" y="783"/>
                  <a:pt x="12" y="780"/>
                </a:cubicBezTo>
                <a:close/>
                <a:moveTo>
                  <a:pt x="12" y="803"/>
                </a:moveTo>
                <a:cubicBezTo>
                  <a:pt x="12" y="799"/>
                  <a:pt x="12" y="799"/>
                  <a:pt x="12" y="799"/>
                </a:cubicBezTo>
                <a:cubicBezTo>
                  <a:pt x="12" y="796"/>
                  <a:pt x="9" y="793"/>
                  <a:pt x="6" y="793"/>
                </a:cubicBezTo>
                <a:cubicBezTo>
                  <a:pt x="3" y="793"/>
                  <a:pt x="0" y="796"/>
                  <a:pt x="0" y="799"/>
                </a:cubicBezTo>
                <a:cubicBezTo>
                  <a:pt x="0" y="803"/>
                  <a:pt x="0" y="803"/>
                  <a:pt x="0" y="803"/>
                </a:cubicBezTo>
                <a:cubicBezTo>
                  <a:pt x="0" y="806"/>
                  <a:pt x="3" y="809"/>
                  <a:pt x="6" y="809"/>
                </a:cubicBezTo>
                <a:cubicBezTo>
                  <a:pt x="9" y="809"/>
                  <a:pt x="12" y="806"/>
                  <a:pt x="12" y="803"/>
                </a:cubicBezTo>
                <a:close/>
                <a:moveTo>
                  <a:pt x="12" y="826"/>
                </a:moveTo>
                <a:cubicBezTo>
                  <a:pt x="12" y="823"/>
                  <a:pt x="12" y="823"/>
                  <a:pt x="12" y="823"/>
                </a:cubicBezTo>
                <a:cubicBezTo>
                  <a:pt x="12" y="819"/>
                  <a:pt x="9" y="817"/>
                  <a:pt x="6" y="817"/>
                </a:cubicBezTo>
                <a:cubicBezTo>
                  <a:pt x="3" y="817"/>
                  <a:pt x="0" y="819"/>
                  <a:pt x="0" y="823"/>
                </a:cubicBezTo>
                <a:cubicBezTo>
                  <a:pt x="0" y="826"/>
                  <a:pt x="0" y="826"/>
                  <a:pt x="0" y="826"/>
                </a:cubicBezTo>
                <a:cubicBezTo>
                  <a:pt x="0" y="830"/>
                  <a:pt x="3" y="832"/>
                  <a:pt x="6" y="832"/>
                </a:cubicBezTo>
                <a:cubicBezTo>
                  <a:pt x="9" y="832"/>
                  <a:pt x="12" y="830"/>
                  <a:pt x="12" y="826"/>
                </a:cubicBezTo>
                <a:close/>
                <a:moveTo>
                  <a:pt x="12" y="850"/>
                </a:moveTo>
                <a:cubicBezTo>
                  <a:pt x="12" y="846"/>
                  <a:pt x="12" y="846"/>
                  <a:pt x="12" y="846"/>
                </a:cubicBezTo>
                <a:cubicBezTo>
                  <a:pt x="12" y="843"/>
                  <a:pt x="9" y="840"/>
                  <a:pt x="6" y="840"/>
                </a:cubicBezTo>
                <a:cubicBezTo>
                  <a:pt x="3" y="840"/>
                  <a:pt x="0" y="843"/>
                  <a:pt x="0" y="846"/>
                </a:cubicBezTo>
                <a:cubicBezTo>
                  <a:pt x="0" y="850"/>
                  <a:pt x="0" y="850"/>
                  <a:pt x="0" y="850"/>
                </a:cubicBezTo>
                <a:cubicBezTo>
                  <a:pt x="0" y="853"/>
                  <a:pt x="3" y="856"/>
                  <a:pt x="6" y="856"/>
                </a:cubicBezTo>
                <a:cubicBezTo>
                  <a:pt x="9" y="856"/>
                  <a:pt x="12" y="853"/>
                  <a:pt x="12" y="850"/>
                </a:cubicBezTo>
                <a:close/>
                <a:moveTo>
                  <a:pt x="12" y="873"/>
                </a:moveTo>
                <a:cubicBezTo>
                  <a:pt x="12" y="869"/>
                  <a:pt x="12" y="869"/>
                  <a:pt x="12" y="869"/>
                </a:cubicBezTo>
                <a:cubicBezTo>
                  <a:pt x="12" y="866"/>
                  <a:pt x="9" y="863"/>
                  <a:pt x="6" y="863"/>
                </a:cubicBezTo>
                <a:cubicBezTo>
                  <a:pt x="3" y="863"/>
                  <a:pt x="0" y="866"/>
                  <a:pt x="0" y="869"/>
                </a:cubicBezTo>
                <a:cubicBezTo>
                  <a:pt x="0" y="873"/>
                  <a:pt x="0" y="873"/>
                  <a:pt x="0" y="873"/>
                </a:cubicBezTo>
                <a:cubicBezTo>
                  <a:pt x="0" y="876"/>
                  <a:pt x="3" y="879"/>
                  <a:pt x="6" y="879"/>
                </a:cubicBezTo>
                <a:cubicBezTo>
                  <a:pt x="9" y="879"/>
                  <a:pt x="12" y="876"/>
                  <a:pt x="12" y="873"/>
                </a:cubicBezTo>
                <a:close/>
                <a:moveTo>
                  <a:pt x="12" y="897"/>
                </a:moveTo>
                <a:cubicBezTo>
                  <a:pt x="12" y="893"/>
                  <a:pt x="12" y="893"/>
                  <a:pt x="12" y="893"/>
                </a:cubicBezTo>
                <a:cubicBezTo>
                  <a:pt x="12" y="889"/>
                  <a:pt x="9" y="887"/>
                  <a:pt x="6" y="887"/>
                </a:cubicBezTo>
                <a:cubicBezTo>
                  <a:pt x="3" y="887"/>
                  <a:pt x="0" y="889"/>
                  <a:pt x="0" y="893"/>
                </a:cubicBezTo>
                <a:cubicBezTo>
                  <a:pt x="0" y="897"/>
                  <a:pt x="0" y="897"/>
                  <a:pt x="0" y="897"/>
                </a:cubicBezTo>
                <a:cubicBezTo>
                  <a:pt x="0" y="900"/>
                  <a:pt x="3" y="902"/>
                  <a:pt x="6" y="902"/>
                </a:cubicBezTo>
                <a:cubicBezTo>
                  <a:pt x="9" y="902"/>
                  <a:pt x="12" y="900"/>
                  <a:pt x="12" y="897"/>
                </a:cubicBezTo>
                <a:close/>
                <a:moveTo>
                  <a:pt x="12" y="920"/>
                </a:moveTo>
                <a:cubicBezTo>
                  <a:pt x="12" y="916"/>
                  <a:pt x="12" y="916"/>
                  <a:pt x="12" y="916"/>
                </a:cubicBezTo>
                <a:cubicBezTo>
                  <a:pt x="12" y="913"/>
                  <a:pt x="9" y="910"/>
                  <a:pt x="6" y="910"/>
                </a:cubicBezTo>
                <a:cubicBezTo>
                  <a:pt x="3" y="910"/>
                  <a:pt x="0" y="913"/>
                  <a:pt x="0" y="916"/>
                </a:cubicBezTo>
                <a:cubicBezTo>
                  <a:pt x="0" y="920"/>
                  <a:pt x="0" y="920"/>
                  <a:pt x="0" y="920"/>
                </a:cubicBezTo>
                <a:cubicBezTo>
                  <a:pt x="0" y="923"/>
                  <a:pt x="3" y="926"/>
                  <a:pt x="6" y="926"/>
                </a:cubicBezTo>
                <a:cubicBezTo>
                  <a:pt x="9" y="926"/>
                  <a:pt x="12" y="923"/>
                  <a:pt x="12" y="920"/>
                </a:cubicBezTo>
                <a:close/>
                <a:moveTo>
                  <a:pt x="12" y="943"/>
                </a:moveTo>
                <a:cubicBezTo>
                  <a:pt x="12" y="940"/>
                  <a:pt x="12" y="940"/>
                  <a:pt x="12" y="940"/>
                </a:cubicBezTo>
                <a:cubicBezTo>
                  <a:pt x="12" y="936"/>
                  <a:pt x="9" y="934"/>
                  <a:pt x="6" y="934"/>
                </a:cubicBezTo>
                <a:cubicBezTo>
                  <a:pt x="3" y="934"/>
                  <a:pt x="0" y="936"/>
                  <a:pt x="0" y="940"/>
                </a:cubicBezTo>
                <a:cubicBezTo>
                  <a:pt x="0" y="943"/>
                  <a:pt x="0" y="943"/>
                  <a:pt x="0" y="943"/>
                </a:cubicBezTo>
                <a:cubicBezTo>
                  <a:pt x="0" y="947"/>
                  <a:pt x="3" y="949"/>
                  <a:pt x="6" y="949"/>
                </a:cubicBezTo>
                <a:cubicBezTo>
                  <a:pt x="9" y="949"/>
                  <a:pt x="12" y="947"/>
                  <a:pt x="12" y="943"/>
                </a:cubicBezTo>
                <a:close/>
                <a:moveTo>
                  <a:pt x="12" y="967"/>
                </a:moveTo>
                <a:cubicBezTo>
                  <a:pt x="12" y="963"/>
                  <a:pt x="12" y="963"/>
                  <a:pt x="12" y="963"/>
                </a:cubicBezTo>
                <a:cubicBezTo>
                  <a:pt x="12" y="960"/>
                  <a:pt x="9" y="957"/>
                  <a:pt x="6" y="957"/>
                </a:cubicBezTo>
                <a:cubicBezTo>
                  <a:pt x="3" y="957"/>
                  <a:pt x="0" y="960"/>
                  <a:pt x="0" y="963"/>
                </a:cubicBezTo>
                <a:cubicBezTo>
                  <a:pt x="0" y="967"/>
                  <a:pt x="0" y="967"/>
                  <a:pt x="0" y="967"/>
                </a:cubicBezTo>
                <a:cubicBezTo>
                  <a:pt x="0" y="970"/>
                  <a:pt x="3" y="973"/>
                  <a:pt x="6" y="973"/>
                </a:cubicBezTo>
                <a:cubicBezTo>
                  <a:pt x="9" y="973"/>
                  <a:pt x="12" y="970"/>
                  <a:pt x="12" y="967"/>
                </a:cubicBezTo>
                <a:close/>
                <a:moveTo>
                  <a:pt x="12" y="990"/>
                </a:moveTo>
                <a:cubicBezTo>
                  <a:pt x="12" y="986"/>
                  <a:pt x="12" y="986"/>
                  <a:pt x="12" y="986"/>
                </a:cubicBezTo>
                <a:cubicBezTo>
                  <a:pt x="12" y="983"/>
                  <a:pt x="9" y="980"/>
                  <a:pt x="6" y="980"/>
                </a:cubicBezTo>
                <a:cubicBezTo>
                  <a:pt x="3" y="980"/>
                  <a:pt x="0" y="983"/>
                  <a:pt x="0" y="986"/>
                </a:cubicBezTo>
                <a:cubicBezTo>
                  <a:pt x="0" y="990"/>
                  <a:pt x="0" y="990"/>
                  <a:pt x="0" y="990"/>
                </a:cubicBezTo>
                <a:cubicBezTo>
                  <a:pt x="0" y="993"/>
                  <a:pt x="3" y="996"/>
                  <a:pt x="6" y="996"/>
                </a:cubicBezTo>
                <a:cubicBezTo>
                  <a:pt x="9" y="996"/>
                  <a:pt x="12" y="993"/>
                  <a:pt x="12" y="990"/>
                </a:cubicBezTo>
                <a:close/>
                <a:moveTo>
                  <a:pt x="12" y="1014"/>
                </a:moveTo>
                <a:cubicBezTo>
                  <a:pt x="12" y="1010"/>
                  <a:pt x="12" y="1010"/>
                  <a:pt x="12" y="1010"/>
                </a:cubicBezTo>
                <a:cubicBezTo>
                  <a:pt x="12" y="1006"/>
                  <a:pt x="9" y="1004"/>
                  <a:pt x="6" y="1004"/>
                </a:cubicBezTo>
                <a:cubicBezTo>
                  <a:pt x="3" y="1004"/>
                  <a:pt x="0" y="1006"/>
                  <a:pt x="0" y="1010"/>
                </a:cubicBezTo>
                <a:cubicBezTo>
                  <a:pt x="0" y="1014"/>
                  <a:pt x="0" y="1014"/>
                  <a:pt x="0" y="1014"/>
                </a:cubicBezTo>
                <a:cubicBezTo>
                  <a:pt x="0" y="1017"/>
                  <a:pt x="3" y="1019"/>
                  <a:pt x="6" y="1019"/>
                </a:cubicBezTo>
                <a:cubicBezTo>
                  <a:pt x="9" y="1019"/>
                  <a:pt x="12" y="1017"/>
                  <a:pt x="12" y="1014"/>
                </a:cubicBezTo>
                <a:close/>
                <a:moveTo>
                  <a:pt x="12" y="1037"/>
                </a:moveTo>
                <a:cubicBezTo>
                  <a:pt x="12" y="1033"/>
                  <a:pt x="12" y="1033"/>
                  <a:pt x="12" y="1033"/>
                </a:cubicBezTo>
                <a:cubicBezTo>
                  <a:pt x="12" y="1030"/>
                  <a:pt x="9" y="1027"/>
                  <a:pt x="6" y="1027"/>
                </a:cubicBezTo>
                <a:cubicBezTo>
                  <a:pt x="3" y="1027"/>
                  <a:pt x="0" y="1030"/>
                  <a:pt x="0" y="1033"/>
                </a:cubicBezTo>
                <a:cubicBezTo>
                  <a:pt x="0" y="1037"/>
                  <a:pt x="0" y="1037"/>
                  <a:pt x="0" y="1037"/>
                </a:cubicBezTo>
                <a:cubicBezTo>
                  <a:pt x="0" y="1040"/>
                  <a:pt x="3" y="1043"/>
                  <a:pt x="6" y="1043"/>
                </a:cubicBezTo>
                <a:cubicBezTo>
                  <a:pt x="9" y="1043"/>
                  <a:pt x="12" y="1040"/>
                  <a:pt x="12" y="1037"/>
                </a:cubicBezTo>
                <a:close/>
                <a:moveTo>
                  <a:pt x="12" y="1060"/>
                </a:moveTo>
                <a:cubicBezTo>
                  <a:pt x="12" y="1056"/>
                  <a:pt x="12" y="1056"/>
                  <a:pt x="12" y="1056"/>
                </a:cubicBezTo>
                <a:cubicBezTo>
                  <a:pt x="12" y="1053"/>
                  <a:pt x="9" y="1051"/>
                  <a:pt x="6" y="1051"/>
                </a:cubicBezTo>
                <a:cubicBezTo>
                  <a:pt x="3" y="1051"/>
                  <a:pt x="0" y="1053"/>
                  <a:pt x="0" y="1056"/>
                </a:cubicBezTo>
                <a:cubicBezTo>
                  <a:pt x="0" y="1060"/>
                  <a:pt x="0" y="1060"/>
                  <a:pt x="0" y="1060"/>
                </a:cubicBezTo>
                <a:cubicBezTo>
                  <a:pt x="0" y="1064"/>
                  <a:pt x="3" y="1066"/>
                  <a:pt x="6" y="1066"/>
                </a:cubicBezTo>
                <a:cubicBezTo>
                  <a:pt x="9" y="1066"/>
                  <a:pt x="12" y="1064"/>
                  <a:pt x="12" y="1060"/>
                </a:cubicBezTo>
                <a:close/>
                <a:moveTo>
                  <a:pt x="12" y="1084"/>
                </a:moveTo>
                <a:cubicBezTo>
                  <a:pt x="12" y="1080"/>
                  <a:pt x="12" y="1080"/>
                  <a:pt x="12" y="1080"/>
                </a:cubicBezTo>
                <a:cubicBezTo>
                  <a:pt x="12" y="1077"/>
                  <a:pt x="9" y="1074"/>
                  <a:pt x="6" y="1074"/>
                </a:cubicBezTo>
                <a:cubicBezTo>
                  <a:pt x="3" y="1074"/>
                  <a:pt x="0" y="1077"/>
                  <a:pt x="0" y="1080"/>
                </a:cubicBezTo>
                <a:cubicBezTo>
                  <a:pt x="0" y="1084"/>
                  <a:pt x="0" y="1084"/>
                  <a:pt x="0" y="1084"/>
                </a:cubicBezTo>
                <a:cubicBezTo>
                  <a:pt x="0" y="1087"/>
                  <a:pt x="3" y="1090"/>
                  <a:pt x="6" y="1090"/>
                </a:cubicBezTo>
                <a:cubicBezTo>
                  <a:pt x="9" y="1090"/>
                  <a:pt x="12" y="1087"/>
                  <a:pt x="12" y="1084"/>
                </a:cubicBezTo>
                <a:close/>
                <a:moveTo>
                  <a:pt x="12" y="1107"/>
                </a:moveTo>
                <a:cubicBezTo>
                  <a:pt x="12" y="1103"/>
                  <a:pt x="12" y="1103"/>
                  <a:pt x="12" y="1103"/>
                </a:cubicBezTo>
                <a:cubicBezTo>
                  <a:pt x="12" y="1100"/>
                  <a:pt x="9" y="1097"/>
                  <a:pt x="6" y="1097"/>
                </a:cubicBezTo>
                <a:cubicBezTo>
                  <a:pt x="3" y="1097"/>
                  <a:pt x="0" y="1100"/>
                  <a:pt x="0" y="1103"/>
                </a:cubicBezTo>
                <a:cubicBezTo>
                  <a:pt x="0" y="1107"/>
                  <a:pt x="0" y="1107"/>
                  <a:pt x="0" y="1107"/>
                </a:cubicBezTo>
                <a:cubicBezTo>
                  <a:pt x="0" y="1110"/>
                  <a:pt x="3" y="1113"/>
                  <a:pt x="6" y="1113"/>
                </a:cubicBezTo>
                <a:cubicBezTo>
                  <a:pt x="9" y="1113"/>
                  <a:pt x="12" y="1110"/>
                  <a:pt x="12" y="1107"/>
                </a:cubicBezTo>
                <a:close/>
                <a:moveTo>
                  <a:pt x="12" y="1131"/>
                </a:moveTo>
                <a:cubicBezTo>
                  <a:pt x="12" y="1127"/>
                  <a:pt x="12" y="1127"/>
                  <a:pt x="12" y="1127"/>
                </a:cubicBezTo>
                <a:cubicBezTo>
                  <a:pt x="12" y="1123"/>
                  <a:pt x="9" y="1121"/>
                  <a:pt x="6" y="1121"/>
                </a:cubicBezTo>
                <a:cubicBezTo>
                  <a:pt x="3" y="1121"/>
                  <a:pt x="0" y="1123"/>
                  <a:pt x="0" y="1127"/>
                </a:cubicBezTo>
                <a:cubicBezTo>
                  <a:pt x="0" y="1131"/>
                  <a:pt x="0" y="1131"/>
                  <a:pt x="0" y="1131"/>
                </a:cubicBezTo>
                <a:cubicBezTo>
                  <a:pt x="0" y="1134"/>
                  <a:pt x="3" y="1136"/>
                  <a:pt x="6" y="1136"/>
                </a:cubicBezTo>
                <a:cubicBezTo>
                  <a:pt x="9" y="1136"/>
                  <a:pt x="12" y="1134"/>
                  <a:pt x="12" y="1131"/>
                </a:cubicBezTo>
                <a:close/>
                <a:moveTo>
                  <a:pt x="12" y="1154"/>
                </a:moveTo>
                <a:cubicBezTo>
                  <a:pt x="12" y="1150"/>
                  <a:pt x="12" y="1150"/>
                  <a:pt x="12" y="1150"/>
                </a:cubicBezTo>
                <a:cubicBezTo>
                  <a:pt x="12" y="1147"/>
                  <a:pt x="9" y="1144"/>
                  <a:pt x="6" y="1144"/>
                </a:cubicBezTo>
                <a:cubicBezTo>
                  <a:pt x="3" y="1144"/>
                  <a:pt x="0" y="1147"/>
                  <a:pt x="0" y="1150"/>
                </a:cubicBezTo>
                <a:cubicBezTo>
                  <a:pt x="0" y="1154"/>
                  <a:pt x="0" y="1154"/>
                  <a:pt x="0" y="1154"/>
                </a:cubicBezTo>
                <a:cubicBezTo>
                  <a:pt x="0" y="1157"/>
                  <a:pt x="3" y="1160"/>
                  <a:pt x="6" y="1160"/>
                </a:cubicBezTo>
                <a:cubicBezTo>
                  <a:pt x="9" y="1160"/>
                  <a:pt x="12" y="1157"/>
                  <a:pt x="12" y="1154"/>
                </a:cubicBezTo>
                <a:close/>
                <a:moveTo>
                  <a:pt x="12" y="1177"/>
                </a:moveTo>
                <a:cubicBezTo>
                  <a:pt x="12" y="1173"/>
                  <a:pt x="12" y="1173"/>
                  <a:pt x="12" y="1173"/>
                </a:cubicBezTo>
                <a:cubicBezTo>
                  <a:pt x="12" y="1170"/>
                  <a:pt x="9" y="1168"/>
                  <a:pt x="6" y="1168"/>
                </a:cubicBezTo>
                <a:cubicBezTo>
                  <a:pt x="3" y="1168"/>
                  <a:pt x="0" y="1170"/>
                  <a:pt x="0" y="1173"/>
                </a:cubicBezTo>
                <a:cubicBezTo>
                  <a:pt x="0" y="1177"/>
                  <a:pt x="0" y="1177"/>
                  <a:pt x="0" y="1177"/>
                </a:cubicBezTo>
                <a:cubicBezTo>
                  <a:pt x="0" y="1181"/>
                  <a:pt x="3" y="1183"/>
                  <a:pt x="6" y="1183"/>
                </a:cubicBezTo>
                <a:cubicBezTo>
                  <a:pt x="9" y="1183"/>
                  <a:pt x="12" y="1181"/>
                  <a:pt x="12" y="1177"/>
                </a:cubicBezTo>
                <a:close/>
                <a:moveTo>
                  <a:pt x="12" y="1201"/>
                </a:moveTo>
                <a:cubicBezTo>
                  <a:pt x="12" y="1197"/>
                  <a:pt x="12" y="1197"/>
                  <a:pt x="12" y="1197"/>
                </a:cubicBezTo>
                <a:cubicBezTo>
                  <a:pt x="12" y="1194"/>
                  <a:pt x="9" y="1191"/>
                  <a:pt x="6" y="1191"/>
                </a:cubicBezTo>
                <a:cubicBezTo>
                  <a:pt x="3" y="1191"/>
                  <a:pt x="0" y="1194"/>
                  <a:pt x="0" y="1197"/>
                </a:cubicBezTo>
                <a:cubicBezTo>
                  <a:pt x="0" y="1201"/>
                  <a:pt x="0" y="1201"/>
                  <a:pt x="0" y="1201"/>
                </a:cubicBezTo>
                <a:cubicBezTo>
                  <a:pt x="0" y="1204"/>
                  <a:pt x="3" y="1207"/>
                  <a:pt x="6" y="1207"/>
                </a:cubicBezTo>
                <a:cubicBezTo>
                  <a:pt x="9" y="1207"/>
                  <a:pt x="12" y="1204"/>
                  <a:pt x="12" y="1201"/>
                </a:cubicBezTo>
                <a:close/>
                <a:moveTo>
                  <a:pt x="12" y="1224"/>
                </a:moveTo>
                <a:cubicBezTo>
                  <a:pt x="12" y="1220"/>
                  <a:pt x="12" y="1220"/>
                  <a:pt x="12" y="1220"/>
                </a:cubicBezTo>
                <a:cubicBezTo>
                  <a:pt x="12" y="1217"/>
                  <a:pt x="9" y="1214"/>
                  <a:pt x="6" y="1214"/>
                </a:cubicBezTo>
                <a:cubicBezTo>
                  <a:pt x="3" y="1214"/>
                  <a:pt x="0" y="1217"/>
                  <a:pt x="0" y="1220"/>
                </a:cubicBezTo>
                <a:cubicBezTo>
                  <a:pt x="0" y="1224"/>
                  <a:pt x="0" y="1224"/>
                  <a:pt x="0" y="1224"/>
                </a:cubicBezTo>
                <a:cubicBezTo>
                  <a:pt x="0" y="1227"/>
                  <a:pt x="3" y="1230"/>
                  <a:pt x="6" y="1230"/>
                </a:cubicBezTo>
                <a:cubicBezTo>
                  <a:pt x="9" y="1230"/>
                  <a:pt x="12" y="1227"/>
                  <a:pt x="12" y="1224"/>
                </a:cubicBezTo>
                <a:close/>
                <a:moveTo>
                  <a:pt x="12" y="1248"/>
                </a:moveTo>
                <a:cubicBezTo>
                  <a:pt x="12" y="1244"/>
                  <a:pt x="12" y="1244"/>
                  <a:pt x="12" y="1244"/>
                </a:cubicBezTo>
                <a:cubicBezTo>
                  <a:pt x="12" y="1240"/>
                  <a:pt x="9" y="1238"/>
                  <a:pt x="6" y="1238"/>
                </a:cubicBezTo>
                <a:cubicBezTo>
                  <a:pt x="3" y="1238"/>
                  <a:pt x="0" y="1240"/>
                  <a:pt x="0" y="1244"/>
                </a:cubicBezTo>
                <a:cubicBezTo>
                  <a:pt x="0" y="1248"/>
                  <a:pt x="0" y="1248"/>
                  <a:pt x="0" y="1248"/>
                </a:cubicBezTo>
                <a:cubicBezTo>
                  <a:pt x="0" y="1251"/>
                  <a:pt x="3" y="1253"/>
                  <a:pt x="6" y="1253"/>
                </a:cubicBezTo>
                <a:cubicBezTo>
                  <a:pt x="9" y="1253"/>
                  <a:pt x="12" y="1251"/>
                  <a:pt x="12" y="1248"/>
                </a:cubicBezTo>
                <a:close/>
                <a:moveTo>
                  <a:pt x="12" y="1271"/>
                </a:moveTo>
                <a:cubicBezTo>
                  <a:pt x="12" y="1267"/>
                  <a:pt x="12" y="1267"/>
                  <a:pt x="12" y="1267"/>
                </a:cubicBezTo>
                <a:cubicBezTo>
                  <a:pt x="12" y="1264"/>
                  <a:pt x="9" y="1261"/>
                  <a:pt x="6" y="1261"/>
                </a:cubicBezTo>
                <a:cubicBezTo>
                  <a:pt x="3" y="1261"/>
                  <a:pt x="0" y="1264"/>
                  <a:pt x="0" y="1267"/>
                </a:cubicBezTo>
                <a:cubicBezTo>
                  <a:pt x="0" y="1271"/>
                  <a:pt x="0" y="1271"/>
                  <a:pt x="0" y="1271"/>
                </a:cubicBezTo>
                <a:cubicBezTo>
                  <a:pt x="0" y="1274"/>
                  <a:pt x="3" y="1277"/>
                  <a:pt x="6" y="1277"/>
                </a:cubicBezTo>
                <a:cubicBezTo>
                  <a:pt x="9" y="1277"/>
                  <a:pt x="12" y="1274"/>
                  <a:pt x="12" y="1271"/>
                </a:cubicBezTo>
                <a:close/>
                <a:moveTo>
                  <a:pt x="12" y="1294"/>
                </a:moveTo>
                <a:cubicBezTo>
                  <a:pt x="12" y="1290"/>
                  <a:pt x="12" y="1290"/>
                  <a:pt x="12" y="1290"/>
                </a:cubicBezTo>
                <a:cubicBezTo>
                  <a:pt x="12" y="1287"/>
                  <a:pt x="9" y="1285"/>
                  <a:pt x="6" y="1285"/>
                </a:cubicBezTo>
                <a:cubicBezTo>
                  <a:pt x="3" y="1285"/>
                  <a:pt x="0" y="1287"/>
                  <a:pt x="0" y="1290"/>
                </a:cubicBezTo>
                <a:cubicBezTo>
                  <a:pt x="0" y="1294"/>
                  <a:pt x="0" y="1294"/>
                  <a:pt x="0" y="1294"/>
                </a:cubicBezTo>
                <a:cubicBezTo>
                  <a:pt x="0" y="1298"/>
                  <a:pt x="3" y="1300"/>
                  <a:pt x="6" y="1300"/>
                </a:cubicBezTo>
                <a:cubicBezTo>
                  <a:pt x="9" y="1300"/>
                  <a:pt x="12" y="1298"/>
                  <a:pt x="12" y="1294"/>
                </a:cubicBezTo>
                <a:close/>
                <a:moveTo>
                  <a:pt x="24" y="1294"/>
                </a:moveTo>
                <a:cubicBezTo>
                  <a:pt x="20" y="1294"/>
                  <a:pt x="20" y="1294"/>
                  <a:pt x="20" y="1294"/>
                </a:cubicBezTo>
                <a:cubicBezTo>
                  <a:pt x="17" y="1294"/>
                  <a:pt x="14" y="1297"/>
                  <a:pt x="14" y="1300"/>
                </a:cubicBezTo>
                <a:cubicBezTo>
                  <a:pt x="14" y="1303"/>
                  <a:pt x="17" y="1306"/>
                  <a:pt x="20" y="1306"/>
                </a:cubicBezTo>
                <a:cubicBezTo>
                  <a:pt x="24" y="1306"/>
                  <a:pt x="24" y="1306"/>
                  <a:pt x="24" y="1306"/>
                </a:cubicBezTo>
                <a:cubicBezTo>
                  <a:pt x="27" y="1306"/>
                  <a:pt x="30" y="1303"/>
                  <a:pt x="30" y="1300"/>
                </a:cubicBezTo>
                <a:cubicBezTo>
                  <a:pt x="30" y="1297"/>
                  <a:pt x="27" y="1294"/>
                  <a:pt x="24" y="1294"/>
                </a:cubicBezTo>
                <a:close/>
                <a:moveTo>
                  <a:pt x="47" y="1294"/>
                </a:moveTo>
                <a:cubicBezTo>
                  <a:pt x="43" y="1294"/>
                  <a:pt x="43" y="1294"/>
                  <a:pt x="43" y="1294"/>
                </a:cubicBezTo>
                <a:cubicBezTo>
                  <a:pt x="40" y="1294"/>
                  <a:pt x="38" y="1297"/>
                  <a:pt x="38" y="1300"/>
                </a:cubicBezTo>
                <a:cubicBezTo>
                  <a:pt x="38" y="1303"/>
                  <a:pt x="40" y="1306"/>
                  <a:pt x="43" y="1306"/>
                </a:cubicBezTo>
                <a:cubicBezTo>
                  <a:pt x="47" y="1306"/>
                  <a:pt x="47" y="1306"/>
                  <a:pt x="47" y="1306"/>
                </a:cubicBezTo>
                <a:cubicBezTo>
                  <a:pt x="51" y="1306"/>
                  <a:pt x="53" y="1303"/>
                  <a:pt x="53" y="1300"/>
                </a:cubicBezTo>
                <a:cubicBezTo>
                  <a:pt x="53" y="1297"/>
                  <a:pt x="51" y="1294"/>
                  <a:pt x="47" y="1294"/>
                </a:cubicBezTo>
                <a:close/>
                <a:moveTo>
                  <a:pt x="71" y="1294"/>
                </a:moveTo>
                <a:cubicBezTo>
                  <a:pt x="67" y="1294"/>
                  <a:pt x="67" y="1294"/>
                  <a:pt x="67" y="1294"/>
                </a:cubicBezTo>
                <a:cubicBezTo>
                  <a:pt x="64" y="1294"/>
                  <a:pt x="61" y="1297"/>
                  <a:pt x="61" y="1300"/>
                </a:cubicBezTo>
                <a:cubicBezTo>
                  <a:pt x="61" y="1303"/>
                  <a:pt x="64" y="1306"/>
                  <a:pt x="67" y="1306"/>
                </a:cubicBezTo>
                <a:cubicBezTo>
                  <a:pt x="71" y="1306"/>
                  <a:pt x="71" y="1306"/>
                  <a:pt x="71" y="1306"/>
                </a:cubicBezTo>
                <a:cubicBezTo>
                  <a:pt x="74" y="1306"/>
                  <a:pt x="77" y="1303"/>
                  <a:pt x="77" y="1300"/>
                </a:cubicBezTo>
                <a:cubicBezTo>
                  <a:pt x="77" y="1297"/>
                  <a:pt x="74" y="1294"/>
                  <a:pt x="71" y="1294"/>
                </a:cubicBezTo>
                <a:close/>
                <a:moveTo>
                  <a:pt x="94" y="1294"/>
                </a:moveTo>
                <a:cubicBezTo>
                  <a:pt x="90" y="1294"/>
                  <a:pt x="90" y="1294"/>
                  <a:pt x="90" y="1294"/>
                </a:cubicBezTo>
                <a:cubicBezTo>
                  <a:pt x="87" y="1294"/>
                  <a:pt x="84" y="1297"/>
                  <a:pt x="84" y="1300"/>
                </a:cubicBezTo>
                <a:cubicBezTo>
                  <a:pt x="84" y="1303"/>
                  <a:pt x="87" y="1306"/>
                  <a:pt x="90" y="1306"/>
                </a:cubicBezTo>
                <a:cubicBezTo>
                  <a:pt x="94" y="1306"/>
                  <a:pt x="94" y="1306"/>
                  <a:pt x="94" y="1306"/>
                </a:cubicBezTo>
                <a:cubicBezTo>
                  <a:pt x="97" y="1306"/>
                  <a:pt x="100" y="1303"/>
                  <a:pt x="100" y="1300"/>
                </a:cubicBezTo>
                <a:cubicBezTo>
                  <a:pt x="100" y="1297"/>
                  <a:pt x="97" y="1294"/>
                  <a:pt x="94" y="1294"/>
                </a:cubicBezTo>
                <a:close/>
                <a:moveTo>
                  <a:pt x="117" y="1294"/>
                </a:moveTo>
                <a:cubicBezTo>
                  <a:pt x="114" y="1294"/>
                  <a:pt x="114" y="1294"/>
                  <a:pt x="114" y="1294"/>
                </a:cubicBezTo>
                <a:cubicBezTo>
                  <a:pt x="110" y="1294"/>
                  <a:pt x="108" y="1297"/>
                  <a:pt x="108" y="1300"/>
                </a:cubicBezTo>
                <a:cubicBezTo>
                  <a:pt x="108" y="1303"/>
                  <a:pt x="110" y="1306"/>
                  <a:pt x="114" y="1306"/>
                </a:cubicBezTo>
                <a:cubicBezTo>
                  <a:pt x="117" y="1306"/>
                  <a:pt x="117" y="1306"/>
                  <a:pt x="117" y="1306"/>
                </a:cubicBezTo>
                <a:cubicBezTo>
                  <a:pt x="121" y="1306"/>
                  <a:pt x="123" y="1303"/>
                  <a:pt x="123" y="1300"/>
                </a:cubicBezTo>
                <a:cubicBezTo>
                  <a:pt x="123" y="1297"/>
                  <a:pt x="121" y="1294"/>
                  <a:pt x="117" y="1294"/>
                </a:cubicBezTo>
                <a:close/>
                <a:moveTo>
                  <a:pt x="141" y="1294"/>
                </a:moveTo>
                <a:cubicBezTo>
                  <a:pt x="137" y="1294"/>
                  <a:pt x="137" y="1294"/>
                  <a:pt x="137" y="1294"/>
                </a:cubicBezTo>
                <a:cubicBezTo>
                  <a:pt x="134" y="1294"/>
                  <a:pt x="131" y="1297"/>
                  <a:pt x="131" y="1300"/>
                </a:cubicBezTo>
                <a:cubicBezTo>
                  <a:pt x="131" y="1303"/>
                  <a:pt x="134" y="1306"/>
                  <a:pt x="137" y="1306"/>
                </a:cubicBezTo>
                <a:cubicBezTo>
                  <a:pt x="141" y="1306"/>
                  <a:pt x="141" y="1306"/>
                  <a:pt x="141" y="1306"/>
                </a:cubicBezTo>
                <a:cubicBezTo>
                  <a:pt x="144" y="1306"/>
                  <a:pt x="147" y="1303"/>
                  <a:pt x="147" y="1300"/>
                </a:cubicBezTo>
                <a:cubicBezTo>
                  <a:pt x="147" y="1297"/>
                  <a:pt x="144" y="1294"/>
                  <a:pt x="141" y="1294"/>
                </a:cubicBezTo>
                <a:close/>
                <a:moveTo>
                  <a:pt x="164" y="1294"/>
                </a:moveTo>
                <a:cubicBezTo>
                  <a:pt x="160" y="1294"/>
                  <a:pt x="160" y="1294"/>
                  <a:pt x="160" y="1294"/>
                </a:cubicBezTo>
                <a:cubicBezTo>
                  <a:pt x="157" y="1294"/>
                  <a:pt x="155" y="1297"/>
                  <a:pt x="155" y="1300"/>
                </a:cubicBezTo>
                <a:cubicBezTo>
                  <a:pt x="155" y="1303"/>
                  <a:pt x="157" y="1306"/>
                  <a:pt x="160" y="1306"/>
                </a:cubicBezTo>
                <a:cubicBezTo>
                  <a:pt x="164" y="1306"/>
                  <a:pt x="164" y="1306"/>
                  <a:pt x="164" y="1306"/>
                </a:cubicBezTo>
                <a:cubicBezTo>
                  <a:pt x="168" y="1306"/>
                  <a:pt x="170" y="1303"/>
                  <a:pt x="170" y="1300"/>
                </a:cubicBezTo>
                <a:cubicBezTo>
                  <a:pt x="170" y="1297"/>
                  <a:pt x="168" y="1294"/>
                  <a:pt x="164" y="1294"/>
                </a:cubicBezTo>
                <a:close/>
                <a:moveTo>
                  <a:pt x="188" y="1294"/>
                </a:moveTo>
                <a:cubicBezTo>
                  <a:pt x="184" y="1294"/>
                  <a:pt x="184" y="1294"/>
                  <a:pt x="184" y="1294"/>
                </a:cubicBezTo>
                <a:cubicBezTo>
                  <a:pt x="181" y="1294"/>
                  <a:pt x="178" y="1297"/>
                  <a:pt x="178" y="1300"/>
                </a:cubicBezTo>
                <a:cubicBezTo>
                  <a:pt x="178" y="1303"/>
                  <a:pt x="181" y="1306"/>
                  <a:pt x="184" y="1306"/>
                </a:cubicBezTo>
                <a:cubicBezTo>
                  <a:pt x="188" y="1306"/>
                  <a:pt x="188" y="1306"/>
                  <a:pt x="188" y="1306"/>
                </a:cubicBezTo>
                <a:cubicBezTo>
                  <a:pt x="191" y="1306"/>
                  <a:pt x="194" y="1303"/>
                  <a:pt x="194" y="1300"/>
                </a:cubicBezTo>
                <a:cubicBezTo>
                  <a:pt x="194" y="1297"/>
                  <a:pt x="191" y="1294"/>
                  <a:pt x="188" y="1294"/>
                </a:cubicBezTo>
                <a:close/>
                <a:moveTo>
                  <a:pt x="211" y="1294"/>
                </a:moveTo>
                <a:cubicBezTo>
                  <a:pt x="207" y="1294"/>
                  <a:pt x="207" y="1294"/>
                  <a:pt x="207" y="1294"/>
                </a:cubicBezTo>
                <a:cubicBezTo>
                  <a:pt x="204" y="1294"/>
                  <a:pt x="201" y="1297"/>
                  <a:pt x="201" y="1300"/>
                </a:cubicBezTo>
                <a:cubicBezTo>
                  <a:pt x="201" y="1303"/>
                  <a:pt x="204" y="1306"/>
                  <a:pt x="207" y="1306"/>
                </a:cubicBezTo>
                <a:cubicBezTo>
                  <a:pt x="211" y="1306"/>
                  <a:pt x="211" y="1306"/>
                  <a:pt x="211" y="1306"/>
                </a:cubicBezTo>
                <a:cubicBezTo>
                  <a:pt x="214" y="1306"/>
                  <a:pt x="217" y="1303"/>
                  <a:pt x="217" y="1300"/>
                </a:cubicBezTo>
                <a:cubicBezTo>
                  <a:pt x="217" y="1297"/>
                  <a:pt x="214" y="1294"/>
                  <a:pt x="211" y="1294"/>
                </a:cubicBez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61">
            <a:extLst>
              <a:ext uri="{FF2B5EF4-FFF2-40B4-BE49-F238E27FC236}">
                <a16:creationId xmlns:a16="http://schemas.microsoft.com/office/drawing/2014/main" id="{C2495B20-5E70-481E-9296-AAF12722052F}"/>
              </a:ext>
            </a:extLst>
          </p:cNvPr>
          <p:cNvSpPr>
            <a:spLocks/>
          </p:cNvSpPr>
          <p:nvPr/>
        </p:nvSpPr>
        <p:spPr bwMode="auto">
          <a:xfrm>
            <a:off x="10432614" y="6221925"/>
            <a:ext cx="160947" cy="89078"/>
          </a:xfrm>
          <a:custGeom>
            <a:avLst/>
            <a:gdLst>
              <a:gd name="T0" fmla="*/ 6 w 67"/>
              <a:gd name="T1" fmla="*/ 36 h 37"/>
              <a:gd name="T2" fmla="*/ 65 w 67"/>
              <a:gd name="T3" fmla="*/ 8 h 37"/>
              <a:gd name="T4" fmla="*/ 66 w 67"/>
              <a:gd name="T5" fmla="*/ 2 h 37"/>
              <a:gd name="T6" fmla="*/ 61 w 67"/>
              <a:gd name="T7" fmla="*/ 1 h 37"/>
              <a:gd name="T8" fmla="*/ 3 w 67"/>
              <a:gd name="T9" fmla="*/ 29 h 37"/>
              <a:gd name="T10" fmla="*/ 1 w 67"/>
              <a:gd name="T11" fmla="*/ 35 h 37"/>
              <a:gd name="T12" fmla="*/ 6 w 67"/>
              <a:gd name="T13" fmla="*/ 36 h 37"/>
            </a:gdLst>
            <a:ahLst/>
            <a:cxnLst>
              <a:cxn ang="0">
                <a:pos x="T0" y="T1"/>
              </a:cxn>
              <a:cxn ang="0">
                <a:pos x="T2" y="T3"/>
              </a:cxn>
              <a:cxn ang="0">
                <a:pos x="T4" y="T5"/>
              </a:cxn>
              <a:cxn ang="0">
                <a:pos x="T6" y="T7"/>
              </a:cxn>
              <a:cxn ang="0">
                <a:pos x="T8" y="T9"/>
              </a:cxn>
              <a:cxn ang="0">
                <a:pos x="T10" y="T11"/>
              </a:cxn>
              <a:cxn ang="0">
                <a:pos x="T12" y="T13"/>
              </a:cxn>
            </a:cxnLst>
            <a:rect l="0" t="0" r="r" b="b"/>
            <a:pathLst>
              <a:path w="67" h="37">
                <a:moveTo>
                  <a:pt x="6" y="36"/>
                </a:moveTo>
                <a:cubicBezTo>
                  <a:pt x="65" y="8"/>
                  <a:pt x="65" y="8"/>
                  <a:pt x="65" y="8"/>
                </a:cubicBezTo>
                <a:cubicBezTo>
                  <a:pt x="66" y="7"/>
                  <a:pt x="67" y="4"/>
                  <a:pt x="66" y="2"/>
                </a:cubicBezTo>
                <a:cubicBezTo>
                  <a:pt x="65" y="1"/>
                  <a:pt x="63" y="0"/>
                  <a:pt x="61" y="1"/>
                </a:cubicBezTo>
                <a:cubicBezTo>
                  <a:pt x="3" y="29"/>
                  <a:pt x="3" y="29"/>
                  <a:pt x="3" y="29"/>
                </a:cubicBezTo>
                <a:cubicBezTo>
                  <a:pt x="1" y="30"/>
                  <a:pt x="0" y="33"/>
                  <a:pt x="1" y="35"/>
                </a:cubicBezTo>
                <a:cubicBezTo>
                  <a:pt x="2" y="37"/>
                  <a:pt x="4" y="37"/>
                  <a:pt x="6" y="36"/>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62">
            <a:extLst>
              <a:ext uri="{FF2B5EF4-FFF2-40B4-BE49-F238E27FC236}">
                <a16:creationId xmlns:a16="http://schemas.microsoft.com/office/drawing/2014/main" id="{B1BD2614-DB13-4219-A820-CA1385331BDF}"/>
              </a:ext>
            </a:extLst>
          </p:cNvPr>
          <p:cNvSpPr>
            <a:spLocks/>
          </p:cNvSpPr>
          <p:nvPr/>
        </p:nvSpPr>
        <p:spPr bwMode="auto">
          <a:xfrm>
            <a:off x="10137038" y="3276289"/>
            <a:ext cx="369470" cy="194351"/>
          </a:xfrm>
          <a:custGeom>
            <a:avLst/>
            <a:gdLst>
              <a:gd name="T0" fmla="*/ 6 w 154"/>
              <a:gd name="T1" fmla="*/ 80 h 81"/>
              <a:gd name="T2" fmla="*/ 151 w 154"/>
              <a:gd name="T3" fmla="*/ 8 h 81"/>
              <a:gd name="T4" fmla="*/ 153 w 154"/>
              <a:gd name="T5" fmla="*/ 3 h 81"/>
              <a:gd name="T6" fmla="*/ 147 w 154"/>
              <a:gd name="T7" fmla="*/ 1 h 81"/>
              <a:gd name="T8" fmla="*/ 2 w 154"/>
              <a:gd name="T9" fmla="*/ 73 h 81"/>
              <a:gd name="T10" fmla="*/ 1 w 154"/>
              <a:gd name="T11" fmla="*/ 78 h 81"/>
              <a:gd name="T12" fmla="*/ 6 w 154"/>
              <a:gd name="T13" fmla="*/ 80 h 81"/>
            </a:gdLst>
            <a:ahLst/>
            <a:cxnLst>
              <a:cxn ang="0">
                <a:pos x="T0" y="T1"/>
              </a:cxn>
              <a:cxn ang="0">
                <a:pos x="T2" y="T3"/>
              </a:cxn>
              <a:cxn ang="0">
                <a:pos x="T4" y="T5"/>
              </a:cxn>
              <a:cxn ang="0">
                <a:pos x="T6" y="T7"/>
              </a:cxn>
              <a:cxn ang="0">
                <a:pos x="T8" y="T9"/>
              </a:cxn>
              <a:cxn ang="0">
                <a:pos x="T10" y="T11"/>
              </a:cxn>
              <a:cxn ang="0">
                <a:pos x="T12" y="T13"/>
              </a:cxn>
            </a:cxnLst>
            <a:rect l="0" t="0" r="r" b="b"/>
            <a:pathLst>
              <a:path w="154" h="81">
                <a:moveTo>
                  <a:pt x="6" y="80"/>
                </a:moveTo>
                <a:cubicBezTo>
                  <a:pt x="151" y="8"/>
                  <a:pt x="151" y="8"/>
                  <a:pt x="151" y="8"/>
                </a:cubicBezTo>
                <a:cubicBezTo>
                  <a:pt x="153" y="7"/>
                  <a:pt x="154" y="5"/>
                  <a:pt x="153" y="3"/>
                </a:cubicBezTo>
                <a:cubicBezTo>
                  <a:pt x="152" y="1"/>
                  <a:pt x="149" y="0"/>
                  <a:pt x="147" y="1"/>
                </a:cubicBezTo>
                <a:cubicBezTo>
                  <a:pt x="2" y="73"/>
                  <a:pt x="2" y="73"/>
                  <a:pt x="2" y="73"/>
                </a:cubicBezTo>
                <a:cubicBezTo>
                  <a:pt x="0" y="74"/>
                  <a:pt x="0" y="76"/>
                  <a:pt x="1" y="78"/>
                </a:cubicBezTo>
                <a:cubicBezTo>
                  <a:pt x="2" y="80"/>
                  <a:pt x="4" y="81"/>
                  <a:pt x="6" y="80"/>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63">
            <a:extLst>
              <a:ext uri="{FF2B5EF4-FFF2-40B4-BE49-F238E27FC236}">
                <a16:creationId xmlns:a16="http://schemas.microsoft.com/office/drawing/2014/main" id="{25B9BAF9-460B-435E-B251-DC49CB6F2710}"/>
              </a:ext>
            </a:extLst>
          </p:cNvPr>
          <p:cNvSpPr>
            <a:spLocks/>
          </p:cNvSpPr>
          <p:nvPr/>
        </p:nvSpPr>
        <p:spPr bwMode="auto">
          <a:xfrm>
            <a:off x="10223079" y="6150055"/>
            <a:ext cx="370482" cy="191314"/>
          </a:xfrm>
          <a:custGeom>
            <a:avLst/>
            <a:gdLst>
              <a:gd name="T0" fmla="*/ 7 w 154"/>
              <a:gd name="T1" fmla="*/ 79 h 80"/>
              <a:gd name="T2" fmla="*/ 152 w 154"/>
              <a:gd name="T3" fmla="*/ 8 h 80"/>
              <a:gd name="T4" fmla="*/ 153 w 154"/>
              <a:gd name="T5" fmla="*/ 2 h 80"/>
              <a:gd name="T6" fmla="*/ 148 w 154"/>
              <a:gd name="T7" fmla="*/ 1 h 80"/>
              <a:gd name="T8" fmla="*/ 3 w 154"/>
              <a:gd name="T9" fmla="*/ 72 h 80"/>
              <a:gd name="T10" fmla="*/ 1 w 154"/>
              <a:gd name="T11" fmla="*/ 77 h 80"/>
              <a:gd name="T12" fmla="*/ 7 w 154"/>
              <a:gd name="T13" fmla="*/ 79 h 80"/>
            </a:gdLst>
            <a:ahLst/>
            <a:cxnLst>
              <a:cxn ang="0">
                <a:pos x="T0" y="T1"/>
              </a:cxn>
              <a:cxn ang="0">
                <a:pos x="T2" y="T3"/>
              </a:cxn>
              <a:cxn ang="0">
                <a:pos x="T4" y="T5"/>
              </a:cxn>
              <a:cxn ang="0">
                <a:pos x="T6" y="T7"/>
              </a:cxn>
              <a:cxn ang="0">
                <a:pos x="T8" y="T9"/>
              </a:cxn>
              <a:cxn ang="0">
                <a:pos x="T10" y="T11"/>
              </a:cxn>
              <a:cxn ang="0">
                <a:pos x="T12" y="T13"/>
              </a:cxn>
            </a:cxnLst>
            <a:rect l="0" t="0" r="r" b="b"/>
            <a:pathLst>
              <a:path w="154" h="80">
                <a:moveTo>
                  <a:pt x="7" y="79"/>
                </a:moveTo>
                <a:cubicBezTo>
                  <a:pt x="152" y="8"/>
                  <a:pt x="152" y="8"/>
                  <a:pt x="152" y="8"/>
                </a:cubicBezTo>
                <a:cubicBezTo>
                  <a:pt x="153" y="7"/>
                  <a:pt x="154" y="4"/>
                  <a:pt x="153" y="2"/>
                </a:cubicBezTo>
                <a:cubicBezTo>
                  <a:pt x="152" y="0"/>
                  <a:pt x="150" y="0"/>
                  <a:pt x="148" y="1"/>
                </a:cubicBezTo>
                <a:cubicBezTo>
                  <a:pt x="3" y="72"/>
                  <a:pt x="3" y="72"/>
                  <a:pt x="3" y="72"/>
                </a:cubicBezTo>
                <a:cubicBezTo>
                  <a:pt x="1" y="73"/>
                  <a:pt x="0" y="75"/>
                  <a:pt x="1" y="77"/>
                </a:cubicBezTo>
                <a:cubicBezTo>
                  <a:pt x="2" y="79"/>
                  <a:pt x="5" y="80"/>
                  <a:pt x="7" y="7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64">
            <a:extLst>
              <a:ext uri="{FF2B5EF4-FFF2-40B4-BE49-F238E27FC236}">
                <a16:creationId xmlns:a16="http://schemas.microsoft.com/office/drawing/2014/main" id="{C5536458-1D3A-4D74-8264-045764602B51}"/>
              </a:ext>
            </a:extLst>
          </p:cNvPr>
          <p:cNvSpPr>
            <a:spLocks/>
          </p:cNvSpPr>
          <p:nvPr/>
        </p:nvSpPr>
        <p:spPr bwMode="auto">
          <a:xfrm>
            <a:off x="10131977" y="3295522"/>
            <a:ext cx="163984" cy="91102"/>
          </a:xfrm>
          <a:custGeom>
            <a:avLst/>
            <a:gdLst>
              <a:gd name="T0" fmla="*/ 6 w 68"/>
              <a:gd name="T1" fmla="*/ 37 h 38"/>
              <a:gd name="T2" fmla="*/ 65 w 68"/>
              <a:gd name="T3" fmla="*/ 8 h 38"/>
              <a:gd name="T4" fmla="*/ 67 w 68"/>
              <a:gd name="T5" fmla="*/ 3 h 38"/>
              <a:gd name="T6" fmla="*/ 61 w 68"/>
              <a:gd name="T7" fmla="*/ 1 h 38"/>
              <a:gd name="T8" fmla="*/ 3 w 68"/>
              <a:gd name="T9" fmla="*/ 30 h 38"/>
              <a:gd name="T10" fmla="*/ 1 w 68"/>
              <a:gd name="T11" fmla="*/ 35 h 38"/>
              <a:gd name="T12" fmla="*/ 6 w 68"/>
              <a:gd name="T13" fmla="*/ 37 h 38"/>
            </a:gdLst>
            <a:ahLst/>
            <a:cxnLst>
              <a:cxn ang="0">
                <a:pos x="T0" y="T1"/>
              </a:cxn>
              <a:cxn ang="0">
                <a:pos x="T2" y="T3"/>
              </a:cxn>
              <a:cxn ang="0">
                <a:pos x="T4" y="T5"/>
              </a:cxn>
              <a:cxn ang="0">
                <a:pos x="T6" y="T7"/>
              </a:cxn>
              <a:cxn ang="0">
                <a:pos x="T8" y="T9"/>
              </a:cxn>
              <a:cxn ang="0">
                <a:pos x="T10" y="T11"/>
              </a:cxn>
              <a:cxn ang="0">
                <a:pos x="T12" y="T13"/>
              </a:cxn>
            </a:cxnLst>
            <a:rect l="0" t="0" r="r" b="b"/>
            <a:pathLst>
              <a:path w="68" h="38">
                <a:moveTo>
                  <a:pt x="6" y="37"/>
                </a:moveTo>
                <a:cubicBezTo>
                  <a:pt x="65" y="8"/>
                  <a:pt x="65" y="8"/>
                  <a:pt x="65" y="8"/>
                </a:cubicBezTo>
                <a:cubicBezTo>
                  <a:pt x="67" y="7"/>
                  <a:pt x="68" y="5"/>
                  <a:pt x="67" y="3"/>
                </a:cubicBezTo>
                <a:cubicBezTo>
                  <a:pt x="66" y="1"/>
                  <a:pt x="63" y="0"/>
                  <a:pt x="61" y="1"/>
                </a:cubicBezTo>
                <a:cubicBezTo>
                  <a:pt x="3" y="30"/>
                  <a:pt x="3" y="30"/>
                  <a:pt x="3" y="30"/>
                </a:cubicBezTo>
                <a:cubicBezTo>
                  <a:pt x="1" y="31"/>
                  <a:pt x="0" y="33"/>
                  <a:pt x="1" y="35"/>
                </a:cubicBezTo>
                <a:cubicBezTo>
                  <a:pt x="2" y="37"/>
                  <a:pt x="4" y="38"/>
                  <a:pt x="6" y="37"/>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65">
            <a:extLst>
              <a:ext uri="{FF2B5EF4-FFF2-40B4-BE49-F238E27FC236}">
                <a16:creationId xmlns:a16="http://schemas.microsoft.com/office/drawing/2014/main" id="{A7F18A14-F8DF-4E9F-8F8D-31FE1F453309}"/>
              </a:ext>
            </a:extLst>
          </p:cNvPr>
          <p:cNvSpPr>
            <a:spLocks/>
          </p:cNvSpPr>
          <p:nvPr/>
        </p:nvSpPr>
        <p:spPr bwMode="auto">
          <a:xfrm>
            <a:off x="10131977" y="3312730"/>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66">
            <a:extLst>
              <a:ext uri="{FF2B5EF4-FFF2-40B4-BE49-F238E27FC236}">
                <a16:creationId xmlns:a16="http://schemas.microsoft.com/office/drawing/2014/main" id="{D63206ED-7C15-417A-BA86-FE2E69C0E9DF}"/>
              </a:ext>
            </a:extLst>
          </p:cNvPr>
          <p:cNvSpPr>
            <a:spLocks/>
          </p:cNvSpPr>
          <p:nvPr/>
        </p:nvSpPr>
        <p:spPr bwMode="auto">
          <a:xfrm>
            <a:off x="10131977" y="33866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Freeform 167">
            <a:extLst>
              <a:ext uri="{FF2B5EF4-FFF2-40B4-BE49-F238E27FC236}">
                <a16:creationId xmlns:a16="http://schemas.microsoft.com/office/drawing/2014/main" id="{8A6E66BD-0275-499A-8297-37CA0157085D}"/>
              </a:ext>
            </a:extLst>
          </p:cNvPr>
          <p:cNvSpPr>
            <a:spLocks/>
          </p:cNvSpPr>
          <p:nvPr/>
        </p:nvSpPr>
        <p:spPr bwMode="auto">
          <a:xfrm>
            <a:off x="10131977" y="3463555"/>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68">
            <a:extLst>
              <a:ext uri="{FF2B5EF4-FFF2-40B4-BE49-F238E27FC236}">
                <a16:creationId xmlns:a16="http://schemas.microsoft.com/office/drawing/2014/main" id="{62075B0E-7430-4D15-AB16-DE62B56E3486}"/>
              </a:ext>
            </a:extLst>
          </p:cNvPr>
          <p:cNvSpPr>
            <a:spLocks/>
          </p:cNvSpPr>
          <p:nvPr/>
        </p:nvSpPr>
        <p:spPr bwMode="auto">
          <a:xfrm>
            <a:off x="10131977" y="3540486"/>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2"/>
                  <a:pt x="3" y="92"/>
                  <a:pt x="3" y="92"/>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69">
            <a:extLst>
              <a:ext uri="{FF2B5EF4-FFF2-40B4-BE49-F238E27FC236}">
                <a16:creationId xmlns:a16="http://schemas.microsoft.com/office/drawing/2014/main" id="{80023F5E-01C0-45FF-9E0F-64499FCFD996}"/>
              </a:ext>
            </a:extLst>
          </p:cNvPr>
          <p:cNvSpPr>
            <a:spLocks/>
          </p:cNvSpPr>
          <p:nvPr/>
        </p:nvSpPr>
        <p:spPr bwMode="auto">
          <a:xfrm>
            <a:off x="10131977" y="3617416"/>
            <a:ext cx="461584" cy="237878"/>
          </a:xfrm>
          <a:custGeom>
            <a:avLst/>
            <a:gdLst>
              <a:gd name="T0" fmla="*/ 6 w 192"/>
              <a:gd name="T1" fmla="*/ 98 h 99"/>
              <a:gd name="T2" fmla="*/ 190 w 192"/>
              <a:gd name="T3" fmla="*/ 8 h 99"/>
              <a:gd name="T4" fmla="*/ 191 w 192"/>
              <a:gd name="T5" fmla="*/ 2 h 99"/>
              <a:gd name="T6" fmla="*/ 186 w 192"/>
              <a:gd name="T7" fmla="*/ 0 h 99"/>
              <a:gd name="T8" fmla="*/ 3 w 192"/>
              <a:gd name="T9" fmla="*/ 91 h 99"/>
              <a:gd name="T10" fmla="*/ 1 w 192"/>
              <a:gd name="T11" fmla="*/ 96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0"/>
                </a:cubicBezTo>
                <a:cubicBezTo>
                  <a:pt x="3" y="91"/>
                  <a:pt x="3" y="91"/>
                  <a:pt x="3" y="91"/>
                </a:cubicBezTo>
                <a:cubicBezTo>
                  <a:pt x="1" y="92"/>
                  <a:pt x="0" y="95"/>
                  <a:pt x="1" y="96"/>
                </a:cubicBezTo>
                <a:cubicBezTo>
                  <a:pt x="2" y="98"/>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0">
            <a:extLst>
              <a:ext uri="{FF2B5EF4-FFF2-40B4-BE49-F238E27FC236}">
                <a16:creationId xmlns:a16="http://schemas.microsoft.com/office/drawing/2014/main" id="{1B34D493-3B72-4B78-BEEC-7FFAE450F73B}"/>
              </a:ext>
            </a:extLst>
          </p:cNvPr>
          <p:cNvSpPr>
            <a:spLocks/>
          </p:cNvSpPr>
          <p:nvPr/>
        </p:nvSpPr>
        <p:spPr bwMode="auto">
          <a:xfrm>
            <a:off x="10131977" y="369232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1">
            <a:extLst>
              <a:ext uri="{FF2B5EF4-FFF2-40B4-BE49-F238E27FC236}">
                <a16:creationId xmlns:a16="http://schemas.microsoft.com/office/drawing/2014/main" id="{5F18B045-28F3-4F6C-A1E5-56030C81129A}"/>
              </a:ext>
            </a:extLst>
          </p:cNvPr>
          <p:cNvSpPr>
            <a:spLocks/>
          </p:cNvSpPr>
          <p:nvPr/>
        </p:nvSpPr>
        <p:spPr bwMode="auto">
          <a:xfrm>
            <a:off x="10131977" y="376925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72">
            <a:extLst>
              <a:ext uri="{FF2B5EF4-FFF2-40B4-BE49-F238E27FC236}">
                <a16:creationId xmlns:a16="http://schemas.microsoft.com/office/drawing/2014/main" id="{731BDFBE-6877-4D7C-A2AA-8DBD6F26C34C}"/>
              </a:ext>
            </a:extLst>
          </p:cNvPr>
          <p:cNvSpPr>
            <a:spLocks/>
          </p:cNvSpPr>
          <p:nvPr/>
        </p:nvSpPr>
        <p:spPr bwMode="auto">
          <a:xfrm>
            <a:off x="10131977" y="3846184"/>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73">
            <a:extLst>
              <a:ext uri="{FF2B5EF4-FFF2-40B4-BE49-F238E27FC236}">
                <a16:creationId xmlns:a16="http://schemas.microsoft.com/office/drawing/2014/main" id="{2D455E27-320F-4D79-9771-DEEA503E04B4}"/>
              </a:ext>
            </a:extLst>
          </p:cNvPr>
          <p:cNvSpPr>
            <a:spLocks/>
          </p:cNvSpPr>
          <p:nvPr/>
        </p:nvSpPr>
        <p:spPr bwMode="auto">
          <a:xfrm>
            <a:off x="10131977" y="392007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74">
            <a:extLst>
              <a:ext uri="{FF2B5EF4-FFF2-40B4-BE49-F238E27FC236}">
                <a16:creationId xmlns:a16="http://schemas.microsoft.com/office/drawing/2014/main" id="{E7663353-0B3F-44EB-9A17-017CCEBDD14D}"/>
              </a:ext>
            </a:extLst>
          </p:cNvPr>
          <p:cNvSpPr>
            <a:spLocks/>
          </p:cNvSpPr>
          <p:nvPr/>
        </p:nvSpPr>
        <p:spPr bwMode="auto">
          <a:xfrm>
            <a:off x="10131977" y="399700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75">
            <a:extLst>
              <a:ext uri="{FF2B5EF4-FFF2-40B4-BE49-F238E27FC236}">
                <a16:creationId xmlns:a16="http://schemas.microsoft.com/office/drawing/2014/main" id="{A3B8FC78-4B09-4226-8F9D-D14DC8AD4DB1}"/>
              </a:ext>
            </a:extLst>
          </p:cNvPr>
          <p:cNvSpPr>
            <a:spLocks/>
          </p:cNvSpPr>
          <p:nvPr/>
        </p:nvSpPr>
        <p:spPr bwMode="auto">
          <a:xfrm>
            <a:off x="10131977" y="407393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76">
            <a:extLst>
              <a:ext uri="{FF2B5EF4-FFF2-40B4-BE49-F238E27FC236}">
                <a16:creationId xmlns:a16="http://schemas.microsoft.com/office/drawing/2014/main" id="{C22F7B81-DEE1-427C-9E53-2A1CBC5EF7AA}"/>
              </a:ext>
            </a:extLst>
          </p:cNvPr>
          <p:cNvSpPr>
            <a:spLocks/>
          </p:cNvSpPr>
          <p:nvPr/>
        </p:nvSpPr>
        <p:spPr bwMode="auto">
          <a:xfrm>
            <a:off x="10131977" y="4148845"/>
            <a:ext cx="461584" cy="239902"/>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77">
            <a:extLst>
              <a:ext uri="{FF2B5EF4-FFF2-40B4-BE49-F238E27FC236}">
                <a16:creationId xmlns:a16="http://schemas.microsoft.com/office/drawing/2014/main" id="{64E5EC38-3F63-4439-9B02-642DB1329758}"/>
              </a:ext>
            </a:extLst>
          </p:cNvPr>
          <p:cNvSpPr>
            <a:spLocks/>
          </p:cNvSpPr>
          <p:nvPr/>
        </p:nvSpPr>
        <p:spPr bwMode="auto">
          <a:xfrm>
            <a:off x="10131977" y="422577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78">
            <a:extLst>
              <a:ext uri="{FF2B5EF4-FFF2-40B4-BE49-F238E27FC236}">
                <a16:creationId xmlns:a16="http://schemas.microsoft.com/office/drawing/2014/main" id="{5A45B69E-9E04-4DC5-9A08-D953F665421F}"/>
              </a:ext>
            </a:extLst>
          </p:cNvPr>
          <p:cNvSpPr>
            <a:spLocks/>
          </p:cNvSpPr>
          <p:nvPr/>
        </p:nvSpPr>
        <p:spPr bwMode="auto">
          <a:xfrm>
            <a:off x="10131977" y="4302707"/>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79">
            <a:extLst>
              <a:ext uri="{FF2B5EF4-FFF2-40B4-BE49-F238E27FC236}">
                <a16:creationId xmlns:a16="http://schemas.microsoft.com/office/drawing/2014/main" id="{A5C1D901-C43A-4CDE-A4E2-421091A83135}"/>
              </a:ext>
            </a:extLst>
          </p:cNvPr>
          <p:cNvSpPr>
            <a:spLocks/>
          </p:cNvSpPr>
          <p:nvPr/>
        </p:nvSpPr>
        <p:spPr bwMode="auto">
          <a:xfrm>
            <a:off x="10131977" y="4378625"/>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80">
            <a:extLst>
              <a:ext uri="{FF2B5EF4-FFF2-40B4-BE49-F238E27FC236}">
                <a16:creationId xmlns:a16="http://schemas.microsoft.com/office/drawing/2014/main" id="{F38DAA20-0ECE-465B-8C34-B9C1ECDEFB77}"/>
              </a:ext>
            </a:extLst>
          </p:cNvPr>
          <p:cNvSpPr>
            <a:spLocks/>
          </p:cNvSpPr>
          <p:nvPr/>
        </p:nvSpPr>
        <p:spPr bwMode="auto">
          <a:xfrm>
            <a:off x="10131977" y="4453531"/>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Freeform 181">
            <a:extLst>
              <a:ext uri="{FF2B5EF4-FFF2-40B4-BE49-F238E27FC236}">
                <a16:creationId xmlns:a16="http://schemas.microsoft.com/office/drawing/2014/main" id="{7DD18037-CA56-49E9-B2E4-AD98C6C7E825}"/>
              </a:ext>
            </a:extLst>
          </p:cNvPr>
          <p:cNvSpPr>
            <a:spLocks/>
          </p:cNvSpPr>
          <p:nvPr/>
        </p:nvSpPr>
        <p:spPr bwMode="auto">
          <a:xfrm>
            <a:off x="10131977" y="453046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Freeform 182">
            <a:extLst>
              <a:ext uri="{FF2B5EF4-FFF2-40B4-BE49-F238E27FC236}">
                <a16:creationId xmlns:a16="http://schemas.microsoft.com/office/drawing/2014/main" id="{321941B1-0EE9-4B52-AE96-1DFBEE78729D}"/>
              </a:ext>
            </a:extLst>
          </p:cNvPr>
          <p:cNvSpPr>
            <a:spLocks/>
          </p:cNvSpPr>
          <p:nvPr/>
        </p:nvSpPr>
        <p:spPr bwMode="auto">
          <a:xfrm>
            <a:off x="10131977" y="4607393"/>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183">
            <a:extLst>
              <a:ext uri="{FF2B5EF4-FFF2-40B4-BE49-F238E27FC236}">
                <a16:creationId xmlns:a16="http://schemas.microsoft.com/office/drawing/2014/main" id="{03C40B68-16DB-4156-98E2-AB54530CF94F}"/>
              </a:ext>
            </a:extLst>
          </p:cNvPr>
          <p:cNvSpPr>
            <a:spLocks/>
          </p:cNvSpPr>
          <p:nvPr/>
        </p:nvSpPr>
        <p:spPr bwMode="auto">
          <a:xfrm>
            <a:off x="10131977" y="4681287"/>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184">
            <a:extLst>
              <a:ext uri="{FF2B5EF4-FFF2-40B4-BE49-F238E27FC236}">
                <a16:creationId xmlns:a16="http://schemas.microsoft.com/office/drawing/2014/main" id="{34A57DCA-58F9-432F-AF77-2246185FFA55}"/>
              </a:ext>
            </a:extLst>
          </p:cNvPr>
          <p:cNvSpPr>
            <a:spLocks/>
          </p:cNvSpPr>
          <p:nvPr/>
        </p:nvSpPr>
        <p:spPr bwMode="auto">
          <a:xfrm>
            <a:off x="10131977" y="4758217"/>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185">
            <a:extLst>
              <a:ext uri="{FF2B5EF4-FFF2-40B4-BE49-F238E27FC236}">
                <a16:creationId xmlns:a16="http://schemas.microsoft.com/office/drawing/2014/main" id="{C6524A8C-F9A4-4C24-ACD2-AC8667B3D434}"/>
              </a:ext>
            </a:extLst>
          </p:cNvPr>
          <p:cNvSpPr>
            <a:spLocks/>
          </p:cNvSpPr>
          <p:nvPr/>
        </p:nvSpPr>
        <p:spPr bwMode="auto">
          <a:xfrm>
            <a:off x="10131977" y="4835148"/>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186">
            <a:extLst>
              <a:ext uri="{FF2B5EF4-FFF2-40B4-BE49-F238E27FC236}">
                <a16:creationId xmlns:a16="http://schemas.microsoft.com/office/drawing/2014/main" id="{1ECCD8C7-2EC8-40B0-BA24-ED0BA162C006}"/>
              </a:ext>
            </a:extLst>
          </p:cNvPr>
          <p:cNvSpPr>
            <a:spLocks/>
          </p:cNvSpPr>
          <p:nvPr/>
        </p:nvSpPr>
        <p:spPr bwMode="auto">
          <a:xfrm>
            <a:off x="10131977" y="4912079"/>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187">
            <a:extLst>
              <a:ext uri="{FF2B5EF4-FFF2-40B4-BE49-F238E27FC236}">
                <a16:creationId xmlns:a16="http://schemas.microsoft.com/office/drawing/2014/main" id="{B220EED8-C422-403C-B243-5C583492B304}"/>
              </a:ext>
            </a:extLst>
          </p:cNvPr>
          <p:cNvSpPr>
            <a:spLocks/>
          </p:cNvSpPr>
          <p:nvPr/>
        </p:nvSpPr>
        <p:spPr bwMode="auto">
          <a:xfrm>
            <a:off x="10131977" y="498698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Freeform 188">
            <a:extLst>
              <a:ext uri="{FF2B5EF4-FFF2-40B4-BE49-F238E27FC236}">
                <a16:creationId xmlns:a16="http://schemas.microsoft.com/office/drawing/2014/main" id="{2BC3E79E-8A8A-4A33-A95F-D8B5AE35EE44}"/>
              </a:ext>
            </a:extLst>
          </p:cNvPr>
          <p:cNvSpPr>
            <a:spLocks/>
          </p:cNvSpPr>
          <p:nvPr/>
        </p:nvSpPr>
        <p:spPr bwMode="auto">
          <a:xfrm>
            <a:off x="10131977" y="506391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Freeform 189">
            <a:extLst>
              <a:ext uri="{FF2B5EF4-FFF2-40B4-BE49-F238E27FC236}">
                <a16:creationId xmlns:a16="http://schemas.microsoft.com/office/drawing/2014/main" id="{94323D70-0C2A-4D68-A255-B226877BDFC7}"/>
              </a:ext>
            </a:extLst>
          </p:cNvPr>
          <p:cNvSpPr>
            <a:spLocks/>
          </p:cNvSpPr>
          <p:nvPr/>
        </p:nvSpPr>
        <p:spPr bwMode="auto">
          <a:xfrm>
            <a:off x="10131977" y="5140846"/>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1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190">
            <a:extLst>
              <a:ext uri="{FF2B5EF4-FFF2-40B4-BE49-F238E27FC236}">
                <a16:creationId xmlns:a16="http://schemas.microsoft.com/office/drawing/2014/main" id="{BDD21956-A9DB-4FC4-8FBB-A51EC97A3D97}"/>
              </a:ext>
            </a:extLst>
          </p:cNvPr>
          <p:cNvSpPr>
            <a:spLocks/>
          </p:cNvSpPr>
          <p:nvPr/>
        </p:nvSpPr>
        <p:spPr bwMode="auto">
          <a:xfrm>
            <a:off x="10131977" y="5214740"/>
            <a:ext cx="461584" cy="240915"/>
          </a:xfrm>
          <a:custGeom>
            <a:avLst/>
            <a:gdLst>
              <a:gd name="T0" fmla="*/ 6 w 192"/>
              <a:gd name="T1" fmla="*/ 99 h 100"/>
              <a:gd name="T2" fmla="*/ 190 w 192"/>
              <a:gd name="T3" fmla="*/ 9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9"/>
                  <a:pt x="190" y="9"/>
                  <a:pt x="190" y="9"/>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191">
            <a:extLst>
              <a:ext uri="{FF2B5EF4-FFF2-40B4-BE49-F238E27FC236}">
                <a16:creationId xmlns:a16="http://schemas.microsoft.com/office/drawing/2014/main" id="{4306532F-672D-4147-9140-E8C635F5BAA4}"/>
              </a:ext>
            </a:extLst>
          </p:cNvPr>
          <p:cNvSpPr>
            <a:spLocks/>
          </p:cNvSpPr>
          <p:nvPr/>
        </p:nvSpPr>
        <p:spPr bwMode="auto">
          <a:xfrm>
            <a:off x="10131977" y="529167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Freeform 192">
            <a:extLst>
              <a:ext uri="{FF2B5EF4-FFF2-40B4-BE49-F238E27FC236}">
                <a16:creationId xmlns:a16="http://schemas.microsoft.com/office/drawing/2014/main" id="{0868698F-0B92-4A06-8E6B-7BB321546DFD}"/>
              </a:ext>
            </a:extLst>
          </p:cNvPr>
          <p:cNvSpPr>
            <a:spLocks/>
          </p:cNvSpPr>
          <p:nvPr/>
        </p:nvSpPr>
        <p:spPr bwMode="auto">
          <a:xfrm>
            <a:off x="10131977" y="5368601"/>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Freeform 193">
            <a:extLst>
              <a:ext uri="{FF2B5EF4-FFF2-40B4-BE49-F238E27FC236}">
                <a16:creationId xmlns:a16="http://schemas.microsoft.com/office/drawing/2014/main" id="{FA0E9C24-15DB-4AAA-8BF8-13B28EE49FC3}"/>
              </a:ext>
            </a:extLst>
          </p:cNvPr>
          <p:cNvSpPr>
            <a:spLocks/>
          </p:cNvSpPr>
          <p:nvPr/>
        </p:nvSpPr>
        <p:spPr bwMode="auto">
          <a:xfrm>
            <a:off x="10131977" y="5445532"/>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Freeform 194">
            <a:extLst>
              <a:ext uri="{FF2B5EF4-FFF2-40B4-BE49-F238E27FC236}">
                <a16:creationId xmlns:a16="http://schemas.microsoft.com/office/drawing/2014/main" id="{D9DC25AE-66F7-41FA-BF31-FEC5DB6C3D7D}"/>
              </a:ext>
            </a:extLst>
          </p:cNvPr>
          <p:cNvSpPr>
            <a:spLocks/>
          </p:cNvSpPr>
          <p:nvPr/>
        </p:nvSpPr>
        <p:spPr bwMode="auto">
          <a:xfrm>
            <a:off x="10131977" y="5520438"/>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Freeform 195">
            <a:extLst>
              <a:ext uri="{FF2B5EF4-FFF2-40B4-BE49-F238E27FC236}">
                <a16:creationId xmlns:a16="http://schemas.microsoft.com/office/drawing/2014/main" id="{8591D7C3-3EB6-475C-83A5-FEE5EB284E17}"/>
              </a:ext>
            </a:extLst>
          </p:cNvPr>
          <p:cNvSpPr>
            <a:spLocks/>
          </p:cNvSpPr>
          <p:nvPr/>
        </p:nvSpPr>
        <p:spPr bwMode="auto">
          <a:xfrm>
            <a:off x="10131977" y="5597369"/>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Freeform 196">
            <a:extLst>
              <a:ext uri="{FF2B5EF4-FFF2-40B4-BE49-F238E27FC236}">
                <a16:creationId xmlns:a16="http://schemas.microsoft.com/office/drawing/2014/main" id="{A385855F-1720-403A-A207-F720E4AEA6AF}"/>
              </a:ext>
            </a:extLst>
          </p:cNvPr>
          <p:cNvSpPr>
            <a:spLocks/>
          </p:cNvSpPr>
          <p:nvPr/>
        </p:nvSpPr>
        <p:spPr bwMode="auto">
          <a:xfrm>
            <a:off x="10131977" y="5674300"/>
            <a:ext cx="461584" cy="237878"/>
          </a:xfrm>
          <a:custGeom>
            <a:avLst/>
            <a:gdLst>
              <a:gd name="T0" fmla="*/ 6 w 192"/>
              <a:gd name="T1" fmla="*/ 99 h 99"/>
              <a:gd name="T2" fmla="*/ 190 w 192"/>
              <a:gd name="T3" fmla="*/ 8 h 99"/>
              <a:gd name="T4" fmla="*/ 191 w 192"/>
              <a:gd name="T5" fmla="*/ 3 h 99"/>
              <a:gd name="T6" fmla="*/ 186 w 192"/>
              <a:gd name="T7" fmla="*/ 1 h 99"/>
              <a:gd name="T8" fmla="*/ 3 w 192"/>
              <a:gd name="T9" fmla="*/ 91 h 99"/>
              <a:gd name="T10" fmla="*/ 1 w 192"/>
              <a:gd name="T11" fmla="*/ 97 h 99"/>
              <a:gd name="T12" fmla="*/ 6 w 192"/>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9"/>
                </a:moveTo>
                <a:cubicBezTo>
                  <a:pt x="190" y="8"/>
                  <a:pt x="190" y="8"/>
                  <a:pt x="190" y="8"/>
                </a:cubicBezTo>
                <a:cubicBezTo>
                  <a:pt x="191" y="7"/>
                  <a:pt x="192" y="4"/>
                  <a:pt x="191" y="3"/>
                </a:cubicBezTo>
                <a:cubicBezTo>
                  <a:pt x="190" y="1"/>
                  <a:pt x="188" y="0"/>
                  <a:pt x="186" y="1"/>
                </a:cubicBezTo>
                <a:cubicBezTo>
                  <a:pt x="3" y="91"/>
                  <a:pt x="3" y="91"/>
                  <a:pt x="3" y="91"/>
                </a:cubicBezTo>
                <a:cubicBezTo>
                  <a:pt x="1" y="92"/>
                  <a:pt x="0" y="95"/>
                  <a:pt x="1" y="97"/>
                </a:cubicBezTo>
                <a:cubicBezTo>
                  <a:pt x="2" y="99"/>
                  <a:pt x="4" y="99"/>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197">
            <a:extLst>
              <a:ext uri="{FF2B5EF4-FFF2-40B4-BE49-F238E27FC236}">
                <a16:creationId xmlns:a16="http://schemas.microsoft.com/office/drawing/2014/main" id="{B67F6BA6-853F-444D-BE03-DB76F3C54646}"/>
              </a:ext>
            </a:extLst>
          </p:cNvPr>
          <p:cNvSpPr>
            <a:spLocks/>
          </p:cNvSpPr>
          <p:nvPr/>
        </p:nvSpPr>
        <p:spPr bwMode="auto">
          <a:xfrm>
            <a:off x="10131977" y="574819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8"/>
                  <a:pt x="192" y="5"/>
                  <a:pt x="191" y="3"/>
                </a:cubicBezTo>
                <a:cubicBezTo>
                  <a:pt x="190" y="1"/>
                  <a:pt x="188" y="0"/>
                  <a:pt x="186" y="1"/>
                </a:cubicBezTo>
                <a:cubicBezTo>
                  <a:pt x="3" y="92"/>
                  <a:pt x="3" y="92"/>
                  <a:pt x="3" y="92"/>
                </a:cubicBezTo>
                <a:cubicBezTo>
                  <a:pt x="1" y="93"/>
                  <a:pt x="0" y="96"/>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198">
            <a:extLst>
              <a:ext uri="{FF2B5EF4-FFF2-40B4-BE49-F238E27FC236}">
                <a16:creationId xmlns:a16="http://schemas.microsoft.com/office/drawing/2014/main" id="{1DCD5229-E23F-427C-9C68-14ACEA184B04}"/>
              </a:ext>
            </a:extLst>
          </p:cNvPr>
          <p:cNvSpPr>
            <a:spLocks/>
          </p:cNvSpPr>
          <p:nvPr/>
        </p:nvSpPr>
        <p:spPr bwMode="auto">
          <a:xfrm>
            <a:off x="10131977" y="5825124"/>
            <a:ext cx="461584" cy="240915"/>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199">
            <a:extLst>
              <a:ext uri="{FF2B5EF4-FFF2-40B4-BE49-F238E27FC236}">
                <a16:creationId xmlns:a16="http://schemas.microsoft.com/office/drawing/2014/main" id="{6AA70B95-0091-41A9-9128-D406726A82D6}"/>
              </a:ext>
            </a:extLst>
          </p:cNvPr>
          <p:cNvSpPr>
            <a:spLocks/>
          </p:cNvSpPr>
          <p:nvPr/>
        </p:nvSpPr>
        <p:spPr bwMode="auto">
          <a:xfrm>
            <a:off x="10131977" y="5902055"/>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200">
            <a:extLst>
              <a:ext uri="{FF2B5EF4-FFF2-40B4-BE49-F238E27FC236}">
                <a16:creationId xmlns:a16="http://schemas.microsoft.com/office/drawing/2014/main" id="{41B5CD4D-7430-4F11-B871-9BBA98ED6F59}"/>
              </a:ext>
            </a:extLst>
          </p:cNvPr>
          <p:cNvSpPr>
            <a:spLocks/>
          </p:cNvSpPr>
          <p:nvPr/>
        </p:nvSpPr>
        <p:spPr bwMode="auto">
          <a:xfrm>
            <a:off x="10131977" y="5978986"/>
            <a:ext cx="461584" cy="237878"/>
          </a:xfrm>
          <a:custGeom>
            <a:avLst/>
            <a:gdLst>
              <a:gd name="T0" fmla="*/ 6 w 192"/>
              <a:gd name="T1" fmla="*/ 98 h 99"/>
              <a:gd name="T2" fmla="*/ 190 w 192"/>
              <a:gd name="T3" fmla="*/ 8 h 99"/>
              <a:gd name="T4" fmla="*/ 191 w 192"/>
              <a:gd name="T5" fmla="*/ 2 h 99"/>
              <a:gd name="T6" fmla="*/ 186 w 192"/>
              <a:gd name="T7" fmla="*/ 1 h 99"/>
              <a:gd name="T8" fmla="*/ 3 w 192"/>
              <a:gd name="T9" fmla="*/ 91 h 99"/>
              <a:gd name="T10" fmla="*/ 1 w 192"/>
              <a:gd name="T11" fmla="*/ 97 h 99"/>
              <a:gd name="T12" fmla="*/ 6 w 192"/>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192" h="99">
                <a:moveTo>
                  <a:pt x="6" y="98"/>
                </a:moveTo>
                <a:cubicBezTo>
                  <a:pt x="190" y="8"/>
                  <a:pt x="190" y="8"/>
                  <a:pt x="190" y="8"/>
                </a:cubicBezTo>
                <a:cubicBezTo>
                  <a:pt x="191" y="7"/>
                  <a:pt x="192" y="4"/>
                  <a:pt x="191" y="2"/>
                </a:cubicBezTo>
                <a:cubicBezTo>
                  <a:pt x="190" y="0"/>
                  <a:pt x="188" y="0"/>
                  <a:pt x="186" y="1"/>
                </a:cubicBezTo>
                <a:cubicBezTo>
                  <a:pt x="3" y="91"/>
                  <a:pt x="3" y="91"/>
                  <a:pt x="3" y="91"/>
                </a:cubicBezTo>
                <a:cubicBezTo>
                  <a:pt x="1" y="92"/>
                  <a:pt x="0" y="95"/>
                  <a:pt x="1" y="97"/>
                </a:cubicBezTo>
                <a:cubicBezTo>
                  <a:pt x="2" y="99"/>
                  <a:pt x="4" y="99"/>
                  <a:pt x="6" y="98"/>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201">
            <a:extLst>
              <a:ext uri="{FF2B5EF4-FFF2-40B4-BE49-F238E27FC236}">
                <a16:creationId xmlns:a16="http://schemas.microsoft.com/office/drawing/2014/main" id="{95FCEA3C-8885-4E76-A49A-056A6BF3FE1E}"/>
              </a:ext>
            </a:extLst>
          </p:cNvPr>
          <p:cNvSpPr>
            <a:spLocks/>
          </p:cNvSpPr>
          <p:nvPr/>
        </p:nvSpPr>
        <p:spPr bwMode="auto">
          <a:xfrm>
            <a:off x="10131977" y="6053892"/>
            <a:ext cx="461584" cy="239902"/>
          </a:xfrm>
          <a:custGeom>
            <a:avLst/>
            <a:gdLst>
              <a:gd name="T0" fmla="*/ 6 w 192"/>
              <a:gd name="T1" fmla="*/ 99 h 100"/>
              <a:gd name="T2" fmla="*/ 190 w 192"/>
              <a:gd name="T3" fmla="*/ 8 h 100"/>
              <a:gd name="T4" fmla="*/ 191 w 192"/>
              <a:gd name="T5" fmla="*/ 3 h 100"/>
              <a:gd name="T6" fmla="*/ 186 w 192"/>
              <a:gd name="T7" fmla="*/ 1 h 100"/>
              <a:gd name="T8" fmla="*/ 3 w 192"/>
              <a:gd name="T9" fmla="*/ 92 h 100"/>
              <a:gd name="T10" fmla="*/ 1 w 192"/>
              <a:gd name="T11" fmla="*/ 97 h 100"/>
              <a:gd name="T12" fmla="*/ 6 w 192"/>
              <a:gd name="T13" fmla="*/ 99 h 100"/>
            </a:gdLst>
            <a:ahLst/>
            <a:cxnLst>
              <a:cxn ang="0">
                <a:pos x="T0" y="T1"/>
              </a:cxn>
              <a:cxn ang="0">
                <a:pos x="T2" y="T3"/>
              </a:cxn>
              <a:cxn ang="0">
                <a:pos x="T4" y="T5"/>
              </a:cxn>
              <a:cxn ang="0">
                <a:pos x="T6" y="T7"/>
              </a:cxn>
              <a:cxn ang="0">
                <a:pos x="T8" y="T9"/>
              </a:cxn>
              <a:cxn ang="0">
                <a:pos x="T10" y="T11"/>
              </a:cxn>
              <a:cxn ang="0">
                <a:pos x="T12" y="T13"/>
              </a:cxn>
            </a:cxnLst>
            <a:rect l="0" t="0" r="r" b="b"/>
            <a:pathLst>
              <a:path w="192" h="100">
                <a:moveTo>
                  <a:pt x="6" y="99"/>
                </a:moveTo>
                <a:cubicBezTo>
                  <a:pt x="190" y="8"/>
                  <a:pt x="190" y="8"/>
                  <a:pt x="190" y="8"/>
                </a:cubicBezTo>
                <a:cubicBezTo>
                  <a:pt x="191" y="7"/>
                  <a:pt x="192" y="5"/>
                  <a:pt x="191" y="3"/>
                </a:cubicBezTo>
                <a:cubicBezTo>
                  <a:pt x="190" y="1"/>
                  <a:pt x="188" y="0"/>
                  <a:pt x="186" y="1"/>
                </a:cubicBezTo>
                <a:cubicBezTo>
                  <a:pt x="3" y="92"/>
                  <a:pt x="3" y="92"/>
                  <a:pt x="3" y="92"/>
                </a:cubicBezTo>
                <a:cubicBezTo>
                  <a:pt x="1" y="93"/>
                  <a:pt x="0" y="95"/>
                  <a:pt x="1" y="97"/>
                </a:cubicBezTo>
                <a:cubicBezTo>
                  <a:pt x="2" y="99"/>
                  <a:pt x="4" y="100"/>
                  <a:pt x="6" y="99"/>
                </a:cubicBezTo>
              </a:path>
            </a:pathLst>
          </a:custGeom>
          <a:solidFill>
            <a:srgbClr val="E4E5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Freeform 202">
            <a:extLst>
              <a:ext uri="{FF2B5EF4-FFF2-40B4-BE49-F238E27FC236}">
                <a16:creationId xmlns:a16="http://schemas.microsoft.com/office/drawing/2014/main" id="{06793E35-22ED-4330-BC35-95078FEF6842}"/>
              </a:ext>
            </a:extLst>
          </p:cNvPr>
          <p:cNvSpPr>
            <a:spLocks/>
          </p:cNvSpPr>
          <p:nvPr/>
        </p:nvSpPr>
        <p:spPr bwMode="auto">
          <a:xfrm>
            <a:off x="9421380" y="4168078"/>
            <a:ext cx="713633" cy="712621"/>
          </a:xfrm>
          <a:custGeom>
            <a:avLst/>
            <a:gdLst>
              <a:gd name="T0" fmla="*/ 297 w 297"/>
              <a:gd name="T1" fmla="*/ 167 h 297"/>
              <a:gd name="T2" fmla="*/ 297 w 297"/>
              <a:gd name="T3" fmla="*/ 127 h 297"/>
              <a:gd name="T4" fmla="*/ 273 w 297"/>
              <a:gd name="T5" fmla="*/ 122 h 297"/>
              <a:gd name="T6" fmla="*/ 268 w 297"/>
              <a:gd name="T7" fmla="*/ 107 h 297"/>
              <a:gd name="T8" fmla="*/ 286 w 297"/>
              <a:gd name="T9" fmla="*/ 91 h 297"/>
              <a:gd name="T10" fmla="*/ 266 w 297"/>
              <a:gd name="T11" fmla="*/ 56 h 297"/>
              <a:gd name="T12" fmla="*/ 241 w 297"/>
              <a:gd name="T13" fmla="*/ 64 h 297"/>
              <a:gd name="T14" fmla="*/ 231 w 297"/>
              <a:gd name="T15" fmla="*/ 54 h 297"/>
              <a:gd name="T16" fmla="*/ 239 w 297"/>
              <a:gd name="T17" fmla="*/ 30 h 297"/>
              <a:gd name="T18" fmla="*/ 204 w 297"/>
              <a:gd name="T19" fmla="*/ 9 h 297"/>
              <a:gd name="T20" fmla="*/ 186 w 297"/>
              <a:gd name="T21" fmla="*/ 29 h 297"/>
              <a:gd name="T22" fmla="*/ 173 w 297"/>
              <a:gd name="T23" fmla="*/ 26 h 297"/>
              <a:gd name="T24" fmla="*/ 167 w 297"/>
              <a:gd name="T25" fmla="*/ 0 h 297"/>
              <a:gd name="T26" fmla="*/ 127 w 297"/>
              <a:gd name="T27" fmla="*/ 0 h 297"/>
              <a:gd name="T28" fmla="*/ 121 w 297"/>
              <a:gd name="T29" fmla="*/ 26 h 297"/>
              <a:gd name="T30" fmla="*/ 107 w 297"/>
              <a:gd name="T31" fmla="*/ 29 h 297"/>
              <a:gd name="T32" fmla="*/ 91 w 297"/>
              <a:gd name="T33" fmla="*/ 11 h 297"/>
              <a:gd name="T34" fmla="*/ 56 w 297"/>
              <a:gd name="T35" fmla="*/ 31 h 297"/>
              <a:gd name="T36" fmla="*/ 63 w 297"/>
              <a:gd name="T37" fmla="*/ 54 h 297"/>
              <a:gd name="T38" fmla="*/ 51 w 297"/>
              <a:gd name="T39" fmla="*/ 65 h 297"/>
              <a:gd name="T40" fmla="*/ 30 w 297"/>
              <a:gd name="T41" fmla="*/ 58 h 297"/>
              <a:gd name="T42" fmla="*/ 9 w 297"/>
              <a:gd name="T43" fmla="*/ 93 h 297"/>
              <a:gd name="T44" fmla="*/ 25 w 297"/>
              <a:gd name="T45" fmla="*/ 108 h 297"/>
              <a:gd name="T46" fmla="*/ 20 w 297"/>
              <a:gd name="T47" fmla="*/ 126 h 297"/>
              <a:gd name="T48" fmla="*/ 0 w 297"/>
              <a:gd name="T49" fmla="*/ 130 h 297"/>
              <a:gd name="T50" fmla="*/ 0 w 297"/>
              <a:gd name="T51" fmla="*/ 170 h 297"/>
              <a:gd name="T52" fmla="*/ 19 w 297"/>
              <a:gd name="T53" fmla="*/ 174 h 297"/>
              <a:gd name="T54" fmla="*/ 24 w 297"/>
              <a:gd name="T55" fmla="*/ 194 h 297"/>
              <a:gd name="T56" fmla="*/ 11 w 297"/>
              <a:gd name="T57" fmla="*/ 206 h 297"/>
              <a:gd name="T58" fmla="*/ 31 w 297"/>
              <a:gd name="T59" fmla="*/ 241 h 297"/>
              <a:gd name="T60" fmla="*/ 48 w 297"/>
              <a:gd name="T61" fmla="*/ 236 h 297"/>
              <a:gd name="T62" fmla="*/ 64 w 297"/>
              <a:gd name="T63" fmla="*/ 252 h 297"/>
              <a:gd name="T64" fmla="*/ 58 w 297"/>
              <a:gd name="T65" fmla="*/ 267 h 297"/>
              <a:gd name="T66" fmla="*/ 93 w 297"/>
              <a:gd name="T67" fmla="*/ 288 h 297"/>
              <a:gd name="T68" fmla="*/ 105 w 297"/>
              <a:gd name="T69" fmla="*/ 275 h 297"/>
              <a:gd name="T70" fmla="*/ 126 w 297"/>
              <a:gd name="T71" fmla="*/ 280 h 297"/>
              <a:gd name="T72" fmla="*/ 130 w 297"/>
              <a:gd name="T73" fmla="*/ 297 h 297"/>
              <a:gd name="T74" fmla="*/ 170 w 297"/>
              <a:gd name="T75" fmla="*/ 297 h 297"/>
              <a:gd name="T76" fmla="*/ 174 w 297"/>
              <a:gd name="T77" fmla="*/ 279 h 297"/>
              <a:gd name="T78" fmla="*/ 195 w 297"/>
              <a:gd name="T79" fmla="*/ 273 h 297"/>
              <a:gd name="T80" fmla="*/ 206 w 297"/>
              <a:gd name="T81" fmla="*/ 286 h 297"/>
              <a:gd name="T82" fmla="*/ 241 w 297"/>
              <a:gd name="T83" fmla="*/ 266 h 297"/>
              <a:gd name="T84" fmla="*/ 235 w 297"/>
              <a:gd name="T85" fmla="*/ 247 h 297"/>
              <a:gd name="T86" fmla="*/ 249 w 297"/>
              <a:gd name="T87" fmla="*/ 233 h 297"/>
              <a:gd name="T88" fmla="*/ 267 w 297"/>
              <a:gd name="T89" fmla="*/ 239 h 297"/>
              <a:gd name="T90" fmla="*/ 288 w 297"/>
              <a:gd name="T91" fmla="*/ 204 h 297"/>
              <a:gd name="T92" fmla="*/ 271 w 297"/>
              <a:gd name="T93" fmla="*/ 189 h 297"/>
              <a:gd name="T94" fmla="*/ 275 w 297"/>
              <a:gd name="T95" fmla="*/ 172 h 297"/>
              <a:gd name="T96" fmla="*/ 297 w 297"/>
              <a:gd name="T97" fmla="*/ 16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 h="297">
                <a:moveTo>
                  <a:pt x="297" y="167"/>
                </a:moveTo>
                <a:cubicBezTo>
                  <a:pt x="297" y="127"/>
                  <a:pt x="297" y="127"/>
                  <a:pt x="297" y="127"/>
                </a:cubicBezTo>
                <a:cubicBezTo>
                  <a:pt x="273" y="122"/>
                  <a:pt x="273" y="122"/>
                  <a:pt x="273" y="122"/>
                </a:cubicBezTo>
                <a:cubicBezTo>
                  <a:pt x="271" y="117"/>
                  <a:pt x="270" y="112"/>
                  <a:pt x="268" y="107"/>
                </a:cubicBezTo>
                <a:cubicBezTo>
                  <a:pt x="286" y="91"/>
                  <a:pt x="286" y="91"/>
                  <a:pt x="286" y="91"/>
                </a:cubicBezTo>
                <a:cubicBezTo>
                  <a:pt x="266" y="56"/>
                  <a:pt x="266" y="56"/>
                  <a:pt x="266" y="56"/>
                </a:cubicBezTo>
                <a:cubicBezTo>
                  <a:pt x="241" y="64"/>
                  <a:pt x="241" y="64"/>
                  <a:pt x="241" y="64"/>
                </a:cubicBezTo>
                <a:cubicBezTo>
                  <a:pt x="238" y="60"/>
                  <a:pt x="234" y="57"/>
                  <a:pt x="231" y="54"/>
                </a:cubicBezTo>
                <a:cubicBezTo>
                  <a:pt x="239" y="30"/>
                  <a:pt x="239" y="30"/>
                  <a:pt x="239" y="30"/>
                </a:cubicBezTo>
                <a:cubicBezTo>
                  <a:pt x="204" y="9"/>
                  <a:pt x="204" y="9"/>
                  <a:pt x="204" y="9"/>
                </a:cubicBezTo>
                <a:cubicBezTo>
                  <a:pt x="186" y="29"/>
                  <a:pt x="186" y="29"/>
                  <a:pt x="186" y="29"/>
                </a:cubicBezTo>
                <a:cubicBezTo>
                  <a:pt x="181" y="28"/>
                  <a:pt x="177" y="27"/>
                  <a:pt x="173" y="26"/>
                </a:cubicBezTo>
                <a:cubicBezTo>
                  <a:pt x="167" y="0"/>
                  <a:pt x="167" y="0"/>
                  <a:pt x="167" y="0"/>
                </a:cubicBezTo>
                <a:cubicBezTo>
                  <a:pt x="127" y="0"/>
                  <a:pt x="127" y="0"/>
                  <a:pt x="127" y="0"/>
                </a:cubicBezTo>
                <a:cubicBezTo>
                  <a:pt x="121" y="26"/>
                  <a:pt x="121" y="26"/>
                  <a:pt x="121" y="26"/>
                </a:cubicBezTo>
                <a:cubicBezTo>
                  <a:pt x="116" y="27"/>
                  <a:pt x="112" y="28"/>
                  <a:pt x="107" y="29"/>
                </a:cubicBezTo>
                <a:cubicBezTo>
                  <a:pt x="91" y="11"/>
                  <a:pt x="91" y="11"/>
                  <a:pt x="91" y="11"/>
                </a:cubicBezTo>
                <a:cubicBezTo>
                  <a:pt x="56" y="31"/>
                  <a:pt x="56" y="31"/>
                  <a:pt x="56" y="31"/>
                </a:cubicBezTo>
                <a:cubicBezTo>
                  <a:pt x="63" y="54"/>
                  <a:pt x="63" y="54"/>
                  <a:pt x="63" y="54"/>
                </a:cubicBezTo>
                <a:cubicBezTo>
                  <a:pt x="59" y="58"/>
                  <a:pt x="55" y="61"/>
                  <a:pt x="51" y="65"/>
                </a:cubicBezTo>
                <a:cubicBezTo>
                  <a:pt x="30" y="58"/>
                  <a:pt x="30" y="58"/>
                  <a:pt x="30" y="58"/>
                </a:cubicBezTo>
                <a:cubicBezTo>
                  <a:pt x="9" y="93"/>
                  <a:pt x="9" y="93"/>
                  <a:pt x="9" y="93"/>
                </a:cubicBezTo>
                <a:cubicBezTo>
                  <a:pt x="25" y="108"/>
                  <a:pt x="25" y="108"/>
                  <a:pt x="25" y="108"/>
                </a:cubicBezTo>
                <a:cubicBezTo>
                  <a:pt x="23" y="114"/>
                  <a:pt x="22" y="120"/>
                  <a:pt x="20" y="126"/>
                </a:cubicBezTo>
                <a:cubicBezTo>
                  <a:pt x="0" y="130"/>
                  <a:pt x="0" y="130"/>
                  <a:pt x="0" y="130"/>
                </a:cubicBezTo>
                <a:cubicBezTo>
                  <a:pt x="0" y="170"/>
                  <a:pt x="0" y="170"/>
                  <a:pt x="0" y="170"/>
                </a:cubicBezTo>
                <a:cubicBezTo>
                  <a:pt x="19" y="174"/>
                  <a:pt x="19" y="174"/>
                  <a:pt x="19" y="174"/>
                </a:cubicBezTo>
                <a:cubicBezTo>
                  <a:pt x="21" y="181"/>
                  <a:pt x="22" y="188"/>
                  <a:pt x="24" y="194"/>
                </a:cubicBezTo>
                <a:cubicBezTo>
                  <a:pt x="11" y="206"/>
                  <a:pt x="11" y="206"/>
                  <a:pt x="11" y="206"/>
                </a:cubicBezTo>
                <a:cubicBezTo>
                  <a:pt x="31" y="241"/>
                  <a:pt x="31" y="241"/>
                  <a:pt x="31" y="241"/>
                </a:cubicBezTo>
                <a:cubicBezTo>
                  <a:pt x="48" y="236"/>
                  <a:pt x="48" y="236"/>
                  <a:pt x="48" y="236"/>
                </a:cubicBezTo>
                <a:cubicBezTo>
                  <a:pt x="53" y="242"/>
                  <a:pt x="58" y="247"/>
                  <a:pt x="64" y="252"/>
                </a:cubicBezTo>
                <a:cubicBezTo>
                  <a:pt x="58" y="267"/>
                  <a:pt x="58" y="267"/>
                  <a:pt x="58" y="267"/>
                </a:cubicBezTo>
                <a:cubicBezTo>
                  <a:pt x="93" y="288"/>
                  <a:pt x="93" y="288"/>
                  <a:pt x="93" y="288"/>
                </a:cubicBezTo>
                <a:cubicBezTo>
                  <a:pt x="105" y="275"/>
                  <a:pt x="105" y="275"/>
                  <a:pt x="105" y="275"/>
                </a:cubicBezTo>
                <a:cubicBezTo>
                  <a:pt x="112" y="277"/>
                  <a:pt x="119" y="279"/>
                  <a:pt x="126" y="280"/>
                </a:cubicBezTo>
                <a:cubicBezTo>
                  <a:pt x="130" y="297"/>
                  <a:pt x="130" y="297"/>
                  <a:pt x="130" y="297"/>
                </a:cubicBezTo>
                <a:cubicBezTo>
                  <a:pt x="170" y="297"/>
                  <a:pt x="170" y="297"/>
                  <a:pt x="170" y="297"/>
                </a:cubicBezTo>
                <a:cubicBezTo>
                  <a:pt x="174" y="279"/>
                  <a:pt x="174" y="279"/>
                  <a:pt x="174" y="279"/>
                </a:cubicBezTo>
                <a:cubicBezTo>
                  <a:pt x="181" y="278"/>
                  <a:pt x="188" y="275"/>
                  <a:pt x="195" y="273"/>
                </a:cubicBezTo>
                <a:cubicBezTo>
                  <a:pt x="206" y="286"/>
                  <a:pt x="206" y="286"/>
                  <a:pt x="206" y="286"/>
                </a:cubicBezTo>
                <a:cubicBezTo>
                  <a:pt x="241" y="266"/>
                  <a:pt x="241" y="266"/>
                  <a:pt x="241" y="266"/>
                </a:cubicBezTo>
                <a:cubicBezTo>
                  <a:pt x="235" y="247"/>
                  <a:pt x="235" y="247"/>
                  <a:pt x="235" y="247"/>
                </a:cubicBezTo>
                <a:cubicBezTo>
                  <a:pt x="240" y="243"/>
                  <a:pt x="245" y="238"/>
                  <a:pt x="249" y="233"/>
                </a:cubicBezTo>
                <a:cubicBezTo>
                  <a:pt x="267" y="239"/>
                  <a:pt x="267" y="239"/>
                  <a:pt x="267" y="239"/>
                </a:cubicBezTo>
                <a:cubicBezTo>
                  <a:pt x="288" y="204"/>
                  <a:pt x="288" y="204"/>
                  <a:pt x="288" y="204"/>
                </a:cubicBezTo>
                <a:cubicBezTo>
                  <a:pt x="271" y="189"/>
                  <a:pt x="271" y="189"/>
                  <a:pt x="271" y="189"/>
                </a:cubicBezTo>
                <a:cubicBezTo>
                  <a:pt x="273" y="183"/>
                  <a:pt x="274" y="178"/>
                  <a:pt x="275" y="172"/>
                </a:cubicBezTo>
                <a:lnTo>
                  <a:pt x="297" y="1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203">
            <a:extLst>
              <a:ext uri="{FF2B5EF4-FFF2-40B4-BE49-F238E27FC236}">
                <a16:creationId xmlns:a16="http://schemas.microsoft.com/office/drawing/2014/main" id="{2A59743D-BD03-4EE9-AA60-A5968F0E4910}"/>
              </a:ext>
            </a:extLst>
          </p:cNvPr>
          <p:cNvSpPr>
            <a:spLocks/>
          </p:cNvSpPr>
          <p:nvPr/>
        </p:nvSpPr>
        <p:spPr bwMode="auto">
          <a:xfrm>
            <a:off x="9407208" y="4152894"/>
            <a:ext cx="741976" cy="742988"/>
          </a:xfrm>
          <a:custGeom>
            <a:avLst/>
            <a:gdLst>
              <a:gd name="T0" fmla="*/ 304 w 309"/>
              <a:gd name="T1" fmla="*/ 127 h 309"/>
              <a:gd name="T2" fmla="*/ 280 w 309"/>
              <a:gd name="T3" fmla="*/ 111 h 309"/>
              <a:gd name="T4" fmla="*/ 297 w 309"/>
              <a:gd name="T5" fmla="*/ 94 h 309"/>
              <a:gd name="T6" fmla="*/ 247 w 309"/>
              <a:gd name="T7" fmla="*/ 70 h 309"/>
              <a:gd name="T8" fmla="*/ 242 w 309"/>
              <a:gd name="T9" fmla="*/ 62 h 309"/>
              <a:gd name="T10" fmla="*/ 205 w 309"/>
              <a:gd name="T11" fmla="*/ 11 h 309"/>
              <a:gd name="T12" fmla="*/ 180 w 309"/>
              <a:gd name="T13" fmla="*/ 26 h 309"/>
              <a:gd name="T14" fmla="*/ 173 w 309"/>
              <a:gd name="T15" fmla="*/ 0 h 309"/>
              <a:gd name="T16" fmla="*/ 127 w 309"/>
              <a:gd name="T17" fmla="*/ 32 h 309"/>
              <a:gd name="T18" fmla="*/ 118 w 309"/>
              <a:gd name="T19" fmla="*/ 31 h 309"/>
              <a:gd name="T20" fmla="*/ 56 w 309"/>
              <a:gd name="T21" fmla="*/ 39 h 309"/>
              <a:gd name="T22" fmla="*/ 53 w 309"/>
              <a:gd name="T23" fmla="*/ 67 h 309"/>
              <a:gd name="T24" fmla="*/ 30 w 309"/>
              <a:gd name="T25" fmla="*/ 61 h 309"/>
              <a:gd name="T26" fmla="*/ 31 w 309"/>
              <a:gd name="T27" fmla="*/ 114 h 309"/>
              <a:gd name="T28" fmla="*/ 25 w 309"/>
              <a:gd name="T29" fmla="*/ 126 h 309"/>
              <a:gd name="T30" fmla="*/ 5 w 309"/>
              <a:gd name="T31" fmla="*/ 182 h 309"/>
              <a:gd name="T32" fmla="*/ 25 w 309"/>
              <a:gd name="T33" fmla="*/ 202 h 309"/>
              <a:gd name="T34" fmla="*/ 12 w 309"/>
              <a:gd name="T35" fmla="*/ 215 h 309"/>
              <a:gd name="T36" fmla="*/ 54 w 309"/>
              <a:gd name="T37" fmla="*/ 242 h 309"/>
              <a:gd name="T38" fmla="*/ 64 w 309"/>
              <a:gd name="T39" fmla="*/ 256 h 309"/>
              <a:gd name="T40" fmla="*/ 104 w 309"/>
              <a:gd name="T41" fmla="*/ 298 h 309"/>
              <a:gd name="T42" fmla="*/ 131 w 309"/>
              <a:gd name="T43" fmla="*/ 292 h 309"/>
              <a:gd name="T44" fmla="*/ 136 w 309"/>
              <a:gd name="T45" fmla="*/ 309 h 309"/>
              <a:gd name="T46" fmla="*/ 180 w 309"/>
              <a:gd name="T47" fmla="*/ 285 h 309"/>
              <a:gd name="T48" fmla="*/ 196 w 309"/>
              <a:gd name="T49" fmla="*/ 283 h 309"/>
              <a:gd name="T50" fmla="*/ 253 w 309"/>
              <a:gd name="T51" fmla="*/ 270 h 309"/>
              <a:gd name="T52" fmla="*/ 259 w 309"/>
              <a:gd name="T53" fmla="*/ 242 h 309"/>
              <a:gd name="T54" fmla="*/ 279 w 309"/>
              <a:gd name="T55" fmla="*/ 248 h 309"/>
              <a:gd name="T56" fmla="*/ 277 w 309"/>
              <a:gd name="T57" fmla="*/ 195 h 309"/>
              <a:gd name="T58" fmla="*/ 282 w 309"/>
              <a:gd name="T59" fmla="*/ 184 h 309"/>
              <a:gd name="T60" fmla="*/ 301 w 309"/>
              <a:gd name="T61" fmla="*/ 167 h 309"/>
              <a:gd name="T62" fmla="*/ 273 w 309"/>
              <a:gd name="T63" fmla="*/ 199 h 309"/>
              <a:gd name="T64" fmla="*/ 250 w 309"/>
              <a:gd name="T65" fmla="*/ 235 h 309"/>
              <a:gd name="T66" fmla="*/ 214 w 309"/>
              <a:gd name="T67" fmla="*/ 284 h 309"/>
              <a:gd name="T68" fmla="*/ 174 w 309"/>
              <a:gd name="T69" fmla="*/ 284 h 309"/>
              <a:gd name="T70" fmla="*/ 133 w 309"/>
              <a:gd name="T71" fmla="*/ 280 h 309"/>
              <a:gd name="T72" fmla="*/ 72 w 309"/>
              <a:gd name="T73" fmla="*/ 271 h 309"/>
              <a:gd name="T74" fmla="*/ 52 w 309"/>
              <a:gd name="T75" fmla="*/ 236 h 309"/>
              <a:gd name="T76" fmla="*/ 36 w 309"/>
              <a:gd name="T77" fmla="*/ 198 h 309"/>
              <a:gd name="T78" fmla="*/ 12 w 309"/>
              <a:gd name="T79" fmla="*/ 141 h 309"/>
              <a:gd name="T80" fmla="*/ 35 w 309"/>
              <a:gd name="T81" fmla="*/ 109 h 309"/>
              <a:gd name="T82" fmla="*/ 62 w 309"/>
              <a:gd name="T83" fmla="*/ 75 h 309"/>
              <a:gd name="T84" fmla="*/ 95 w 309"/>
              <a:gd name="T85" fmla="*/ 25 h 309"/>
              <a:gd name="T86" fmla="*/ 133 w 309"/>
              <a:gd name="T87" fmla="*/ 33 h 309"/>
              <a:gd name="T88" fmla="*/ 177 w 309"/>
              <a:gd name="T89" fmla="*/ 38 h 309"/>
              <a:gd name="T90" fmla="*/ 237 w 309"/>
              <a:gd name="T91" fmla="*/ 38 h 309"/>
              <a:gd name="T92" fmla="*/ 249 w 309"/>
              <a:gd name="T93" fmla="*/ 75 h 309"/>
              <a:gd name="T94" fmla="*/ 268 w 309"/>
              <a:gd name="T95" fmla="*/ 115 h 309"/>
              <a:gd name="T96" fmla="*/ 297 w 309"/>
              <a:gd name="T97" fmla="*/ 17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9" h="309">
                <a:moveTo>
                  <a:pt x="303" y="173"/>
                </a:moveTo>
                <a:cubicBezTo>
                  <a:pt x="309" y="173"/>
                  <a:pt x="309" y="173"/>
                  <a:pt x="309" y="173"/>
                </a:cubicBezTo>
                <a:cubicBezTo>
                  <a:pt x="309" y="133"/>
                  <a:pt x="309" y="133"/>
                  <a:pt x="309" y="133"/>
                </a:cubicBezTo>
                <a:cubicBezTo>
                  <a:pt x="309" y="130"/>
                  <a:pt x="307" y="127"/>
                  <a:pt x="304" y="127"/>
                </a:cubicBezTo>
                <a:cubicBezTo>
                  <a:pt x="280" y="122"/>
                  <a:pt x="280" y="122"/>
                  <a:pt x="280" y="122"/>
                </a:cubicBezTo>
                <a:cubicBezTo>
                  <a:pt x="279" y="128"/>
                  <a:pt x="279" y="128"/>
                  <a:pt x="279" y="128"/>
                </a:cubicBezTo>
                <a:cubicBezTo>
                  <a:pt x="284" y="126"/>
                  <a:pt x="284" y="126"/>
                  <a:pt x="284" y="126"/>
                </a:cubicBezTo>
                <a:cubicBezTo>
                  <a:pt x="283" y="121"/>
                  <a:pt x="282" y="116"/>
                  <a:pt x="280" y="111"/>
                </a:cubicBezTo>
                <a:cubicBezTo>
                  <a:pt x="274" y="113"/>
                  <a:pt x="274" y="113"/>
                  <a:pt x="274" y="113"/>
                </a:cubicBezTo>
                <a:cubicBezTo>
                  <a:pt x="278" y="117"/>
                  <a:pt x="278" y="117"/>
                  <a:pt x="278" y="117"/>
                </a:cubicBezTo>
                <a:cubicBezTo>
                  <a:pt x="296" y="101"/>
                  <a:pt x="296" y="101"/>
                  <a:pt x="296" y="101"/>
                </a:cubicBezTo>
                <a:cubicBezTo>
                  <a:pt x="298" y="99"/>
                  <a:pt x="299" y="96"/>
                  <a:pt x="297" y="94"/>
                </a:cubicBezTo>
                <a:cubicBezTo>
                  <a:pt x="277" y="59"/>
                  <a:pt x="277" y="59"/>
                  <a:pt x="277" y="59"/>
                </a:cubicBezTo>
                <a:cubicBezTo>
                  <a:pt x="276" y="56"/>
                  <a:pt x="273" y="55"/>
                  <a:pt x="270" y="56"/>
                </a:cubicBezTo>
                <a:cubicBezTo>
                  <a:pt x="245" y="64"/>
                  <a:pt x="245" y="64"/>
                  <a:pt x="245" y="64"/>
                </a:cubicBezTo>
                <a:cubicBezTo>
                  <a:pt x="247" y="70"/>
                  <a:pt x="247" y="70"/>
                  <a:pt x="247" y="70"/>
                </a:cubicBezTo>
                <a:cubicBezTo>
                  <a:pt x="251" y="65"/>
                  <a:pt x="251" y="65"/>
                  <a:pt x="251" y="65"/>
                </a:cubicBezTo>
                <a:cubicBezTo>
                  <a:pt x="248" y="62"/>
                  <a:pt x="244" y="59"/>
                  <a:pt x="241" y="55"/>
                </a:cubicBezTo>
                <a:cubicBezTo>
                  <a:pt x="237" y="60"/>
                  <a:pt x="237" y="60"/>
                  <a:pt x="237" y="60"/>
                </a:cubicBezTo>
                <a:cubicBezTo>
                  <a:pt x="242" y="62"/>
                  <a:pt x="242" y="62"/>
                  <a:pt x="242" y="62"/>
                </a:cubicBezTo>
                <a:cubicBezTo>
                  <a:pt x="250" y="37"/>
                  <a:pt x="250" y="37"/>
                  <a:pt x="250" y="37"/>
                </a:cubicBezTo>
                <a:cubicBezTo>
                  <a:pt x="251" y="35"/>
                  <a:pt x="250" y="32"/>
                  <a:pt x="248" y="30"/>
                </a:cubicBezTo>
                <a:cubicBezTo>
                  <a:pt x="213" y="10"/>
                  <a:pt x="213" y="10"/>
                  <a:pt x="213" y="10"/>
                </a:cubicBezTo>
                <a:cubicBezTo>
                  <a:pt x="210" y="9"/>
                  <a:pt x="207" y="9"/>
                  <a:pt x="205" y="11"/>
                </a:cubicBezTo>
                <a:cubicBezTo>
                  <a:pt x="187" y="31"/>
                  <a:pt x="187" y="31"/>
                  <a:pt x="187" y="31"/>
                </a:cubicBezTo>
                <a:cubicBezTo>
                  <a:pt x="192" y="35"/>
                  <a:pt x="192" y="35"/>
                  <a:pt x="192" y="35"/>
                </a:cubicBezTo>
                <a:cubicBezTo>
                  <a:pt x="194" y="29"/>
                  <a:pt x="194" y="29"/>
                  <a:pt x="194" y="29"/>
                </a:cubicBezTo>
                <a:cubicBezTo>
                  <a:pt x="189" y="28"/>
                  <a:pt x="184" y="27"/>
                  <a:pt x="180" y="26"/>
                </a:cubicBezTo>
                <a:cubicBezTo>
                  <a:pt x="179" y="32"/>
                  <a:pt x="179" y="32"/>
                  <a:pt x="179" y="32"/>
                </a:cubicBezTo>
                <a:cubicBezTo>
                  <a:pt x="184" y="30"/>
                  <a:pt x="184" y="30"/>
                  <a:pt x="184" y="30"/>
                </a:cubicBezTo>
                <a:cubicBezTo>
                  <a:pt x="179" y="5"/>
                  <a:pt x="179" y="5"/>
                  <a:pt x="179" y="5"/>
                </a:cubicBezTo>
                <a:cubicBezTo>
                  <a:pt x="178" y="2"/>
                  <a:pt x="176" y="0"/>
                  <a:pt x="173" y="0"/>
                </a:cubicBezTo>
                <a:cubicBezTo>
                  <a:pt x="133" y="0"/>
                  <a:pt x="133" y="0"/>
                  <a:pt x="133" y="0"/>
                </a:cubicBezTo>
                <a:cubicBezTo>
                  <a:pt x="130" y="0"/>
                  <a:pt x="127" y="2"/>
                  <a:pt x="127" y="5"/>
                </a:cubicBezTo>
                <a:cubicBezTo>
                  <a:pt x="121" y="30"/>
                  <a:pt x="121" y="30"/>
                  <a:pt x="121" y="30"/>
                </a:cubicBezTo>
                <a:cubicBezTo>
                  <a:pt x="127" y="32"/>
                  <a:pt x="127" y="32"/>
                  <a:pt x="127" y="32"/>
                </a:cubicBezTo>
                <a:cubicBezTo>
                  <a:pt x="126" y="26"/>
                  <a:pt x="126" y="26"/>
                  <a:pt x="126" y="26"/>
                </a:cubicBezTo>
                <a:cubicBezTo>
                  <a:pt x="121" y="27"/>
                  <a:pt x="116" y="28"/>
                  <a:pt x="111" y="30"/>
                </a:cubicBezTo>
                <a:cubicBezTo>
                  <a:pt x="113" y="35"/>
                  <a:pt x="113" y="35"/>
                  <a:pt x="113" y="35"/>
                </a:cubicBezTo>
                <a:cubicBezTo>
                  <a:pt x="118" y="31"/>
                  <a:pt x="118" y="31"/>
                  <a:pt x="118" y="31"/>
                </a:cubicBezTo>
                <a:cubicBezTo>
                  <a:pt x="101" y="13"/>
                  <a:pt x="101" y="13"/>
                  <a:pt x="101" y="13"/>
                </a:cubicBezTo>
                <a:cubicBezTo>
                  <a:pt x="99" y="11"/>
                  <a:pt x="96" y="10"/>
                  <a:pt x="94" y="12"/>
                </a:cubicBezTo>
                <a:cubicBezTo>
                  <a:pt x="59" y="32"/>
                  <a:pt x="59" y="32"/>
                  <a:pt x="59" y="32"/>
                </a:cubicBezTo>
                <a:cubicBezTo>
                  <a:pt x="56" y="33"/>
                  <a:pt x="55" y="36"/>
                  <a:pt x="56" y="39"/>
                </a:cubicBezTo>
                <a:cubicBezTo>
                  <a:pt x="63" y="62"/>
                  <a:pt x="63" y="62"/>
                  <a:pt x="63" y="62"/>
                </a:cubicBezTo>
                <a:cubicBezTo>
                  <a:pt x="69" y="60"/>
                  <a:pt x="69" y="60"/>
                  <a:pt x="69" y="60"/>
                </a:cubicBezTo>
                <a:cubicBezTo>
                  <a:pt x="65" y="55"/>
                  <a:pt x="65" y="55"/>
                  <a:pt x="65" y="55"/>
                </a:cubicBezTo>
                <a:cubicBezTo>
                  <a:pt x="61" y="59"/>
                  <a:pt x="57" y="63"/>
                  <a:pt x="53" y="67"/>
                </a:cubicBezTo>
                <a:cubicBezTo>
                  <a:pt x="57" y="71"/>
                  <a:pt x="57" y="71"/>
                  <a:pt x="57" y="71"/>
                </a:cubicBezTo>
                <a:cubicBezTo>
                  <a:pt x="59" y="66"/>
                  <a:pt x="59" y="66"/>
                  <a:pt x="59" y="66"/>
                </a:cubicBezTo>
                <a:cubicBezTo>
                  <a:pt x="37" y="59"/>
                  <a:pt x="37" y="59"/>
                  <a:pt x="37" y="59"/>
                </a:cubicBezTo>
                <a:cubicBezTo>
                  <a:pt x="35" y="58"/>
                  <a:pt x="32" y="59"/>
                  <a:pt x="30" y="61"/>
                </a:cubicBezTo>
                <a:cubicBezTo>
                  <a:pt x="10" y="96"/>
                  <a:pt x="10" y="96"/>
                  <a:pt x="10" y="96"/>
                </a:cubicBezTo>
                <a:cubicBezTo>
                  <a:pt x="9" y="99"/>
                  <a:pt x="9" y="102"/>
                  <a:pt x="11" y="104"/>
                </a:cubicBezTo>
                <a:cubicBezTo>
                  <a:pt x="27" y="118"/>
                  <a:pt x="27" y="118"/>
                  <a:pt x="27" y="118"/>
                </a:cubicBezTo>
                <a:cubicBezTo>
                  <a:pt x="31" y="114"/>
                  <a:pt x="31" y="114"/>
                  <a:pt x="31" y="114"/>
                </a:cubicBezTo>
                <a:cubicBezTo>
                  <a:pt x="26" y="112"/>
                  <a:pt x="26" y="112"/>
                  <a:pt x="26" y="112"/>
                </a:cubicBezTo>
                <a:cubicBezTo>
                  <a:pt x="24" y="118"/>
                  <a:pt x="22" y="124"/>
                  <a:pt x="20" y="130"/>
                </a:cubicBezTo>
                <a:cubicBezTo>
                  <a:pt x="26" y="132"/>
                  <a:pt x="26" y="132"/>
                  <a:pt x="26" y="132"/>
                </a:cubicBezTo>
                <a:cubicBezTo>
                  <a:pt x="25" y="126"/>
                  <a:pt x="25" y="126"/>
                  <a:pt x="25" y="126"/>
                </a:cubicBezTo>
                <a:cubicBezTo>
                  <a:pt x="5" y="130"/>
                  <a:pt x="5" y="130"/>
                  <a:pt x="5" y="130"/>
                </a:cubicBezTo>
                <a:cubicBezTo>
                  <a:pt x="2" y="131"/>
                  <a:pt x="0" y="133"/>
                  <a:pt x="0" y="136"/>
                </a:cubicBezTo>
                <a:cubicBezTo>
                  <a:pt x="0" y="176"/>
                  <a:pt x="0" y="176"/>
                  <a:pt x="0" y="176"/>
                </a:cubicBezTo>
                <a:cubicBezTo>
                  <a:pt x="0" y="179"/>
                  <a:pt x="2" y="182"/>
                  <a:pt x="5" y="182"/>
                </a:cubicBezTo>
                <a:cubicBezTo>
                  <a:pt x="24" y="186"/>
                  <a:pt x="24" y="186"/>
                  <a:pt x="24" y="186"/>
                </a:cubicBezTo>
                <a:cubicBezTo>
                  <a:pt x="25" y="180"/>
                  <a:pt x="25" y="180"/>
                  <a:pt x="25" y="180"/>
                </a:cubicBezTo>
                <a:cubicBezTo>
                  <a:pt x="19" y="181"/>
                  <a:pt x="19" y="181"/>
                  <a:pt x="19" y="181"/>
                </a:cubicBezTo>
                <a:cubicBezTo>
                  <a:pt x="21" y="189"/>
                  <a:pt x="22" y="196"/>
                  <a:pt x="25" y="202"/>
                </a:cubicBezTo>
                <a:cubicBezTo>
                  <a:pt x="30" y="200"/>
                  <a:pt x="30" y="200"/>
                  <a:pt x="30" y="200"/>
                </a:cubicBezTo>
                <a:cubicBezTo>
                  <a:pt x="26" y="196"/>
                  <a:pt x="26" y="196"/>
                  <a:pt x="26" y="196"/>
                </a:cubicBezTo>
                <a:cubicBezTo>
                  <a:pt x="13" y="208"/>
                  <a:pt x="13" y="208"/>
                  <a:pt x="13" y="208"/>
                </a:cubicBezTo>
                <a:cubicBezTo>
                  <a:pt x="11" y="210"/>
                  <a:pt x="10" y="213"/>
                  <a:pt x="12" y="215"/>
                </a:cubicBezTo>
                <a:cubicBezTo>
                  <a:pt x="32" y="250"/>
                  <a:pt x="32" y="250"/>
                  <a:pt x="32" y="250"/>
                </a:cubicBezTo>
                <a:cubicBezTo>
                  <a:pt x="33" y="253"/>
                  <a:pt x="36" y="254"/>
                  <a:pt x="39" y="253"/>
                </a:cubicBezTo>
                <a:cubicBezTo>
                  <a:pt x="56" y="248"/>
                  <a:pt x="56" y="248"/>
                  <a:pt x="56" y="248"/>
                </a:cubicBezTo>
                <a:cubicBezTo>
                  <a:pt x="54" y="242"/>
                  <a:pt x="54" y="242"/>
                  <a:pt x="54" y="242"/>
                </a:cubicBezTo>
                <a:cubicBezTo>
                  <a:pt x="49" y="246"/>
                  <a:pt x="49" y="246"/>
                  <a:pt x="49" y="246"/>
                </a:cubicBezTo>
                <a:cubicBezTo>
                  <a:pt x="54" y="252"/>
                  <a:pt x="60" y="257"/>
                  <a:pt x="66" y="262"/>
                </a:cubicBezTo>
                <a:cubicBezTo>
                  <a:pt x="70" y="258"/>
                  <a:pt x="70" y="258"/>
                  <a:pt x="70" y="258"/>
                </a:cubicBezTo>
                <a:cubicBezTo>
                  <a:pt x="64" y="256"/>
                  <a:pt x="64" y="256"/>
                  <a:pt x="64" y="256"/>
                </a:cubicBezTo>
                <a:cubicBezTo>
                  <a:pt x="59" y="272"/>
                  <a:pt x="59" y="272"/>
                  <a:pt x="59" y="272"/>
                </a:cubicBezTo>
                <a:cubicBezTo>
                  <a:pt x="58" y="274"/>
                  <a:pt x="59" y="277"/>
                  <a:pt x="61" y="279"/>
                </a:cubicBezTo>
                <a:cubicBezTo>
                  <a:pt x="96" y="299"/>
                  <a:pt x="96" y="299"/>
                  <a:pt x="96" y="299"/>
                </a:cubicBezTo>
                <a:cubicBezTo>
                  <a:pt x="99" y="300"/>
                  <a:pt x="102" y="300"/>
                  <a:pt x="104" y="298"/>
                </a:cubicBezTo>
                <a:cubicBezTo>
                  <a:pt x="115" y="285"/>
                  <a:pt x="115" y="285"/>
                  <a:pt x="115" y="285"/>
                </a:cubicBezTo>
                <a:cubicBezTo>
                  <a:pt x="111" y="281"/>
                  <a:pt x="111" y="281"/>
                  <a:pt x="111" y="281"/>
                </a:cubicBezTo>
                <a:cubicBezTo>
                  <a:pt x="109" y="287"/>
                  <a:pt x="109" y="287"/>
                  <a:pt x="109" y="287"/>
                </a:cubicBezTo>
                <a:cubicBezTo>
                  <a:pt x="116" y="289"/>
                  <a:pt x="124" y="291"/>
                  <a:pt x="131" y="292"/>
                </a:cubicBezTo>
                <a:cubicBezTo>
                  <a:pt x="132" y="286"/>
                  <a:pt x="132" y="286"/>
                  <a:pt x="132" y="286"/>
                </a:cubicBezTo>
                <a:cubicBezTo>
                  <a:pt x="127" y="288"/>
                  <a:pt x="127" y="288"/>
                  <a:pt x="127" y="288"/>
                </a:cubicBezTo>
                <a:cubicBezTo>
                  <a:pt x="130" y="304"/>
                  <a:pt x="130" y="304"/>
                  <a:pt x="130" y="304"/>
                </a:cubicBezTo>
                <a:cubicBezTo>
                  <a:pt x="131" y="307"/>
                  <a:pt x="133" y="309"/>
                  <a:pt x="136" y="309"/>
                </a:cubicBezTo>
                <a:cubicBezTo>
                  <a:pt x="176" y="309"/>
                  <a:pt x="176" y="309"/>
                  <a:pt x="176" y="309"/>
                </a:cubicBezTo>
                <a:cubicBezTo>
                  <a:pt x="179" y="309"/>
                  <a:pt x="182" y="307"/>
                  <a:pt x="182" y="304"/>
                </a:cubicBezTo>
                <a:cubicBezTo>
                  <a:pt x="186" y="286"/>
                  <a:pt x="186" y="286"/>
                  <a:pt x="186" y="286"/>
                </a:cubicBezTo>
                <a:cubicBezTo>
                  <a:pt x="180" y="285"/>
                  <a:pt x="180" y="285"/>
                  <a:pt x="180" y="285"/>
                </a:cubicBezTo>
                <a:cubicBezTo>
                  <a:pt x="181" y="291"/>
                  <a:pt x="181" y="291"/>
                  <a:pt x="181" y="291"/>
                </a:cubicBezTo>
                <a:cubicBezTo>
                  <a:pt x="189" y="289"/>
                  <a:pt x="196" y="287"/>
                  <a:pt x="203" y="284"/>
                </a:cubicBezTo>
                <a:cubicBezTo>
                  <a:pt x="201" y="279"/>
                  <a:pt x="201" y="279"/>
                  <a:pt x="201" y="279"/>
                </a:cubicBezTo>
                <a:cubicBezTo>
                  <a:pt x="196" y="283"/>
                  <a:pt x="196" y="283"/>
                  <a:pt x="196" y="283"/>
                </a:cubicBezTo>
                <a:cubicBezTo>
                  <a:pt x="208" y="296"/>
                  <a:pt x="208" y="296"/>
                  <a:pt x="208" y="296"/>
                </a:cubicBezTo>
                <a:cubicBezTo>
                  <a:pt x="210" y="298"/>
                  <a:pt x="213" y="299"/>
                  <a:pt x="215" y="297"/>
                </a:cubicBezTo>
                <a:cubicBezTo>
                  <a:pt x="250" y="277"/>
                  <a:pt x="250" y="277"/>
                  <a:pt x="250" y="277"/>
                </a:cubicBezTo>
                <a:cubicBezTo>
                  <a:pt x="253" y="276"/>
                  <a:pt x="254" y="273"/>
                  <a:pt x="253" y="270"/>
                </a:cubicBezTo>
                <a:cubicBezTo>
                  <a:pt x="247" y="251"/>
                  <a:pt x="247" y="251"/>
                  <a:pt x="247" y="251"/>
                </a:cubicBezTo>
                <a:cubicBezTo>
                  <a:pt x="241" y="253"/>
                  <a:pt x="241" y="253"/>
                  <a:pt x="241" y="253"/>
                </a:cubicBezTo>
                <a:cubicBezTo>
                  <a:pt x="245" y="257"/>
                  <a:pt x="245" y="257"/>
                  <a:pt x="245" y="257"/>
                </a:cubicBezTo>
                <a:cubicBezTo>
                  <a:pt x="250" y="253"/>
                  <a:pt x="255" y="248"/>
                  <a:pt x="259" y="242"/>
                </a:cubicBezTo>
                <a:cubicBezTo>
                  <a:pt x="255" y="239"/>
                  <a:pt x="255" y="239"/>
                  <a:pt x="255" y="239"/>
                </a:cubicBezTo>
                <a:cubicBezTo>
                  <a:pt x="253" y="244"/>
                  <a:pt x="253" y="244"/>
                  <a:pt x="253" y="244"/>
                </a:cubicBezTo>
                <a:cubicBezTo>
                  <a:pt x="272" y="250"/>
                  <a:pt x="272" y="250"/>
                  <a:pt x="272" y="250"/>
                </a:cubicBezTo>
                <a:cubicBezTo>
                  <a:pt x="274" y="251"/>
                  <a:pt x="277" y="250"/>
                  <a:pt x="279" y="248"/>
                </a:cubicBezTo>
                <a:cubicBezTo>
                  <a:pt x="299" y="213"/>
                  <a:pt x="299" y="213"/>
                  <a:pt x="299" y="213"/>
                </a:cubicBezTo>
                <a:cubicBezTo>
                  <a:pt x="300" y="210"/>
                  <a:pt x="300" y="207"/>
                  <a:pt x="298" y="205"/>
                </a:cubicBezTo>
                <a:cubicBezTo>
                  <a:pt x="281" y="190"/>
                  <a:pt x="281" y="190"/>
                  <a:pt x="281" y="190"/>
                </a:cubicBezTo>
                <a:cubicBezTo>
                  <a:pt x="277" y="195"/>
                  <a:pt x="277" y="195"/>
                  <a:pt x="277" y="195"/>
                </a:cubicBezTo>
                <a:cubicBezTo>
                  <a:pt x="283" y="196"/>
                  <a:pt x="283" y="196"/>
                  <a:pt x="283" y="196"/>
                </a:cubicBezTo>
                <a:cubicBezTo>
                  <a:pt x="285" y="191"/>
                  <a:pt x="286" y="185"/>
                  <a:pt x="287" y="179"/>
                </a:cubicBezTo>
                <a:cubicBezTo>
                  <a:pt x="281" y="178"/>
                  <a:pt x="281" y="178"/>
                  <a:pt x="281" y="178"/>
                </a:cubicBezTo>
                <a:cubicBezTo>
                  <a:pt x="282" y="184"/>
                  <a:pt x="282" y="184"/>
                  <a:pt x="282" y="184"/>
                </a:cubicBezTo>
                <a:cubicBezTo>
                  <a:pt x="304" y="179"/>
                  <a:pt x="304" y="179"/>
                  <a:pt x="304" y="179"/>
                </a:cubicBezTo>
                <a:cubicBezTo>
                  <a:pt x="307" y="178"/>
                  <a:pt x="309" y="176"/>
                  <a:pt x="309" y="173"/>
                </a:cubicBezTo>
                <a:cubicBezTo>
                  <a:pt x="303" y="173"/>
                  <a:pt x="303" y="173"/>
                  <a:pt x="303" y="173"/>
                </a:cubicBezTo>
                <a:cubicBezTo>
                  <a:pt x="301" y="167"/>
                  <a:pt x="301" y="167"/>
                  <a:pt x="301" y="167"/>
                </a:cubicBezTo>
                <a:cubicBezTo>
                  <a:pt x="280" y="172"/>
                  <a:pt x="280" y="172"/>
                  <a:pt x="280" y="172"/>
                </a:cubicBezTo>
                <a:cubicBezTo>
                  <a:pt x="277" y="172"/>
                  <a:pt x="275" y="174"/>
                  <a:pt x="275" y="177"/>
                </a:cubicBezTo>
                <a:cubicBezTo>
                  <a:pt x="274" y="182"/>
                  <a:pt x="273" y="188"/>
                  <a:pt x="271" y="193"/>
                </a:cubicBezTo>
                <a:cubicBezTo>
                  <a:pt x="271" y="195"/>
                  <a:pt x="271" y="198"/>
                  <a:pt x="273" y="199"/>
                </a:cubicBezTo>
                <a:cubicBezTo>
                  <a:pt x="286" y="211"/>
                  <a:pt x="286" y="211"/>
                  <a:pt x="286" y="211"/>
                </a:cubicBezTo>
                <a:cubicBezTo>
                  <a:pt x="271" y="237"/>
                  <a:pt x="271" y="237"/>
                  <a:pt x="271" y="237"/>
                </a:cubicBezTo>
                <a:cubicBezTo>
                  <a:pt x="256" y="233"/>
                  <a:pt x="256" y="233"/>
                  <a:pt x="256" y="233"/>
                </a:cubicBezTo>
                <a:cubicBezTo>
                  <a:pt x="254" y="232"/>
                  <a:pt x="251" y="233"/>
                  <a:pt x="250" y="235"/>
                </a:cubicBezTo>
                <a:cubicBezTo>
                  <a:pt x="246" y="240"/>
                  <a:pt x="242" y="244"/>
                  <a:pt x="237" y="249"/>
                </a:cubicBezTo>
                <a:cubicBezTo>
                  <a:pt x="236" y="250"/>
                  <a:pt x="235" y="253"/>
                  <a:pt x="236" y="255"/>
                </a:cubicBezTo>
                <a:cubicBezTo>
                  <a:pt x="240" y="269"/>
                  <a:pt x="240" y="269"/>
                  <a:pt x="240" y="269"/>
                </a:cubicBezTo>
                <a:cubicBezTo>
                  <a:pt x="214" y="284"/>
                  <a:pt x="214" y="284"/>
                  <a:pt x="214" y="284"/>
                </a:cubicBezTo>
                <a:cubicBezTo>
                  <a:pt x="205" y="275"/>
                  <a:pt x="205" y="275"/>
                  <a:pt x="205" y="275"/>
                </a:cubicBezTo>
                <a:cubicBezTo>
                  <a:pt x="203" y="273"/>
                  <a:pt x="201" y="272"/>
                  <a:pt x="198" y="273"/>
                </a:cubicBezTo>
                <a:cubicBezTo>
                  <a:pt x="192" y="276"/>
                  <a:pt x="186" y="278"/>
                  <a:pt x="179" y="279"/>
                </a:cubicBezTo>
                <a:cubicBezTo>
                  <a:pt x="177" y="280"/>
                  <a:pt x="175" y="282"/>
                  <a:pt x="174" y="284"/>
                </a:cubicBezTo>
                <a:cubicBezTo>
                  <a:pt x="171" y="297"/>
                  <a:pt x="171" y="297"/>
                  <a:pt x="171" y="297"/>
                </a:cubicBezTo>
                <a:cubicBezTo>
                  <a:pt x="141" y="297"/>
                  <a:pt x="141" y="297"/>
                  <a:pt x="141" y="297"/>
                </a:cubicBezTo>
                <a:cubicBezTo>
                  <a:pt x="138" y="285"/>
                  <a:pt x="138" y="285"/>
                  <a:pt x="138" y="285"/>
                </a:cubicBezTo>
                <a:cubicBezTo>
                  <a:pt x="138" y="283"/>
                  <a:pt x="136" y="281"/>
                  <a:pt x="133" y="280"/>
                </a:cubicBezTo>
                <a:cubicBezTo>
                  <a:pt x="126" y="279"/>
                  <a:pt x="119" y="278"/>
                  <a:pt x="113" y="275"/>
                </a:cubicBezTo>
                <a:cubicBezTo>
                  <a:pt x="111" y="274"/>
                  <a:pt x="108" y="275"/>
                  <a:pt x="106" y="277"/>
                </a:cubicBezTo>
                <a:cubicBezTo>
                  <a:pt x="98" y="286"/>
                  <a:pt x="98" y="286"/>
                  <a:pt x="98" y="286"/>
                </a:cubicBezTo>
                <a:cubicBezTo>
                  <a:pt x="72" y="271"/>
                  <a:pt x="72" y="271"/>
                  <a:pt x="72" y="271"/>
                </a:cubicBezTo>
                <a:cubicBezTo>
                  <a:pt x="75" y="259"/>
                  <a:pt x="75" y="259"/>
                  <a:pt x="75" y="259"/>
                </a:cubicBezTo>
                <a:cubicBezTo>
                  <a:pt x="76" y="257"/>
                  <a:pt x="75" y="254"/>
                  <a:pt x="73" y="253"/>
                </a:cubicBezTo>
                <a:cubicBezTo>
                  <a:pt x="68" y="248"/>
                  <a:pt x="63" y="243"/>
                  <a:pt x="59" y="238"/>
                </a:cubicBezTo>
                <a:cubicBezTo>
                  <a:pt x="57" y="236"/>
                  <a:pt x="54" y="236"/>
                  <a:pt x="52" y="236"/>
                </a:cubicBezTo>
                <a:cubicBezTo>
                  <a:pt x="40" y="240"/>
                  <a:pt x="40" y="240"/>
                  <a:pt x="40" y="240"/>
                </a:cubicBezTo>
                <a:cubicBezTo>
                  <a:pt x="25" y="214"/>
                  <a:pt x="25" y="214"/>
                  <a:pt x="25" y="214"/>
                </a:cubicBezTo>
                <a:cubicBezTo>
                  <a:pt x="34" y="205"/>
                  <a:pt x="34" y="205"/>
                  <a:pt x="34" y="205"/>
                </a:cubicBezTo>
                <a:cubicBezTo>
                  <a:pt x="36" y="203"/>
                  <a:pt x="37" y="201"/>
                  <a:pt x="36" y="198"/>
                </a:cubicBezTo>
                <a:cubicBezTo>
                  <a:pt x="34" y="192"/>
                  <a:pt x="32" y="186"/>
                  <a:pt x="31" y="179"/>
                </a:cubicBezTo>
                <a:cubicBezTo>
                  <a:pt x="31" y="177"/>
                  <a:pt x="29" y="175"/>
                  <a:pt x="27" y="175"/>
                </a:cubicBezTo>
                <a:cubicBezTo>
                  <a:pt x="12" y="171"/>
                  <a:pt x="12" y="171"/>
                  <a:pt x="12" y="171"/>
                </a:cubicBezTo>
                <a:cubicBezTo>
                  <a:pt x="12" y="141"/>
                  <a:pt x="12" y="141"/>
                  <a:pt x="12" y="141"/>
                </a:cubicBezTo>
                <a:cubicBezTo>
                  <a:pt x="28" y="138"/>
                  <a:pt x="28" y="138"/>
                  <a:pt x="28" y="138"/>
                </a:cubicBezTo>
                <a:cubicBezTo>
                  <a:pt x="30" y="137"/>
                  <a:pt x="32" y="135"/>
                  <a:pt x="32" y="133"/>
                </a:cubicBezTo>
                <a:cubicBezTo>
                  <a:pt x="33" y="127"/>
                  <a:pt x="35" y="121"/>
                  <a:pt x="37" y="116"/>
                </a:cubicBezTo>
                <a:cubicBezTo>
                  <a:pt x="38" y="114"/>
                  <a:pt x="37" y="111"/>
                  <a:pt x="35" y="109"/>
                </a:cubicBezTo>
                <a:cubicBezTo>
                  <a:pt x="23" y="98"/>
                  <a:pt x="23" y="98"/>
                  <a:pt x="23" y="98"/>
                </a:cubicBezTo>
                <a:cubicBezTo>
                  <a:pt x="38" y="72"/>
                  <a:pt x="38" y="72"/>
                  <a:pt x="38" y="72"/>
                </a:cubicBezTo>
                <a:cubicBezTo>
                  <a:pt x="55" y="77"/>
                  <a:pt x="55" y="77"/>
                  <a:pt x="55" y="77"/>
                </a:cubicBezTo>
                <a:cubicBezTo>
                  <a:pt x="58" y="78"/>
                  <a:pt x="60" y="77"/>
                  <a:pt x="62" y="75"/>
                </a:cubicBezTo>
                <a:cubicBezTo>
                  <a:pt x="65" y="72"/>
                  <a:pt x="69" y="68"/>
                  <a:pt x="73" y="65"/>
                </a:cubicBezTo>
                <a:cubicBezTo>
                  <a:pt x="75" y="63"/>
                  <a:pt x="75" y="61"/>
                  <a:pt x="75" y="58"/>
                </a:cubicBezTo>
                <a:cubicBezTo>
                  <a:pt x="69" y="40"/>
                  <a:pt x="69" y="40"/>
                  <a:pt x="69" y="40"/>
                </a:cubicBezTo>
                <a:cubicBezTo>
                  <a:pt x="95" y="25"/>
                  <a:pt x="95" y="25"/>
                  <a:pt x="95" y="25"/>
                </a:cubicBezTo>
                <a:cubicBezTo>
                  <a:pt x="109" y="39"/>
                  <a:pt x="109" y="39"/>
                  <a:pt x="109" y="39"/>
                </a:cubicBezTo>
                <a:cubicBezTo>
                  <a:pt x="110" y="41"/>
                  <a:pt x="113" y="42"/>
                  <a:pt x="115" y="41"/>
                </a:cubicBezTo>
                <a:cubicBezTo>
                  <a:pt x="119" y="40"/>
                  <a:pt x="124" y="38"/>
                  <a:pt x="128" y="38"/>
                </a:cubicBezTo>
                <a:cubicBezTo>
                  <a:pt x="131" y="37"/>
                  <a:pt x="133" y="35"/>
                  <a:pt x="133" y="33"/>
                </a:cubicBezTo>
                <a:cubicBezTo>
                  <a:pt x="138" y="12"/>
                  <a:pt x="138" y="12"/>
                  <a:pt x="138" y="12"/>
                </a:cubicBezTo>
                <a:cubicBezTo>
                  <a:pt x="168" y="12"/>
                  <a:pt x="168" y="12"/>
                  <a:pt x="168" y="12"/>
                </a:cubicBezTo>
                <a:cubicBezTo>
                  <a:pt x="173" y="33"/>
                  <a:pt x="173" y="33"/>
                  <a:pt x="173" y="33"/>
                </a:cubicBezTo>
                <a:cubicBezTo>
                  <a:pt x="173" y="35"/>
                  <a:pt x="175" y="37"/>
                  <a:pt x="177" y="38"/>
                </a:cubicBezTo>
                <a:cubicBezTo>
                  <a:pt x="182" y="38"/>
                  <a:pt x="186" y="39"/>
                  <a:pt x="190" y="41"/>
                </a:cubicBezTo>
                <a:cubicBezTo>
                  <a:pt x="192" y="42"/>
                  <a:pt x="195" y="41"/>
                  <a:pt x="196" y="39"/>
                </a:cubicBezTo>
                <a:cubicBezTo>
                  <a:pt x="211" y="23"/>
                  <a:pt x="211" y="23"/>
                  <a:pt x="211" y="23"/>
                </a:cubicBezTo>
                <a:cubicBezTo>
                  <a:pt x="237" y="38"/>
                  <a:pt x="237" y="38"/>
                  <a:pt x="237" y="38"/>
                </a:cubicBezTo>
                <a:cubicBezTo>
                  <a:pt x="231" y="58"/>
                  <a:pt x="231" y="58"/>
                  <a:pt x="231" y="58"/>
                </a:cubicBezTo>
                <a:cubicBezTo>
                  <a:pt x="230" y="60"/>
                  <a:pt x="231" y="63"/>
                  <a:pt x="233" y="65"/>
                </a:cubicBezTo>
                <a:cubicBezTo>
                  <a:pt x="236" y="67"/>
                  <a:pt x="239" y="71"/>
                  <a:pt x="243" y="74"/>
                </a:cubicBezTo>
                <a:cubicBezTo>
                  <a:pt x="244" y="75"/>
                  <a:pt x="247" y="76"/>
                  <a:pt x="249" y="75"/>
                </a:cubicBezTo>
                <a:cubicBezTo>
                  <a:pt x="269" y="69"/>
                  <a:pt x="269" y="69"/>
                  <a:pt x="269" y="69"/>
                </a:cubicBezTo>
                <a:cubicBezTo>
                  <a:pt x="284" y="95"/>
                  <a:pt x="284" y="95"/>
                  <a:pt x="284" y="95"/>
                </a:cubicBezTo>
                <a:cubicBezTo>
                  <a:pt x="270" y="108"/>
                  <a:pt x="270" y="108"/>
                  <a:pt x="270" y="108"/>
                </a:cubicBezTo>
                <a:cubicBezTo>
                  <a:pt x="268" y="110"/>
                  <a:pt x="268" y="113"/>
                  <a:pt x="268" y="115"/>
                </a:cubicBezTo>
                <a:cubicBezTo>
                  <a:pt x="270" y="120"/>
                  <a:pt x="272" y="124"/>
                  <a:pt x="273" y="129"/>
                </a:cubicBezTo>
                <a:cubicBezTo>
                  <a:pt x="273" y="131"/>
                  <a:pt x="275" y="133"/>
                  <a:pt x="277" y="133"/>
                </a:cubicBezTo>
                <a:cubicBezTo>
                  <a:pt x="297" y="138"/>
                  <a:pt x="297" y="138"/>
                  <a:pt x="297" y="138"/>
                </a:cubicBezTo>
                <a:cubicBezTo>
                  <a:pt x="297" y="173"/>
                  <a:pt x="297" y="173"/>
                  <a:pt x="297" y="173"/>
                </a:cubicBezTo>
                <a:cubicBezTo>
                  <a:pt x="303" y="173"/>
                  <a:pt x="303" y="173"/>
                  <a:pt x="303" y="173"/>
                </a:cubicBezTo>
                <a:cubicBezTo>
                  <a:pt x="301" y="167"/>
                  <a:pt x="301" y="167"/>
                  <a:pt x="301" y="167"/>
                </a:cubicBezTo>
                <a:lnTo>
                  <a:pt x="303" y="173"/>
                </a:lnTo>
                <a:close/>
              </a:path>
            </a:pathLst>
          </a:custGeom>
          <a:solidFill>
            <a:srgbClr val="1195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204">
            <a:extLst>
              <a:ext uri="{FF2B5EF4-FFF2-40B4-BE49-F238E27FC236}">
                <a16:creationId xmlns:a16="http://schemas.microsoft.com/office/drawing/2014/main" id="{F4258471-FBB0-4FF8-91E9-0A661950EF27}"/>
              </a:ext>
            </a:extLst>
          </p:cNvPr>
          <p:cNvSpPr>
            <a:spLocks noChangeArrowheads="1"/>
          </p:cNvSpPr>
          <p:nvPr/>
        </p:nvSpPr>
        <p:spPr bwMode="auto">
          <a:xfrm>
            <a:off x="8018407" y="5217777"/>
            <a:ext cx="2239088" cy="1174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206">
            <a:extLst>
              <a:ext uri="{FF2B5EF4-FFF2-40B4-BE49-F238E27FC236}">
                <a16:creationId xmlns:a16="http://schemas.microsoft.com/office/drawing/2014/main" id="{2DED153D-0F74-4D09-8ECE-FC273F475DBE}"/>
              </a:ext>
            </a:extLst>
          </p:cNvPr>
          <p:cNvSpPr>
            <a:spLocks/>
          </p:cNvSpPr>
          <p:nvPr/>
        </p:nvSpPr>
        <p:spPr bwMode="auto">
          <a:xfrm>
            <a:off x="8004235" y="5203605"/>
            <a:ext cx="2267431" cy="145763"/>
          </a:xfrm>
          <a:custGeom>
            <a:avLst/>
            <a:gdLst>
              <a:gd name="T0" fmla="*/ 938 w 944"/>
              <a:gd name="T1" fmla="*/ 55 h 61"/>
              <a:gd name="T2" fmla="*/ 938 w 944"/>
              <a:gd name="T3" fmla="*/ 49 h 61"/>
              <a:gd name="T4" fmla="*/ 12 w 944"/>
              <a:gd name="T5" fmla="*/ 49 h 61"/>
              <a:gd name="T6" fmla="*/ 12 w 944"/>
              <a:gd name="T7" fmla="*/ 12 h 61"/>
              <a:gd name="T8" fmla="*/ 932 w 944"/>
              <a:gd name="T9" fmla="*/ 12 h 61"/>
              <a:gd name="T10" fmla="*/ 932 w 944"/>
              <a:gd name="T11" fmla="*/ 55 h 61"/>
              <a:gd name="T12" fmla="*/ 938 w 944"/>
              <a:gd name="T13" fmla="*/ 55 h 61"/>
              <a:gd name="T14" fmla="*/ 938 w 944"/>
              <a:gd name="T15" fmla="*/ 49 h 61"/>
              <a:gd name="T16" fmla="*/ 938 w 944"/>
              <a:gd name="T17" fmla="*/ 55 h 61"/>
              <a:gd name="T18" fmla="*/ 944 w 944"/>
              <a:gd name="T19" fmla="*/ 55 h 61"/>
              <a:gd name="T20" fmla="*/ 944 w 944"/>
              <a:gd name="T21" fmla="*/ 6 h 61"/>
              <a:gd name="T22" fmla="*/ 943 w 944"/>
              <a:gd name="T23" fmla="*/ 2 h 61"/>
              <a:gd name="T24" fmla="*/ 938 w 944"/>
              <a:gd name="T25" fmla="*/ 0 h 61"/>
              <a:gd name="T26" fmla="*/ 6 w 944"/>
              <a:gd name="T27" fmla="*/ 0 h 61"/>
              <a:gd name="T28" fmla="*/ 2 w 944"/>
              <a:gd name="T29" fmla="*/ 2 h 61"/>
              <a:gd name="T30" fmla="*/ 0 w 944"/>
              <a:gd name="T31" fmla="*/ 6 h 61"/>
              <a:gd name="T32" fmla="*/ 0 w 944"/>
              <a:gd name="T33" fmla="*/ 55 h 61"/>
              <a:gd name="T34" fmla="*/ 2 w 944"/>
              <a:gd name="T35" fmla="*/ 60 h 61"/>
              <a:gd name="T36" fmla="*/ 6 w 944"/>
              <a:gd name="T37" fmla="*/ 61 h 61"/>
              <a:gd name="T38" fmla="*/ 938 w 944"/>
              <a:gd name="T39" fmla="*/ 61 h 61"/>
              <a:gd name="T40" fmla="*/ 943 w 944"/>
              <a:gd name="T41" fmla="*/ 60 h 61"/>
              <a:gd name="T42" fmla="*/ 944 w 944"/>
              <a:gd name="T43" fmla="*/ 55 h 61"/>
              <a:gd name="T44" fmla="*/ 938 w 944"/>
              <a:gd name="T45" fmla="*/ 5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61">
                <a:moveTo>
                  <a:pt x="938" y="55"/>
                </a:moveTo>
                <a:cubicBezTo>
                  <a:pt x="938" y="49"/>
                  <a:pt x="938" y="49"/>
                  <a:pt x="938" y="49"/>
                </a:cubicBezTo>
                <a:cubicBezTo>
                  <a:pt x="12" y="49"/>
                  <a:pt x="12" y="49"/>
                  <a:pt x="12" y="49"/>
                </a:cubicBezTo>
                <a:cubicBezTo>
                  <a:pt x="12" y="12"/>
                  <a:pt x="12" y="12"/>
                  <a:pt x="12" y="12"/>
                </a:cubicBezTo>
                <a:cubicBezTo>
                  <a:pt x="932" y="12"/>
                  <a:pt x="932" y="12"/>
                  <a:pt x="932" y="12"/>
                </a:cubicBezTo>
                <a:cubicBezTo>
                  <a:pt x="932" y="55"/>
                  <a:pt x="932" y="55"/>
                  <a:pt x="932" y="55"/>
                </a:cubicBezTo>
                <a:cubicBezTo>
                  <a:pt x="938" y="55"/>
                  <a:pt x="938" y="55"/>
                  <a:pt x="938" y="55"/>
                </a:cubicBezTo>
                <a:cubicBezTo>
                  <a:pt x="938" y="49"/>
                  <a:pt x="938" y="49"/>
                  <a:pt x="938" y="49"/>
                </a:cubicBezTo>
                <a:cubicBezTo>
                  <a:pt x="938" y="55"/>
                  <a:pt x="938" y="55"/>
                  <a:pt x="938" y="55"/>
                </a:cubicBezTo>
                <a:cubicBezTo>
                  <a:pt x="944" y="55"/>
                  <a:pt x="944" y="55"/>
                  <a:pt x="944" y="55"/>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55"/>
                  <a:pt x="0" y="55"/>
                  <a:pt x="0" y="55"/>
                </a:cubicBezTo>
                <a:cubicBezTo>
                  <a:pt x="0" y="57"/>
                  <a:pt x="1" y="59"/>
                  <a:pt x="2" y="60"/>
                </a:cubicBezTo>
                <a:cubicBezTo>
                  <a:pt x="3" y="61"/>
                  <a:pt x="5" y="61"/>
                  <a:pt x="6" y="61"/>
                </a:cubicBezTo>
                <a:cubicBezTo>
                  <a:pt x="938" y="61"/>
                  <a:pt x="938" y="61"/>
                  <a:pt x="938" y="61"/>
                </a:cubicBezTo>
                <a:cubicBezTo>
                  <a:pt x="940" y="61"/>
                  <a:pt x="942" y="61"/>
                  <a:pt x="943" y="60"/>
                </a:cubicBezTo>
                <a:cubicBezTo>
                  <a:pt x="944" y="59"/>
                  <a:pt x="944" y="57"/>
                  <a:pt x="944" y="55"/>
                </a:cubicBezTo>
                <a:lnTo>
                  <a:pt x="938" y="55"/>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207">
            <a:extLst>
              <a:ext uri="{FF2B5EF4-FFF2-40B4-BE49-F238E27FC236}">
                <a16:creationId xmlns:a16="http://schemas.microsoft.com/office/drawing/2014/main" id="{B425B385-65A0-4485-973A-E25A707B9350}"/>
              </a:ext>
            </a:extLst>
          </p:cNvPr>
          <p:cNvSpPr>
            <a:spLocks/>
          </p:cNvSpPr>
          <p:nvPr/>
        </p:nvSpPr>
        <p:spPr bwMode="auto">
          <a:xfrm>
            <a:off x="8145950"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208">
            <a:extLst>
              <a:ext uri="{FF2B5EF4-FFF2-40B4-BE49-F238E27FC236}">
                <a16:creationId xmlns:a16="http://schemas.microsoft.com/office/drawing/2014/main" id="{78B21273-C41C-49C0-BE59-20FE77E6F6A1}"/>
              </a:ext>
            </a:extLst>
          </p:cNvPr>
          <p:cNvSpPr>
            <a:spLocks/>
          </p:cNvSpPr>
          <p:nvPr/>
        </p:nvSpPr>
        <p:spPr bwMode="auto">
          <a:xfrm>
            <a:off x="8131778" y="5431361"/>
            <a:ext cx="333029"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4"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Rectangle 209">
            <a:extLst>
              <a:ext uri="{FF2B5EF4-FFF2-40B4-BE49-F238E27FC236}">
                <a16:creationId xmlns:a16="http://schemas.microsoft.com/office/drawing/2014/main" id="{1388C442-1F9A-46A4-8534-27729AFA00D5}"/>
              </a:ext>
            </a:extLst>
          </p:cNvPr>
          <p:cNvSpPr>
            <a:spLocks noChangeArrowheads="1"/>
          </p:cNvSpPr>
          <p:nvPr/>
        </p:nvSpPr>
        <p:spPr bwMode="auto">
          <a:xfrm>
            <a:off x="8151011"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210">
            <a:extLst>
              <a:ext uri="{FF2B5EF4-FFF2-40B4-BE49-F238E27FC236}">
                <a16:creationId xmlns:a16="http://schemas.microsoft.com/office/drawing/2014/main" id="{E8EF9FB4-5231-43AB-A68A-6164022AA9D0}"/>
              </a:ext>
            </a:extLst>
          </p:cNvPr>
          <p:cNvSpPr>
            <a:spLocks/>
          </p:cNvSpPr>
          <p:nvPr/>
        </p:nvSpPr>
        <p:spPr bwMode="auto">
          <a:xfrm>
            <a:off x="8135827"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1" y="0"/>
                  <a:pt x="130" y="0"/>
                </a:cubicBezTo>
                <a:cubicBezTo>
                  <a:pt x="6" y="0"/>
                  <a:pt x="6" y="0"/>
                  <a:pt x="6" y="0"/>
                </a:cubicBezTo>
                <a:cubicBezTo>
                  <a:pt x="4" y="0"/>
                  <a:pt x="2" y="1"/>
                  <a:pt x="1" y="2"/>
                </a:cubicBezTo>
                <a:cubicBezTo>
                  <a:pt x="0" y="3"/>
                  <a:pt x="0" y="5"/>
                  <a:pt x="0" y="6"/>
                </a:cubicBezTo>
                <a:cubicBezTo>
                  <a:pt x="0" y="56"/>
                  <a:pt x="0" y="56"/>
                  <a:pt x="0" y="56"/>
                </a:cubicBezTo>
                <a:cubicBezTo>
                  <a:pt x="0" y="57"/>
                  <a:pt x="0" y="59"/>
                  <a:pt x="1" y="60"/>
                </a:cubicBezTo>
                <a:cubicBezTo>
                  <a:pt x="2" y="61"/>
                  <a:pt x="4" y="62"/>
                  <a:pt x="6" y="62"/>
                </a:cubicBezTo>
                <a:cubicBezTo>
                  <a:pt x="130" y="62"/>
                  <a:pt x="130" y="62"/>
                  <a:pt x="130" y="62"/>
                </a:cubicBezTo>
                <a:cubicBezTo>
                  <a:pt x="131"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Rectangle 211">
            <a:extLst>
              <a:ext uri="{FF2B5EF4-FFF2-40B4-BE49-F238E27FC236}">
                <a16:creationId xmlns:a16="http://schemas.microsoft.com/office/drawing/2014/main" id="{6095D2ED-2142-40C2-B316-4D0515F3F25D}"/>
              </a:ext>
            </a:extLst>
          </p:cNvPr>
          <p:cNvSpPr>
            <a:spLocks noChangeArrowheads="1"/>
          </p:cNvSpPr>
          <p:nvPr/>
        </p:nvSpPr>
        <p:spPr bwMode="auto">
          <a:xfrm>
            <a:off x="8105460" y="5933435"/>
            <a:ext cx="386678"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212">
            <a:extLst>
              <a:ext uri="{FF2B5EF4-FFF2-40B4-BE49-F238E27FC236}">
                <a16:creationId xmlns:a16="http://schemas.microsoft.com/office/drawing/2014/main" id="{4F0ECDE6-6198-4B61-9E79-92D9D1ECA6B1}"/>
              </a:ext>
            </a:extLst>
          </p:cNvPr>
          <p:cNvSpPr>
            <a:spLocks/>
          </p:cNvSpPr>
          <p:nvPr/>
        </p:nvSpPr>
        <p:spPr bwMode="auto">
          <a:xfrm>
            <a:off x="8090276" y="5919263"/>
            <a:ext cx="416033" cy="166008"/>
          </a:xfrm>
          <a:custGeom>
            <a:avLst/>
            <a:gdLst>
              <a:gd name="T0" fmla="*/ 6 w 173"/>
              <a:gd name="T1" fmla="*/ 6 h 69"/>
              <a:gd name="T2" fmla="*/ 6 w 173"/>
              <a:gd name="T3" fmla="*/ 12 h 69"/>
              <a:gd name="T4" fmla="*/ 161 w 173"/>
              <a:gd name="T5" fmla="*/ 12 h 69"/>
              <a:gd name="T6" fmla="*/ 161 w 173"/>
              <a:gd name="T7" fmla="*/ 57 h 69"/>
              <a:gd name="T8" fmla="*/ 12 w 173"/>
              <a:gd name="T9" fmla="*/ 57 h 69"/>
              <a:gd name="T10" fmla="*/ 12 w 173"/>
              <a:gd name="T11" fmla="*/ 6 h 69"/>
              <a:gd name="T12" fmla="*/ 6 w 173"/>
              <a:gd name="T13" fmla="*/ 6 h 69"/>
              <a:gd name="T14" fmla="*/ 6 w 173"/>
              <a:gd name="T15" fmla="*/ 12 h 69"/>
              <a:gd name="T16" fmla="*/ 6 w 173"/>
              <a:gd name="T17" fmla="*/ 6 h 69"/>
              <a:gd name="T18" fmla="*/ 0 w 173"/>
              <a:gd name="T19" fmla="*/ 6 h 69"/>
              <a:gd name="T20" fmla="*/ 0 w 173"/>
              <a:gd name="T21" fmla="*/ 63 h 69"/>
              <a:gd name="T22" fmla="*/ 2 w 173"/>
              <a:gd name="T23" fmla="*/ 68 h 69"/>
              <a:gd name="T24" fmla="*/ 6 w 173"/>
              <a:gd name="T25" fmla="*/ 69 h 69"/>
              <a:gd name="T26" fmla="*/ 167 w 173"/>
              <a:gd name="T27" fmla="*/ 69 h 69"/>
              <a:gd name="T28" fmla="*/ 171 w 173"/>
              <a:gd name="T29" fmla="*/ 68 h 69"/>
              <a:gd name="T30" fmla="*/ 173 w 173"/>
              <a:gd name="T31" fmla="*/ 63 h 69"/>
              <a:gd name="T32" fmla="*/ 173 w 173"/>
              <a:gd name="T33" fmla="*/ 6 h 69"/>
              <a:gd name="T34" fmla="*/ 171 w 173"/>
              <a:gd name="T35" fmla="*/ 2 h 69"/>
              <a:gd name="T36" fmla="*/ 167 w 173"/>
              <a:gd name="T37" fmla="*/ 0 h 69"/>
              <a:gd name="T38" fmla="*/ 6 w 173"/>
              <a:gd name="T39" fmla="*/ 0 h 69"/>
              <a:gd name="T40" fmla="*/ 2 w 173"/>
              <a:gd name="T41" fmla="*/ 2 h 69"/>
              <a:gd name="T42" fmla="*/ 0 w 173"/>
              <a:gd name="T43" fmla="*/ 6 h 69"/>
              <a:gd name="T44" fmla="*/ 6 w 173"/>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69">
                <a:moveTo>
                  <a:pt x="6" y="6"/>
                </a:moveTo>
                <a:cubicBezTo>
                  <a:pt x="6" y="12"/>
                  <a:pt x="6" y="12"/>
                  <a:pt x="6" y="12"/>
                </a:cubicBezTo>
                <a:cubicBezTo>
                  <a:pt x="161" y="12"/>
                  <a:pt x="161" y="12"/>
                  <a:pt x="161" y="12"/>
                </a:cubicBezTo>
                <a:cubicBezTo>
                  <a:pt x="161" y="57"/>
                  <a:pt x="161" y="57"/>
                  <a:pt x="161"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1" y="66"/>
                  <a:pt x="2" y="68"/>
                </a:cubicBezTo>
                <a:cubicBezTo>
                  <a:pt x="3" y="69"/>
                  <a:pt x="5" y="69"/>
                  <a:pt x="6" y="69"/>
                </a:cubicBezTo>
                <a:cubicBezTo>
                  <a:pt x="167" y="69"/>
                  <a:pt x="167" y="69"/>
                  <a:pt x="167" y="69"/>
                </a:cubicBezTo>
                <a:cubicBezTo>
                  <a:pt x="169" y="69"/>
                  <a:pt x="170" y="69"/>
                  <a:pt x="171" y="68"/>
                </a:cubicBezTo>
                <a:cubicBezTo>
                  <a:pt x="172" y="66"/>
                  <a:pt x="173" y="65"/>
                  <a:pt x="173" y="63"/>
                </a:cubicBezTo>
                <a:cubicBezTo>
                  <a:pt x="173" y="6"/>
                  <a:pt x="173" y="6"/>
                  <a:pt x="173" y="6"/>
                </a:cubicBezTo>
                <a:cubicBezTo>
                  <a:pt x="173" y="4"/>
                  <a:pt x="172" y="3"/>
                  <a:pt x="171" y="2"/>
                </a:cubicBezTo>
                <a:cubicBezTo>
                  <a:pt x="170" y="1"/>
                  <a:pt x="169" y="0"/>
                  <a:pt x="167" y="0"/>
                </a:cubicBezTo>
                <a:cubicBezTo>
                  <a:pt x="6" y="0"/>
                  <a:pt x="6" y="0"/>
                  <a:pt x="6" y="0"/>
                </a:cubicBezTo>
                <a:cubicBezTo>
                  <a:pt x="5" y="0"/>
                  <a:pt x="3" y="1"/>
                  <a:pt x="2" y="2"/>
                </a:cubicBezTo>
                <a:cubicBezTo>
                  <a:pt x="1"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213">
            <a:extLst>
              <a:ext uri="{FF2B5EF4-FFF2-40B4-BE49-F238E27FC236}">
                <a16:creationId xmlns:a16="http://schemas.microsoft.com/office/drawing/2014/main" id="{C2D9C2F6-9465-4252-84FA-DCD9BCA9B808}"/>
              </a:ext>
            </a:extLst>
          </p:cNvPr>
          <p:cNvSpPr>
            <a:spLocks/>
          </p:cNvSpPr>
          <p:nvPr/>
        </p:nvSpPr>
        <p:spPr bwMode="auto">
          <a:xfrm>
            <a:off x="8705722" y="5445532"/>
            <a:ext cx="304686" cy="489927"/>
          </a:xfrm>
          <a:custGeom>
            <a:avLst/>
            <a:gdLst>
              <a:gd name="T0" fmla="*/ 33 w 301"/>
              <a:gd name="T1" fmla="*/ 0 h 484"/>
              <a:gd name="T2" fmla="*/ 0 w 301"/>
              <a:gd name="T3" fmla="*/ 484 h 484"/>
              <a:gd name="T4" fmla="*/ 152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2"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214">
            <a:extLst>
              <a:ext uri="{FF2B5EF4-FFF2-40B4-BE49-F238E27FC236}">
                <a16:creationId xmlns:a16="http://schemas.microsoft.com/office/drawing/2014/main" id="{F057370E-DDD5-4173-A444-D381D29E2585}"/>
              </a:ext>
            </a:extLst>
          </p:cNvPr>
          <p:cNvSpPr>
            <a:spLocks/>
          </p:cNvSpPr>
          <p:nvPr/>
        </p:nvSpPr>
        <p:spPr bwMode="auto">
          <a:xfrm>
            <a:off x="8690538"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6"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Rectangle 215">
            <a:extLst>
              <a:ext uri="{FF2B5EF4-FFF2-40B4-BE49-F238E27FC236}">
                <a16:creationId xmlns:a16="http://schemas.microsoft.com/office/drawing/2014/main" id="{5D832CC0-B6AA-4EE7-82B1-69626662330A}"/>
              </a:ext>
            </a:extLst>
          </p:cNvPr>
          <p:cNvSpPr>
            <a:spLocks noChangeArrowheads="1"/>
          </p:cNvSpPr>
          <p:nvPr/>
        </p:nvSpPr>
        <p:spPr bwMode="auto">
          <a:xfrm>
            <a:off x="8709771"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216">
            <a:extLst>
              <a:ext uri="{FF2B5EF4-FFF2-40B4-BE49-F238E27FC236}">
                <a16:creationId xmlns:a16="http://schemas.microsoft.com/office/drawing/2014/main" id="{E1DDE99E-3434-44C6-9144-573F99F7C5CD}"/>
              </a:ext>
            </a:extLst>
          </p:cNvPr>
          <p:cNvSpPr>
            <a:spLocks/>
          </p:cNvSpPr>
          <p:nvPr/>
        </p:nvSpPr>
        <p:spPr bwMode="auto">
          <a:xfrm>
            <a:off x="8695599"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Rectangle 217">
            <a:extLst>
              <a:ext uri="{FF2B5EF4-FFF2-40B4-BE49-F238E27FC236}">
                <a16:creationId xmlns:a16="http://schemas.microsoft.com/office/drawing/2014/main" id="{E4891E14-F65E-4FBA-AFE7-86B93B87AAFF}"/>
              </a:ext>
            </a:extLst>
          </p:cNvPr>
          <p:cNvSpPr>
            <a:spLocks noChangeArrowheads="1"/>
          </p:cNvSpPr>
          <p:nvPr/>
        </p:nvSpPr>
        <p:spPr bwMode="auto">
          <a:xfrm>
            <a:off x="8667257"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218">
            <a:extLst>
              <a:ext uri="{FF2B5EF4-FFF2-40B4-BE49-F238E27FC236}">
                <a16:creationId xmlns:a16="http://schemas.microsoft.com/office/drawing/2014/main" id="{1D85241E-F6FC-4FC2-A314-B690B933FDE4}"/>
              </a:ext>
            </a:extLst>
          </p:cNvPr>
          <p:cNvSpPr>
            <a:spLocks/>
          </p:cNvSpPr>
          <p:nvPr/>
        </p:nvSpPr>
        <p:spPr bwMode="auto">
          <a:xfrm>
            <a:off x="865308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219">
            <a:extLst>
              <a:ext uri="{FF2B5EF4-FFF2-40B4-BE49-F238E27FC236}">
                <a16:creationId xmlns:a16="http://schemas.microsoft.com/office/drawing/2014/main" id="{97C82561-895F-42AB-9DE6-8A71ABB1CC12}"/>
              </a:ext>
            </a:extLst>
          </p:cNvPr>
          <p:cNvSpPr>
            <a:spLocks/>
          </p:cNvSpPr>
          <p:nvPr/>
        </p:nvSpPr>
        <p:spPr bwMode="auto">
          <a:xfrm>
            <a:off x="9265494" y="5445532"/>
            <a:ext cx="304686" cy="489927"/>
          </a:xfrm>
          <a:custGeom>
            <a:avLst/>
            <a:gdLst>
              <a:gd name="T0" fmla="*/ 33 w 301"/>
              <a:gd name="T1" fmla="*/ 0 h 484"/>
              <a:gd name="T2" fmla="*/ 0 w 301"/>
              <a:gd name="T3" fmla="*/ 484 h 484"/>
              <a:gd name="T4" fmla="*/ 151 w 301"/>
              <a:gd name="T5" fmla="*/ 484 h 484"/>
              <a:gd name="T6" fmla="*/ 301 w 301"/>
              <a:gd name="T7" fmla="*/ 484 h 484"/>
              <a:gd name="T8" fmla="*/ 268 w 301"/>
              <a:gd name="T9" fmla="*/ 0 h 484"/>
              <a:gd name="T10" fmla="*/ 33 w 301"/>
              <a:gd name="T11" fmla="*/ 0 h 484"/>
            </a:gdLst>
            <a:ahLst/>
            <a:cxnLst>
              <a:cxn ang="0">
                <a:pos x="T0" y="T1"/>
              </a:cxn>
              <a:cxn ang="0">
                <a:pos x="T2" y="T3"/>
              </a:cxn>
              <a:cxn ang="0">
                <a:pos x="T4" y="T5"/>
              </a:cxn>
              <a:cxn ang="0">
                <a:pos x="T6" y="T7"/>
              </a:cxn>
              <a:cxn ang="0">
                <a:pos x="T8" y="T9"/>
              </a:cxn>
              <a:cxn ang="0">
                <a:pos x="T10" y="T11"/>
              </a:cxn>
            </a:cxnLst>
            <a:rect l="0" t="0" r="r" b="b"/>
            <a:pathLst>
              <a:path w="301" h="484">
                <a:moveTo>
                  <a:pt x="33" y="0"/>
                </a:moveTo>
                <a:lnTo>
                  <a:pt x="0" y="484"/>
                </a:lnTo>
                <a:lnTo>
                  <a:pt x="151" y="484"/>
                </a:lnTo>
                <a:lnTo>
                  <a:pt x="301" y="484"/>
                </a:lnTo>
                <a:lnTo>
                  <a:pt x="268" y="0"/>
                </a:lnTo>
                <a:lnTo>
                  <a:pt x="33"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220">
            <a:extLst>
              <a:ext uri="{FF2B5EF4-FFF2-40B4-BE49-F238E27FC236}">
                <a16:creationId xmlns:a16="http://schemas.microsoft.com/office/drawing/2014/main" id="{85E62450-4C12-4408-B4F3-47239ED83A9A}"/>
              </a:ext>
            </a:extLst>
          </p:cNvPr>
          <p:cNvSpPr>
            <a:spLocks/>
          </p:cNvSpPr>
          <p:nvPr/>
        </p:nvSpPr>
        <p:spPr bwMode="auto">
          <a:xfrm>
            <a:off x="9250310" y="5431361"/>
            <a:ext cx="334041" cy="519282"/>
          </a:xfrm>
          <a:custGeom>
            <a:avLst/>
            <a:gdLst>
              <a:gd name="T0" fmla="*/ 20 w 139"/>
              <a:gd name="T1" fmla="*/ 6 h 216"/>
              <a:gd name="T2" fmla="*/ 14 w 139"/>
              <a:gd name="T3" fmla="*/ 6 h 216"/>
              <a:gd name="T4" fmla="*/ 0 w 139"/>
              <a:gd name="T5" fmla="*/ 209 h 216"/>
              <a:gd name="T6" fmla="*/ 2 w 139"/>
              <a:gd name="T7" fmla="*/ 214 h 216"/>
              <a:gd name="T8" fmla="*/ 6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0" y="209"/>
                  <a:pt x="0" y="209"/>
                  <a:pt x="0" y="209"/>
                </a:cubicBezTo>
                <a:cubicBezTo>
                  <a:pt x="0" y="211"/>
                  <a:pt x="1" y="213"/>
                  <a:pt x="2" y="214"/>
                </a:cubicBezTo>
                <a:cubicBezTo>
                  <a:pt x="3" y="215"/>
                  <a:pt x="5" y="216"/>
                  <a:pt x="6"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2"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Rectangle 221">
            <a:extLst>
              <a:ext uri="{FF2B5EF4-FFF2-40B4-BE49-F238E27FC236}">
                <a16:creationId xmlns:a16="http://schemas.microsoft.com/office/drawing/2014/main" id="{8B2145D3-F837-4387-AB37-D9BED491B285}"/>
              </a:ext>
            </a:extLst>
          </p:cNvPr>
          <p:cNvSpPr>
            <a:spLocks noChangeArrowheads="1"/>
          </p:cNvSpPr>
          <p:nvPr/>
        </p:nvSpPr>
        <p:spPr bwMode="auto">
          <a:xfrm>
            <a:off x="9269543" y="5335197"/>
            <a:ext cx="298613"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222">
            <a:extLst>
              <a:ext uri="{FF2B5EF4-FFF2-40B4-BE49-F238E27FC236}">
                <a16:creationId xmlns:a16="http://schemas.microsoft.com/office/drawing/2014/main" id="{DC0808CB-1E27-49E6-885A-B33ADF2491CC}"/>
              </a:ext>
            </a:extLst>
          </p:cNvPr>
          <p:cNvSpPr>
            <a:spLocks/>
          </p:cNvSpPr>
          <p:nvPr/>
        </p:nvSpPr>
        <p:spPr bwMode="auto">
          <a:xfrm>
            <a:off x="9255372"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1 w 136"/>
              <a:gd name="T29" fmla="*/ 2 h 62"/>
              <a:gd name="T30" fmla="*/ 0 w 136"/>
              <a:gd name="T31" fmla="*/ 6 h 62"/>
              <a:gd name="T32" fmla="*/ 0 w 136"/>
              <a:gd name="T33" fmla="*/ 56 h 62"/>
              <a:gd name="T34" fmla="*/ 1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1" y="2"/>
                </a:cubicBezTo>
                <a:cubicBezTo>
                  <a:pt x="0" y="3"/>
                  <a:pt x="0" y="5"/>
                  <a:pt x="0" y="6"/>
                </a:cubicBezTo>
                <a:cubicBezTo>
                  <a:pt x="0" y="56"/>
                  <a:pt x="0" y="56"/>
                  <a:pt x="0" y="56"/>
                </a:cubicBezTo>
                <a:cubicBezTo>
                  <a:pt x="0" y="57"/>
                  <a:pt x="0" y="59"/>
                  <a:pt x="1"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Rectangle 223">
            <a:extLst>
              <a:ext uri="{FF2B5EF4-FFF2-40B4-BE49-F238E27FC236}">
                <a16:creationId xmlns:a16="http://schemas.microsoft.com/office/drawing/2014/main" id="{EE989D81-BF2D-40C8-ACDA-2147AD2431D1}"/>
              </a:ext>
            </a:extLst>
          </p:cNvPr>
          <p:cNvSpPr>
            <a:spLocks noChangeArrowheads="1"/>
          </p:cNvSpPr>
          <p:nvPr/>
        </p:nvSpPr>
        <p:spPr bwMode="auto">
          <a:xfrm>
            <a:off x="9227029" y="5933435"/>
            <a:ext cx="383641"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224">
            <a:extLst>
              <a:ext uri="{FF2B5EF4-FFF2-40B4-BE49-F238E27FC236}">
                <a16:creationId xmlns:a16="http://schemas.microsoft.com/office/drawing/2014/main" id="{1D449AE5-3C09-421B-863F-6362BC6C905D}"/>
              </a:ext>
            </a:extLst>
          </p:cNvPr>
          <p:cNvSpPr>
            <a:spLocks/>
          </p:cNvSpPr>
          <p:nvPr/>
        </p:nvSpPr>
        <p:spPr bwMode="auto">
          <a:xfrm>
            <a:off x="9211845"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2" y="69"/>
                  <a:pt x="4" y="69"/>
                  <a:pt x="6" y="69"/>
                </a:cubicBezTo>
                <a:cubicBezTo>
                  <a:pt x="166" y="69"/>
                  <a:pt x="166" y="69"/>
                  <a:pt x="166" y="69"/>
                </a:cubicBezTo>
                <a:cubicBezTo>
                  <a:pt x="168" y="69"/>
                  <a:pt x="169" y="69"/>
                  <a:pt x="170" y="68"/>
                </a:cubicBezTo>
                <a:cubicBezTo>
                  <a:pt x="171" y="66"/>
                  <a:pt x="172" y="65"/>
                  <a:pt x="172" y="63"/>
                </a:cubicBezTo>
                <a:cubicBezTo>
                  <a:pt x="172" y="6"/>
                  <a:pt x="172" y="6"/>
                  <a:pt x="172" y="6"/>
                </a:cubicBezTo>
                <a:cubicBezTo>
                  <a:pt x="172" y="4"/>
                  <a:pt x="171" y="3"/>
                  <a:pt x="170" y="2"/>
                </a:cubicBezTo>
                <a:cubicBezTo>
                  <a:pt x="169" y="1"/>
                  <a:pt x="168" y="0"/>
                  <a:pt x="166" y="0"/>
                </a:cubicBezTo>
                <a:cubicBezTo>
                  <a:pt x="6" y="0"/>
                  <a:pt x="6" y="0"/>
                  <a:pt x="6" y="0"/>
                </a:cubicBezTo>
                <a:cubicBezTo>
                  <a:pt x="4" y="0"/>
                  <a:pt x="2"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225">
            <a:extLst>
              <a:ext uri="{FF2B5EF4-FFF2-40B4-BE49-F238E27FC236}">
                <a16:creationId xmlns:a16="http://schemas.microsoft.com/office/drawing/2014/main" id="{E3A9E50A-0149-4F68-AF4E-1226F179420D}"/>
              </a:ext>
            </a:extLst>
          </p:cNvPr>
          <p:cNvSpPr>
            <a:spLocks/>
          </p:cNvSpPr>
          <p:nvPr/>
        </p:nvSpPr>
        <p:spPr bwMode="auto">
          <a:xfrm>
            <a:off x="9827290" y="5445532"/>
            <a:ext cx="302662" cy="489927"/>
          </a:xfrm>
          <a:custGeom>
            <a:avLst/>
            <a:gdLst>
              <a:gd name="T0" fmla="*/ 31 w 299"/>
              <a:gd name="T1" fmla="*/ 0 h 484"/>
              <a:gd name="T2" fmla="*/ 0 w 299"/>
              <a:gd name="T3" fmla="*/ 484 h 484"/>
              <a:gd name="T4" fmla="*/ 149 w 299"/>
              <a:gd name="T5" fmla="*/ 484 h 484"/>
              <a:gd name="T6" fmla="*/ 299 w 299"/>
              <a:gd name="T7" fmla="*/ 484 h 484"/>
              <a:gd name="T8" fmla="*/ 266 w 299"/>
              <a:gd name="T9" fmla="*/ 0 h 484"/>
              <a:gd name="T10" fmla="*/ 31 w 299"/>
              <a:gd name="T11" fmla="*/ 0 h 484"/>
            </a:gdLst>
            <a:ahLst/>
            <a:cxnLst>
              <a:cxn ang="0">
                <a:pos x="T0" y="T1"/>
              </a:cxn>
              <a:cxn ang="0">
                <a:pos x="T2" y="T3"/>
              </a:cxn>
              <a:cxn ang="0">
                <a:pos x="T4" y="T5"/>
              </a:cxn>
              <a:cxn ang="0">
                <a:pos x="T6" y="T7"/>
              </a:cxn>
              <a:cxn ang="0">
                <a:pos x="T8" y="T9"/>
              </a:cxn>
              <a:cxn ang="0">
                <a:pos x="T10" y="T11"/>
              </a:cxn>
            </a:cxnLst>
            <a:rect l="0" t="0" r="r" b="b"/>
            <a:pathLst>
              <a:path w="299" h="484">
                <a:moveTo>
                  <a:pt x="31" y="0"/>
                </a:moveTo>
                <a:lnTo>
                  <a:pt x="0" y="484"/>
                </a:lnTo>
                <a:lnTo>
                  <a:pt x="149" y="484"/>
                </a:lnTo>
                <a:lnTo>
                  <a:pt x="299" y="484"/>
                </a:lnTo>
                <a:lnTo>
                  <a:pt x="266" y="0"/>
                </a:lnTo>
                <a:lnTo>
                  <a:pt x="31" y="0"/>
                </a:lnTo>
                <a:close/>
              </a:path>
            </a:pathLst>
          </a:custGeom>
          <a:solidFill>
            <a:schemeClr val="bg1">
              <a:lumMod val="5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226">
            <a:extLst>
              <a:ext uri="{FF2B5EF4-FFF2-40B4-BE49-F238E27FC236}">
                <a16:creationId xmlns:a16="http://schemas.microsoft.com/office/drawing/2014/main" id="{672C9AB5-7704-4651-9EFC-E6FAB0FE375D}"/>
              </a:ext>
            </a:extLst>
          </p:cNvPr>
          <p:cNvSpPr>
            <a:spLocks/>
          </p:cNvSpPr>
          <p:nvPr/>
        </p:nvSpPr>
        <p:spPr bwMode="auto">
          <a:xfrm>
            <a:off x="9810082" y="5431361"/>
            <a:ext cx="334041" cy="519282"/>
          </a:xfrm>
          <a:custGeom>
            <a:avLst/>
            <a:gdLst>
              <a:gd name="T0" fmla="*/ 20 w 139"/>
              <a:gd name="T1" fmla="*/ 6 h 216"/>
              <a:gd name="T2" fmla="*/ 14 w 139"/>
              <a:gd name="T3" fmla="*/ 6 h 216"/>
              <a:gd name="T4" fmla="*/ 1 w 139"/>
              <a:gd name="T5" fmla="*/ 209 h 216"/>
              <a:gd name="T6" fmla="*/ 2 w 139"/>
              <a:gd name="T7" fmla="*/ 214 h 216"/>
              <a:gd name="T8" fmla="*/ 7 w 139"/>
              <a:gd name="T9" fmla="*/ 216 h 216"/>
              <a:gd name="T10" fmla="*/ 70 w 139"/>
              <a:gd name="T11" fmla="*/ 216 h 216"/>
              <a:gd name="T12" fmla="*/ 133 w 139"/>
              <a:gd name="T13" fmla="*/ 216 h 216"/>
              <a:gd name="T14" fmla="*/ 138 w 139"/>
              <a:gd name="T15" fmla="*/ 214 h 216"/>
              <a:gd name="T16" fmla="*/ 139 w 139"/>
              <a:gd name="T17" fmla="*/ 209 h 216"/>
              <a:gd name="T18" fmla="*/ 125 w 139"/>
              <a:gd name="T19" fmla="*/ 6 h 216"/>
              <a:gd name="T20" fmla="*/ 119 w 139"/>
              <a:gd name="T21" fmla="*/ 0 h 216"/>
              <a:gd name="T22" fmla="*/ 20 w 139"/>
              <a:gd name="T23" fmla="*/ 0 h 216"/>
              <a:gd name="T24" fmla="*/ 14 w 139"/>
              <a:gd name="T25" fmla="*/ 6 h 216"/>
              <a:gd name="T26" fmla="*/ 20 w 139"/>
              <a:gd name="T27" fmla="*/ 6 h 216"/>
              <a:gd name="T28" fmla="*/ 20 w 139"/>
              <a:gd name="T29" fmla="*/ 12 h 216"/>
              <a:gd name="T30" fmla="*/ 114 w 139"/>
              <a:gd name="T31" fmla="*/ 12 h 216"/>
              <a:gd name="T32" fmla="*/ 127 w 139"/>
              <a:gd name="T33" fmla="*/ 204 h 216"/>
              <a:gd name="T34" fmla="*/ 70 w 139"/>
              <a:gd name="T35" fmla="*/ 204 h 216"/>
              <a:gd name="T36" fmla="*/ 13 w 139"/>
              <a:gd name="T37" fmla="*/ 204 h 216"/>
              <a:gd name="T38" fmla="*/ 26 w 139"/>
              <a:gd name="T39" fmla="*/ 7 h 216"/>
              <a:gd name="T40" fmla="*/ 20 w 139"/>
              <a:gd name="T41" fmla="*/ 6 h 216"/>
              <a:gd name="T42" fmla="*/ 20 w 139"/>
              <a:gd name="T43" fmla="*/ 12 h 216"/>
              <a:gd name="T44" fmla="*/ 20 w 139"/>
              <a:gd name="T45"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216">
                <a:moveTo>
                  <a:pt x="20" y="6"/>
                </a:moveTo>
                <a:cubicBezTo>
                  <a:pt x="14" y="6"/>
                  <a:pt x="14" y="6"/>
                  <a:pt x="14" y="6"/>
                </a:cubicBezTo>
                <a:cubicBezTo>
                  <a:pt x="1" y="209"/>
                  <a:pt x="1" y="209"/>
                  <a:pt x="1" y="209"/>
                </a:cubicBezTo>
                <a:cubicBezTo>
                  <a:pt x="0" y="211"/>
                  <a:pt x="1" y="213"/>
                  <a:pt x="2" y="214"/>
                </a:cubicBezTo>
                <a:cubicBezTo>
                  <a:pt x="3" y="215"/>
                  <a:pt x="5" y="216"/>
                  <a:pt x="7" y="216"/>
                </a:cubicBezTo>
                <a:cubicBezTo>
                  <a:pt x="70" y="216"/>
                  <a:pt x="70" y="216"/>
                  <a:pt x="70" y="216"/>
                </a:cubicBezTo>
                <a:cubicBezTo>
                  <a:pt x="133" y="216"/>
                  <a:pt x="133" y="216"/>
                  <a:pt x="133" y="216"/>
                </a:cubicBezTo>
                <a:cubicBezTo>
                  <a:pt x="135" y="216"/>
                  <a:pt x="137" y="215"/>
                  <a:pt x="138" y="214"/>
                </a:cubicBezTo>
                <a:cubicBezTo>
                  <a:pt x="139" y="213"/>
                  <a:pt x="139" y="211"/>
                  <a:pt x="139" y="209"/>
                </a:cubicBezTo>
                <a:cubicBezTo>
                  <a:pt x="125" y="6"/>
                  <a:pt x="125" y="6"/>
                  <a:pt x="125" y="6"/>
                </a:cubicBezTo>
                <a:cubicBezTo>
                  <a:pt x="125" y="3"/>
                  <a:pt x="123" y="0"/>
                  <a:pt x="119" y="0"/>
                </a:cubicBezTo>
                <a:cubicBezTo>
                  <a:pt x="20" y="0"/>
                  <a:pt x="20" y="0"/>
                  <a:pt x="20" y="0"/>
                </a:cubicBezTo>
                <a:cubicBezTo>
                  <a:pt x="17" y="0"/>
                  <a:pt x="15" y="3"/>
                  <a:pt x="14" y="6"/>
                </a:cubicBezTo>
                <a:cubicBezTo>
                  <a:pt x="20" y="6"/>
                  <a:pt x="20" y="6"/>
                  <a:pt x="20" y="6"/>
                </a:cubicBezTo>
                <a:cubicBezTo>
                  <a:pt x="20" y="12"/>
                  <a:pt x="20" y="12"/>
                  <a:pt x="20" y="12"/>
                </a:cubicBezTo>
                <a:cubicBezTo>
                  <a:pt x="114" y="12"/>
                  <a:pt x="114" y="12"/>
                  <a:pt x="114" y="12"/>
                </a:cubicBezTo>
                <a:cubicBezTo>
                  <a:pt x="127" y="204"/>
                  <a:pt x="127" y="204"/>
                  <a:pt x="127" y="204"/>
                </a:cubicBezTo>
                <a:cubicBezTo>
                  <a:pt x="70" y="204"/>
                  <a:pt x="70" y="204"/>
                  <a:pt x="70" y="204"/>
                </a:cubicBezTo>
                <a:cubicBezTo>
                  <a:pt x="13" y="204"/>
                  <a:pt x="13" y="204"/>
                  <a:pt x="13" y="204"/>
                </a:cubicBezTo>
                <a:cubicBezTo>
                  <a:pt x="26" y="7"/>
                  <a:pt x="26" y="7"/>
                  <a:pt x="26" y="7"/>
                </a:cubicBezTo>
                <a:cubicBezTo>
                  <a:pt x="20" y="6"/>
                  <a:pt x="20" y="6"/>
                  <a:pt x="20" y="6"/>
                </a:cubicBezTo>
                <a:cubicBezTo>
                  <a:pt x="20" y="12"/>
                  <a:pt x="20" y="12"/>
                  <a:pt x="20" y="12"/>
                </a:cubicBezTo>
                <a:lnTo>
                  <a:pt x="20"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Rectangle 227">
            <a:extLst>
              <a:ext uri="{FF2B5EF4-FFF2-40B4-BE49-F238E27FC236}">
                <a16:creationId xmlns:a16="http://schemas.microsoft.com/office/drawing/2014/main" id="{9C32DAD8-3310-4D64-A868-FFF9A238FAD1}"/>
              </a:ext>
            </a:extLst>
          </p:cNvPr>
          <p:cNvSpPr>
            <a:spLocks noChangeArrowheads="1"/>
          </p:cNvSpPr>
          <p:nvPr/>
        </p:nvSpPr>
        <p:spPr bwMode="auto">
          <a:xfrm>
            <a:off x="9829315" y="5335197"/>
            <a:ext cx="297600" cy="120457"/>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228">
            <a:extLst>
              <a:ext uri="{FF2B5EF4-FFF2-40B4-BE49-F238E27FC236}">
                <a16:creationId xmlns:a16="http://schemas.microsoft.com/office/drawing/2014/main" id="{F6DEDBC9-8621-4CB8-8561-E88DC4EDA411}"/>
              </a:ext>
            </a:extLst>
          </p:cNvPr>
          <p:cNvSpPr>
            <a:spLocks/>
          </p:cNvSpPr>
          <p:nvPr/>
        </p:nvSpPr>
        <p:spPr bwMode="auto">
          <a:xfrm>
            <a:off x="9815144" y="5321026"/>
            <a:ext cx="326955" cy="148800"/>
          </a:xfrm>
          <a:custGeom>
            <a:avLst/>
            <a:gdLst>
              <a:gd name="T0" fmla="*/ 130 w 136"/>
              <a:gd name="T1" fmla="*/ 56 h 62"/>
              <a:gd name="T2" fmla="*/ 130 w 136"/>
              <a:gd name="T3" fmla="*/ 50 h 62"/>
              <a:gd name="T4" fmla="*/ 12 w 136"/>
              <a:gd name="T5" fmla="*/ 50 h 62"/>
              <a:gd name="T6" fmla="*/ 12 w 136"/>
              <a:gd name="T7" fmla="*/ 12 h 62"/>
              <a:gd name="T8" fmla="*/ 124 w 136"/>
              <a:gd name="T9" fmla="*/ 12 h 62"/>
              <a:gd name="T10" fmla="*/ 124 w 136"/>
              <a:gd name="T11" fmla="*/ 56 h 62"/>
              <a:gd name="T12" fmla="*/ 130 w 136"/>
              <a:gd name="T13" fmla="*/ 56 h 62"/>
              <a:gd name="T14" fmla="*/ 130 w 136"/>
              <a:gd name="T15" fmla="*/ 50 h 62"/>
              <a:gd name="T16" fmla="*/ 130 w 136"/>
              <a:gd name="T17" fmla="*/ 56 h 62"/>
              <a:gd name="T18" fmla="*/ 136 w 136"/>
              <a:gd name="T19" fmla="*/ 56 h 62"/>
              <a:gd name="T20" fmla="*/ 136 w 136"/>
              <a:gd name="T21" fmla="*/ 6 h 62"/>
              <a:gd name="T22" fmla="*/ 134 w 136"/>
              <a:gd name="T23" fmla="*/ 2 h 62"/>
              <a:gd name="T24" fmla="*/ 130 w 136"/>
              <a:gd name="T25" fmla="*/ 0 h 62"/>
              <a:gd name="T26" fmla="*/ 6 w 136"/>
              <a:gd name="T27" fmla="*/ 0 h 62"/>
              <a:gd name="T28" fmla="*/ 2 w 136"/>
              <a:gd name="T29" fmla="*/ 2 h 62"/>
              <a:gd name="T30" fmla="*/ 0 w 136"/>
              <a:gd name="T31" fmla="*/ 6 h 62"/>
              <a:gd name="T32" fmla="*/ 0 w 136"/>
              <a:gd name="T33" fmla="*/ 56 h 62"/>
              <a:gd name="T34" fmla="*/ 2 w 136"/>
              <a:gd name="T35" fmla="*/ 60 h 62"/>
              <a:gd name="T36" fmla="*/ 6 w 136"/>
              <a:gd name="T37" fmla="*/ 62 h 62"/>
              <a:gd name="T38" fmla="*/ 130 w 136"/>
              <a:gd name="T39" fmla="*/ 62 h 62"/>
              <a:gd name="T40" fmla="*/ 134 w 136"/>
              <a:gd name="T41" fmla="*/ 60 h 62"/>
              <a:gd name="T42" fmla="*/ 136 w 136"/>
              <a:gd name="T43" fmla="*/ 56 h 62"/>
              <a:gd name="T44" fmla="*/ 130 w 136"/>
              <a:gd name="T4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 h="62">
                <a:moveTo>
                  <a:pt x="130" y="56"/>
                </a:moveTo>
                <a:cubicBezTo>
                  <a:pt x="130" y="50"/>
                  <a:pt x="130" y="50"/>
                  <a:pt x="130" y="50"/>
                </a:cubicBezTo>
                <a:cubicBezTo>
                  <a:pt x="12" y="50"/>
                  <a:pt x="12" y="50"/>
                  <a:pt x="12" y="50"/>
                </a:cubicBezTo>
                <a:cubicBezTo>
                  <a:pt x="12" y="12"/>
                  <a:pt x="12" y="12"/>
                  <a:pt x="12" y="12"/>
                </a:cubicBezTo>
                <a:cubicBezTo>
                  <a:pt x="124" y="12"/>
                  <a:pt x="124" y="12"/>
                  <a:pt x="124" y="12"/>
                </a:cubicBezTo>
                <a:cubicBezTo>
                  <a:pt x="124" y="56"/>
                  <a:pt x="124" y="56"/>
                  <a:pt x="124" y="56"/>
                </a:cubicBezTo>
                <a:cubicBezTo>
                  <a:pt x="130" y="56"/>
                  <a:pt x="130" y="56"/>
                  <a:pt x="130" y="56"/>
                </a:cubicBezTo>
                <a:cubicBezTo>
                  <a:pt x="130" y="50"/>
                  <a:pt x="130" y="50"/>
                  <a:pt x="130" y="50"/>
                </a:cubicBezTo>
                <a:cubicBezTo>
                  <a:pt x="130" y="56"/>
                  <a:pt x="130" y="56"/>
                  <a:pt x="130" y="56"/>
                </a:cubicBezTo>
                <a:cubicBezTo>
                  <a:pt x="136" y="56"/>
                  <a:pt x="136" y="56"/>
                  <a:pt x="136" y="56"/>
                </a:cubicBezTo>
                <a:cubicBezTo>
                  <a:pt x="136" y="6"/>
                  <a:pt x="136" y="6"/>
                  <a:pt x="136" y="6"/>
                </a:cubicBezTo>
                <a:cubicBezTo>
                  <a:pt x="136" y="5"/>
                  <a:pt x="135" y="3"/>
                  <a:pt x="134" y="2"/>
                </a:cubicBezTo>
                <a:cubicBezTo>
                  <a:pt x="133" y="1"/>
                  <a:pt x="132" y="0"/>
                  <a:pt x="130" y="0"/>
                </a:cubicBezTo>
                <a:cubicBezTo>
                  <a:pt x="6" y="0"/>
                  <a:pt x="6" y="0"/>
                  <a:pt x="6" y="0"/>
                </a:cubicBezTo>
                <a:cubicBezTo>
                  <a:pt x="4" y="0"/>
                  <a:pt x="3" y="1"/>
                  <a:pt x="2" y="2"/>
                </a:cubicBezTo>
                <a:cubicBezTo>
                  <a:pt x="0" y="3"/>
                  <a:pt x="0" y="5"/>
                  <a:pt x="0" y="6"/>
                </a:cubicBezTo>
                <a:cubicBezTo>
                  <a:pt x="0" y="56"/>
                  <a:pt x="0" y="56"/>
                  <a:pt x="0" y="56"/>
                </a:cubicBezTo>
                <a:cubicBezTo>
                  <a:pt x="0" y="57"/>
                  <a:pt x="0" y="59"/>
                  <a:pt x="2" y="60"/>
                </a:cubicBezTo>
                <a:cubicBezTo>
                  <a:pt x="3" y="61"/>
                  <a:pt x="4" y="62"/>
                  <a:pt x="6" y="62"/>
                </a:cubicBezTo>
                <a:cubicBezTo>
                  <a:pt x="130" y="62"/>
                  <a:pt x="130" y="62"/>
                  <a:pt x="130" y="62"/>
                </a:cubicBezTo>
                <a:cubicBezTo>
                  <a:pt x="132" y="62"/>
                  <a:pt x="133" y="61"/>
                  <a:pt x="134" y="60"/>
                </a:cubicBezTo>
                <a:cubicBezTo>
                  <a:pt x="135" y="59"/>
                  <a:pt x="136" y="57"/>
                  <a:pt x="136" y="56"/>
                </a:cubicBezTo>
                <a:lnTo>
                  <a:pt x="130" y="5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Rectangle 229">
            <a:extLst>
              <a:ext uri="{FF2B5EF4-FFF2-40B4-BE49-F238E27FC236}">
                <a16:creationId xmlns:a16="http://schemas.microsoft.com/office/drawing/2014/main" id="{44C7FAA2-FB18-4DD0-B714-6FE22EE70111}"/>
              </a:ext>
            </a:extLst>
          </p:cNvPr>
          <p:cNvSpPr>
            <a:spLocks noChangeArrowheads="1"/>
          </p:cNvSpPr>
          <p:nvPr/>
        </p:nvSpPr>
        <p:spPr bwMode="auto">
          <a:xfrm>
            <a:off x="9785788" y="5933435"/>
            <a:ext cx="384653" cy="136653"/>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230">
            <a:extLst>
              <a:ext uri="{FF2B5EF4-FFF2-40B4-BE49-F238E27FC236}">
                <a16:creationId xmlns:a16="http://schemas.microsoft.com/office/drawing/2014/main" id="{A2448F67-4EBF-4954-B20E-DDBFF6D69D77}"/>
              </a:ext>
            </a:extLst>
          </p:cNvPr>
          <p:cNvSpPr>
            <a:spLocks/>
          </p:cNvSpPr>
          <p:nvPr/>
        </p:nvSpPr>
        <p:spPr bwMode="auto">
          <a:xfrm>
            <a:off x="9771617" y="5919263"/>
            <a:ext cx="412996" cy="166008"/>
          </a:xfrm>
          <a:custGeom>
            <a:avLst/>
            <a:gdLst>
              <a:gd name="T0" fmla="*/ 6 w 172"/>
              <a:gd name="T1" fmla="*/ 6 h 69"/>
              <a:gd name="T2" fmla="*/ 6 w 172"/>
              <a:gd name="T3" fmla="*/ 12 h 69"/>
              <a:gd name="T4" fmla="*/ 160 w 172"/>
              <a:gd name="T5" fmla="*/ 12 h 69"/>
              <a:gd name="T6" fmla="*/ 160 w 172"/>
              <a:gd name="T7" fmla="*/ 57 h 69"/>
              <a:gd name="T8" fmla="*/ 12 w 172"/>
              <a:gd name="T9" fmla="*/ 57 h 69"/>
              <a:gd name="T10" fmla="*/ 12 w 172"/>
              <a:gd name="T11" fmla="*/ 6 h 69"/>
              <a:gd name="T12" fmla="*/ 6 w 172"/>
              <a:gd name="T13" fmla="*/ 6 h 69"/>
              <a:gd name="T14" fmla="*/ 6 w 172"/>
              <a:gd name="T15" fmla="*/ 12 h 69"/>
              <a:gd name="T16" fmla="*/ 6 w 172"/>
              <a:gd name="T17" fmla="*/ 6 h 69"/>
              <a:gd name="T18" fmla="*/ 0 w 172"/>
              <a:gd name="T19" fmla="*/ 6 h 69"/>
              <a:gd name="T20" fmla="*/ 0 w 172"/>
              <a:gd name="T21" fmla="*/ 63 h 69"/>
              <a:gd name="T22" fmla="*/ 1 w 172"/>
              <a:gd name="T23" fmla="*/ 68 h 69"/>
              <a:gd name="T24" fmla="*/ 6 w 172"/>
              <a:gd name="T25" fmla="*/ 69 h 69"/>
              <a:gd name="T26" fmla="*/ 166 w 172"/>
              <a:gd name="T27" fmla="*/ 69 h 69"/>
              <a:gd name="T28" fmla="*/ 170 w 172"/>
              <a:gd name="T29" fmla="*/ 68 h 69"/>
              <a:gd name="T30" fmla="*/ 172 w 172"/>
              <a:gd name="T31" fmla="*/ 63 h 69"/>
              <a:gd name="T32" fmla="*/ 172 w 172"/>
              <a:gd name="T33" fmla="*/ 6 h 69"/>
              <a:gd name="T34" fmla="*/ 170 w 172"/>
              <a:gd name="T35" fmla="*/ 2 h 69"/>
              <a:gd name="T36" fmla="*/ 166 w 172"/>
              <a:gd name="T37" fmla="*/ 0 h 69"/>
              <a:gd name="T38" fmla="*/ 6 w 172"/>
              <a:gd name="T39" fmla="*/ 0 h 69"/>
              <a:gd name="T40" fmla="*/ 1 w 172"/>
              <a:gd name="T41" fmla="*/ 2 h 69"/>
              <a:gd name="T42" fmla="*/ 0 w 172"/>
              <a:gd name="T43" fmla="*/ 6 h 69"/>
              <a:gd name="T44" fmla="*/ 6 w 172"/>
              <a:gd name="T4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2" h="69">
                <a:moveTo>
                  <a:pt x="6" y="6"/>
                </a:moveTo>
                <a:cubicBezTo>
                  <a:pt x="6" y="12"/>
                  <a:pt x="6" y="12"/>
                  <a:pt x="6" y="12"/>
                </a:cubicBezTo>
                <a:cubicBezTo>
                  <a:pt x="160" y="12"/>
                  <a:pt x="160" y="12"/>
                  <a:pt x="160" y="12"/>
                </a:cubicBezTo>
                <a:cubicBezTo>
                  <a:pt x="160" y="57"/>
                  <a:pt x="160" y="57"/>
                  <a:pt x="160" y="57"/>
                </a:cubicBezTo>
                <a:cubicBezTo>
                  <a:pt x="12" y="57"/>
                  <a:pt x="12" y="57"/>
                  <a:pt x="12" y="57"/>
                </a:cubicBezTo>
                <a:cubicBezTo>
                  <a:pt x="12" y="6"/>
                  <a:pt x="12" y="6"/>
                  <a:pt x="12" y="6"/>
                </a:cubicBezTo>
                <a:cubicBezTo>
                  <a:pt x="6" y="6"/>
                  <a:pt x="6" y="6"/>
                  <a:pt x="6" y="6"/>
                </a:cubicBezTo>
                <a:cubicBezTo>
                  <a:pt x="6" y="12"/>
                  <a:pt x="6" y="12"/>
                  <a:pt x="6" y="12"/>
                </a:cubicBezTo>
                <a:cubicBezTo>
                  <a:pt x="6" y="6"/>
                  <a:pt x="6" y="6"/>
                  <a:pt x="6" y="6"/>
                </a:cubicBezTo>
                <a:cubicBezTo>
                  <a:pt x="0" y="6"/>
                  <a:pt x="0" y="6"/>
                  <a:pt x="0" y="6"/>
                </a:cubicBezTo>
                <a:cubicBezTo>
                  <a:pt x="0" y="63"/>
                  <a:pt x="0" y="63"/>
                  <a:pt x="0" y="63"/>
                </a:cubicBezTo>
                <a:cubicBezTo>
                  <a:pt x="0" y="65"/>
                  <a:pt x="0" y="66"/>
                  <a:pt x="1" y="68"/>
                </a:cubicBezTo>
                <a:cubicBezTo>
                  <a:pt x="3" y="69"/>
                  <a:pt x="4" y="69"/>
                  <a:pt x="6" y="69"/>
                </a:cubicBezTo>
                <a:cubicBezTo>
                  <a:pt x="166" y="69"/>
                  <a:pt x="166" y="69"/>
                  <a:pt x="166" y="69"/>
                </a:cubicBezTo>
                <a:cubicBezTo>
                  <a:pt x="168" y="69"/>
                  <a:pt x="169" y="69"/>
                  <a:pt x="170" y="68"/>
                </a:cubicBezTo>
                <a:cubicBezTo>
                  <a:pt x="172" y="66"/>
                  <a:pt x="172" y="65"/>
                  <a:pt x="172" y="63"/>
                </a:cubicBezTo>
                <a:cubicBezTo>
                  <a:pt x="172" y="6"/>
                  <a:pt x="172" y="6"/>
                  <a:pt x="172" y="6"/>
                </a:cubicBezTo>
                <a:cubicBezTo>
                  <a:pt x="172" y="4"/>
                  <a:pt x="172" y="3"/>
                  <a:pt x="170" y="2"/>
                </a:cubicBezTo>
                <a:cubicBezTo>
                  <a:pt x="169" y="1"/>
                  <a:pt x="168" y="0"/>
                  <a:pt x="166" y="0"/>
                </a:cubicBezTo>
                <a:cubicBezTo>
                  <a:pt x="6" y="0"/>
                  <a:pt x="6" y="0"/>
                  <a:pt x="6" y="0"/>
                </a:cubicBezTo>
                <a:cubicBezTo>
                  <a:pt x="4" y="0"/>
                  <a:pt x="3" y="1"/>
                  <a:pt x="1" y="2"/>
                </a:cubicBezTo>
                <a:cubicBezTo>
                  <a:pt x="0" y="3"/>
                  <a:pt x="0" y="4"/>
                  <a:pt x="0" y="6"/>
                </a:cubicBezTo>
                <a:lnTo>
                  <a:pt x="6"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Rectangle 231">
            <a:extLst>
              <a:ext uri="{FF2B5EF4-FFF2-40B4-BE49-F238E27FC236}">
                <a16:creationId xmlns:a16="http://schemas.microsoft.com/office/drawing/2014/main" id="{DEFC591B-C7F3-4708-8E2F-AB164A290BF9}"/>
              </a:ext>
            </a:extLst>
          </p:cNvPr>
          <p:cNvSpPr>
            <a:spLocks noChangeArrowheads="1"/>
          </p:cNvSpPr>
          <p:nvPr/>
        </p:nvSpPr>
        <p:spPr bwMode="auto">
          <a:xfrm>
            <a:off x="8018407" y="6073124"/>
            <a:ext cx="2239088" cy="290515"/>
          </a:xfrm>
          <a:prstGeom prst="rect">
            <a:avLst/>
          </a:prstGeom>
          <a:solidFill>
            <a:schemeClr val="bg1">
              <a:lumMod val="50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232">
            <a:extLst>
              <a:ext uri="{FF2B5EF4-FFF2-40B4-BE49-F238E27FC236}">
                <a16:creationId xmlns:a16="http://schemas.microsoft.com/office/drawing/2014/main" id="{15AF2D49-2D6F-471D-AADD-28C6B0619F83}"/>
              </a:ext>
            </a:extLst>
          </p:cNvPr>
          <p:cNvSpPr>
            <a:spLocks/>
          </p:cNvSpPr>
          <p:nvPr/>
        </p:nvSpPr>
        <p:spPr bwMode="auto">
          <a:xfrm>
            <a:off x="8004235" y="6057941"/>
            <a:ext cx="2267431" cy="319870"/>
          </a:xfrm>
          <a:custGeom>
            <a:avLst/>
            <a:gdLst>
              <a:gd name="T0" fmla="*/ 938 w 944"/>
              <a:gd name="T1" fmla="*/ 127 h 133"/>
              <a:gd name="T2" fmla="*/ 938 w 944"/>
              <a:gd name="T3" fmla="*/ 121 h 133"/>
              <a:gd name="T4" fmla="*/ 12 w 944"/>
              <a:gd name="T5" fmla="*/ 121 h 133"/>
              <a:gd name="T6" fmla="*/ 12 w 944"/>
              <a:gd name="T7" fmla="*/ 12 h 133"/>
              <a:gd name="T8" fmla="*/ 932 w 944"/>
              <a:gd name="T9" fmla="*/ 12 h 133"/>
              <a:gd name="T10" fmla="*/ 932 w 944"/>
              <a:gd name="T11" fmla="*/ 127 h 133"/>
              <a:gd name="T12" fmla="*/ 938 w 944"/>
              <a:gd name="T13" fmla="*/ 127 h 133"/>
              <a:gd name="T14" fmla="*/ 938 w 944"/>
              <a:gd name="T15" fmla="*/ 121 h 133"/>
              <a:gd name="T16" fmla="*/ 938 w 944"/>
              <a:gd name="T17" fmla="*/ 127 h 133"/>
              <a:gd name="T18" fmla="*/ 944 w 944"/>
              <a:gd name="T19" fmla="*/ 127 h 133"/>
              <a:gd name="T20" fmla="*/ 944 w 944"/>
              <a:gd name="T21" fmla="*/ 6 h 133"/>
              <a:gd name="T22" fmla="*/ 943 w 944"/>
              <a:gd name="T23" fmla="*/ 2 h 133"/>
              <a:gd name="T24" fmla="*/ 938 w 944"/>
              <a:gd name="T25" fmla="*/ 0 h 133"/>
              <a:gd name="T26" fmla="*/ 6 w 944"/>
              <a:gd name="T27" fmla="*/ 0 h 133"/>
              <a:gd name="T28" fmla="*/ 2 w 944"/>
              <a:gd name="T29" fmla="*/ 2 h 133"/>
              <a:gd name="T30" fmla="*/ 0 w 944"/>
              <a:gd name="T31" fmla="*/ 6 h 133"/>
              <a:gd name="T32" fmla="*/ 0 w 944"/>
              <a:gd name="T33" fmla="*/ 127 h 133"/>
              <a:gd name="T34" fmla="*/ 2 w 944"/>
              <a:gd name="T35" fmla="*/ 131 h 133"/>
              <a:gd name="T36" fmla="*/ 6 w 944"/>
              <a:gd name="T37" fmla="*/ 133 h 133"/>
              <a:gd name="T38" fmla="*/ 938 w 944"/>
              <a:gd name="T39" fmla="*/ 133 h 133"/>
              <a:gd name="T40" fmla="*/ 943 w 944"/>
              <a:gd name="T41" fmla="*/ 131 h 133"/>
              <a:gd name="T42" fmla="*/ 944 w 944"/>
              <a:gd name="T43" fmla="*/ 127 h 133"/>
              <a:gd name="T44" fmla="*/ 938 w 944"/>
              <a:gd name="T45" fmla="*/ 12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4" h="133">
                <a:moveTo>
                  <a:pt x="938" y="127"/>
                </a:moveTo>
                <a:cubicBezTo>
                  <a:pt x="938" y="121"/>
                  <a:pt x="938" y="121"/>
                  <a:pt x="938" y="121"/>
                </a:cubicBezTo>
                <a:cubicBezTo>
                  <a:pt x="12" y="121"/>
                  <a:pt x="12" y="121"/>
                  <a:pt x="12" y="121"/>
                </a:cubicBezTo>
                <a:cubicBezTo>
                  <a:pt x="12" y="12"/>
                  <a:pt x="12" y="12"/>
                  <a:pt x="12" y="12"/>
                </a:cubicBezTo>
                <a:cubicBezTo>
                  <a:pt x="932" y="12"/>
                  <a:pt x="932" y="12"/>
                  <a:pt x="932" y="12"/>
                </a:cubicBezTo>
                <a:cubicBezTo>
                  <a:pt x="932" y="127"/>
                  <a:pt x="932" y="127"/>
                  <a:pt x="932" y="127"/>
                </a:cubicBezTo>
                <a:cubicBezTo>
                  <a:pt x="938" y="127"/>
                  <a:pt x="938" y="127"/>
                  <a:pt x="938" y="127"/>
                </a:cubicBezTo>
                <a:cubicBezTo>
                  <a:pt x="938" y="121"/>
                  <a:pt x="938" y="121"/>
                  <a:pt x="938" y="121"/>
                </a:cubicBezTo>
                <a:cubicBezTo>
                  <a:pt x="938" y="127"/>
                  <a:pt x="938" y="127"/>
                  <a:pt x="938" y="127"/>
                </a:cubicBezTo>
                <a:cubicBezTo>
                  <a:pt x="944" y="127"/>
                  <a:pt x="944" y="127"/>
                  <a:pt x="944" y="127"/>
                </a:cubicBezTo>
                <a:cubicBezTo>
                  <a:pt x="944" y="6"/>
                  <a:pt x="944" y="6"/>
                  <a:pt x="944" y="6"/>
                </a:cubicBezTo>
                <a:cubicBezTo>
                  <a:pt x="944" y="5"/>
                  <a:pt x="944" y="3"/>
                  <a:pt x="943" y="2"/>
                </a:cubicBezTo>
                <a:cubicBezTo>
                  <a:pt x="942" y="1"/>
                  <a:pt x="940" y="0"/>
                  <a:pt x="938" y="0"/>
                </a:cubicBezTo>
                <a:cubicBezTo>
                  <a:pt x="6" y="0"/>
                  <a:pt x="6" y="0"/>
                  <a:pt x="6" y="0"/>
                </a:cubicBezTo>
                <a:cubicBezTo>
                  <a:pt x="5" y="0"/>
                  <a:pt x="3" y="1"/>
                  <a:pt x="2" y="2"/>
                </a:cubicBezTo>
                <a:cubicBezTo>
                  <a:pt x="1" y="3"/>
                  <a:pt x="0" y="5"/>
                  <a:pt x="0" y="6"/>
                </a:cubicBezTo>
                <a:cubicBezTo>
                  <a:pt x="0" y="127"/>
                  <a:pt x="0" y="127"/>
                  <a:pt x="0" y="127"/>
                </a:cubicBezTo>
                <a:cubicBezTo>
                  <a:pt x="0" y="128"/>
                  <a:pt x="1" y="130"/>
                  <a:pt x="2" y="131"/>
                </a:cubicBezTo>
                <a:cubicBezTo>
                  <a:pt x="3" y="132"/>
                  <a:pt x="5" y="133"/>
                  <a:pt x="6" y="133"/>
                </a:cubicBezTo>
                <a:cubicBezTo>
                  <a:pt x="938" y="133"/>
                  <a:pt x="938" y="133"/>
                  <a:pt x="938" y="133"/>
                </a:cubicBezTo>
                <a:cubicBezTo>
                  <a:pt x="940" y="133"/>
                  <a:pt x="942" y="132"/>
                  <a:pt x="943" y="131"/>
                </a:cubicBezTo>
                <a:cubicBezTo>
                  <a:pt x="944" y="130"/>
                  <a:pt x="944" y="128"/>
                  <a:pt x="944" y="127"/>
                </a:cubicBezTo>
                <a:lnTo>
                  <a:pt x="938" y="12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233">
            <a:extLst>
              <a:ext uri="{FF2B5EF4-FFF2-40B4-BE49-F238E27FC236}">
                <a16:creationId xmlns:a16="http://schemas.microsoft.com/office/drawing/2014/main" id="{73D78A62-0A69-46E7-AAA0-E7501A674B2A}"/>
              </a:ext>
            </a:extLst>
          </p:cNvPr>
          <p:cNvSpPr>
            <a:spLocks/>
          </p:cNvSpPr>
          <p:nvPr/>
        </p:nvSpPr>
        <p:spPr bwMode="auto">
          <a:xfrm>
            <a:off x="8558946" y="6214839"/>
            <a:ext cx="1158009" cy="0"/>
          </a:xfrm>
          <a:custGeom>
            <a:avLst/>
            <a:gdLst>
              <a:gd name="T0" fmla="*/ 1144 w 1144"/>
              <a:gd name="T1" fmla="*/ 0 w 1144"/>
              <a:gd name="T2" fmla="*/ 1144 w 1144"/>
            </a:gdLst>
            <a:ahLst/>
            <a:cxnLst>
              <a:cxn ang="0">
                <a:pos x="T0" y="0"/>
              </a:cxn>
              <a:cxn ang="0">
                <a:pos x="T1" y="0"/>
              </a:cxn>
              <a:cxn ang="0">
                <a:pos x="T2" y="0"/>
              </a:cxn>
            </a:cxnLst>
            <a:rect l="0" t="0" r="r" b="b"/>
            <a:pathLst>
              <a:path w="1144">
                <a:moveTo>
                  <a:pt x="1144" y="0"/>
                </a:moveTo>
                <a:lnTo>
                  <a:pt x="0" y="0"/>
                </a:lnTo>
                <a:lnTo>
                  <a:pt x="1144"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Line 234">
            <a:extLst>
              <a:ext uri="{FF2B5EF4-FFF2-40B4-BE49-F238E27FC236}">
                <a16:creationId xmlns:a16="http://schemas.microsoft.com/office/drawing/2014/main" id="{297698B3-95C6-466F-B334-878E36EA004B}"/>
              </a:ext>
            </a:extLst>
          </p:cNvPr>
          <p:cNvSpPr>
            <a:spLocks noChangeShapeType="1"/>
          </p:cNvSpPr>
          <p:nvPr/>
        </p:nvSpPr>
        <p:spPr bwMode="auto">
          <a:xfrm flipH="1">
            <a:off x="8558946" y="6214839"/>
            <a:ext cx="1158009"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0" name="Freeform 235">
            <a:extLst>
              <a:ext uri="{FF2B5EF4-FFF2-40B4-BE49-F238E27FC236}">
                <a16:creationId xmlns:a16="http://schemas.microsoft.com/office/drawing/2014/main" id="{DD9DF405-2D4E-4813-A0E1-BFA7EA96153B}"/>
              </a:ext>
            </a:extLst>
          </p:cNvPr>
          <p:cNvSpPr>
            <a:spLocks/>
          </p:cNvSpPr>
          <p:nvPr/>
        </p:nvSpPr>
        <p:spPr bwMode="auto">
          <a:xfrm>
            <a:off x="8544775" y="6199655"/>
            <a:ext cx="1186352" cy="29355"/>
          </a:xfrm>
          <a:custGeom>
            <a:avLst/>
            <a:gdLst>
              <a:gd name="T0" fmla="*/ 488 w 494"/>
              <a:gd name="T1" fmla="*/ 0 h 12"/>
              <a:gd name="T2" fmla="*/ 6 w 494"/>
              <a:gd name="T3" fmla="*/ 0 h 12"/>
              <a:gd name="T4" fmla="*/ 0 w 494"/>
              <a:gd name="T5" fmla="*/ 6 h 12"/>
              <a:gd name="T6" fmla="*/ 6 w 494"/>
              <a:gd name="T7" fmla="*/ 12 h 12"/>
              <a:gd name="T8" fmla="*/ 488 w 494"/>
              <a:gd name="T9" fmla="*/ 12 h 12"/>
              <a:gd name="T10" fmla="*/ 494 w 494"/>
              <a:gd name="T11" fmla="*/ 6 h 12"/>
              <a:gd name="T12" fmla="*/ 488 w 49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94" h="12">
                <a:moveTo>
                  <a:pt x="488" y="0"/>
                </a:moveTo>
                <a:cubicBezTo>
                  <a:pt x="6" y="0"/>
                  <a:pt x="6" y="0"/>
                  <a:pt x="6" y="0"/>
                </a:cubicBezTo>
                <a:cubicBezTo>
                  <a:pt x="3" y="0"/>
                  <a:pt x="0" y="2"/>
                  <a:pt x="0" y="6"/>
                </a:cubicBezTo>
                <a:cubicBezTo>
                  <a:pt x="0" y="9"/>
                  <a:pt x="3" y="12"/>
                  <a:pt x="6" y="12"/>
                </a:cubicBezTo>
                <a:cubicBezTo>
                  <a:pt x="488" y="12"/>
                  <a:pt x="488" y="12"/>
                  <a:pt x="488" y="12"/>
                </a:cubicBezTo>
                <a:cubicBezTo>
                  <a:pt x="492" y="12"/>
                  <a:pt x="494" y="9"/>
                  <a:pt x="494" y="6"/>
                </a:cubicBezTo>
                <a:cubicBezTo>
                  <a:pt x="494" y="2"/>
                  <a:pt x="492" y="0"/>
                  <a:pt x="488" y="0"/>
                </a:cubicBezTo>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236">
            <a:extLst>
              <a:ext uri="{FF2B5EF4-FFF2-40B4-BE49-F238E27FC236}">
                <a16:creationId xmlns:a16="http://schemas.microsoft.com/office/drawing/2014/main" id="{4153BC47-59E8-4A35-A392-09AAF332E66D}"/>
              </a:ext>
            </a:extLst>
          </p:cNvPr>
          <p:cNvSpPr>
            <a:spLocks/>
          </p:cNvSpPr>
          <p:nvPr/>
        </p:nvSpPr>
        <p:spPr bwMode="auto">
          <a:xfrm>
            <a:off x="7963746" y="4448470"/>
            <a:ext cx="2350435" cy="769307"/>
          </a:xfrm>
          <a:custGeom>
            <a:avLst/>
            <a:gdLst>
              <a:gd name="T0" fmla="*/ 1160 w 2322"/>
              <a:gd name="T1" fmla="*/ 0 h 760"/>
              <a:gd name="T2" fmla="*/ 1741 w 2322"/>
              <a:gd name="T3" fmla="*/ 380 h 760"/>
              <a:gd name="T4" fmla="*/ 2322 w 2322"/>
              <a:gd name="T5" fmla="*/ 760 h 760"/>
              <a:gd name="T6" fmla="*/ 1160 w 2322"/>
              <a:gd name="T7" fmla="*/ 760 h 760"/>
              <a:gd name="T8" fmla="*/ 0 w 2322"/>
              <a:gd name="T9" fmla="*/ 760 h 760"/>
              <a:gd name="T10" fmla="*/ 581 w 2322"/>
              <a:gd name="T11" fmla="*/ 380 h 760"/>
              <a:gd name="T12" fmla="*/ 1160 w 2322"/>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322" h="760">
                <a:moveTo>
                  <a:pt x="1160" y="0"/>
                </a:moveTo>
                <a:lnTo>
                  <a:pt x="1741" y="380"/>
                </a:lnTo>
                <a:lnTo>
                  <a:pt x="2322" y="760"/>
                </a:lnTo>
                <a:lnTo>
                  <a:pt x="1160" y="760"/>
                </a:lnTo>
                <a:lnTo>
                  <a:pt x="0" y="760"/>
                </a:lnTo>
                <a:lnTo>
                  <a:pt x="581" y="380"/>
                </a:lnTo>
                <a:lnTo>
                  <a:pt x="1160" y="0"/>
                </a:lnTo>
                <a:close/>
              </a:path>
            </a:pathLst>
          </a:custGeom>
          <a:solidFill>
            <a:schemeClr val="bg1">
              <a:lumMod val="50000"/>
            </a:schemeClr>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237">
            <a:extLst>
              <a:ext uri="{FF2B5EF4-FFF2-40B4-BE49-F238E27FC236}">
                <a16:creationId xmlns:a16="http://schemas.microsoft.com/office/drawing/2014/main" id="{C6C1CCD8-1B81-4CB5-8CC5-FC5792F9B21E}"/>
              </a:ext>
            </a:extLst>
          </p:cNvPr>
          <p:cNvSpPr>
            <a:spLocks/>
          </p:cNvSpPr>
          <p:nvPr/>
        </p:nvSpPr>
        <p:spPr bwMode="auto">
          <a:xfrm>
            <a:off x="7946537" y="4432274"/>
            <a:ext cx="2382827" cy="799674"/>
          </a:xfrm>
          <a:custGeom>
            <a:avLst/>
            <a:gdLst>
              <a:gd name="T0" fmla="*/ 496 w 992"/>
              <a:gd name="T1" fmla="*/ 7 h 333"/>
              <a:gd name="T2" fmla="*/ 493 w 992"/>
              <a:gd name="T3" fmla="*/ 12 h 333"/>
              <a:gd name="T4" fmla="*/ 738 w 992"/>
              <a:gd name="T5" fmla="*/ 172 h 333"/>
              <a:gd name="T6" fmla="*/ 966 w 992"/>
              <a:gd name="T7" fmla="*/ 321 h 333"/>
              <a:gd name="T8" fmla="*/ 496 w 992"/>
              <a:gd name="T9" fmla="*/ 321 h 333"/>
              <a:gd name="T10" fmla="*/ 27 w 992"/>
              <a:gd name="T11" fmla="*/ 321 h 333"/>
              <a:gd name="T12" fmla="*/ 255 w 992"/>
              <a:gd name="T13" fmla="*/ 172 h 333"/>
              <a:gd name="T14" fmla="*/ 500 w 992"/>
              <a:gd name="T15" fmla="*/ 12 h 333"/>
              <a:gd name="T16" fmla="*/ 496 w 992"/>
              <a:gd name="T17" fmla="*/ 7 h 333"/>
              <a:gd name="T18" fmla="*/ 493 w 992"/>
              <a:gd name="T19" fmla="*/ 12 h 333"/>
              <a:gd name="T20" fmla="*/ 496 w 992"/>
              <a:gd name="T21" fmla="*/ 7 h 333"/>
              <a:gd name="T22" fmla="*/ 493 w 992"/>
              <a:gd name="T23" fmla="*/ 2 h 333"/>
              <a:gd name="T24" fmla="*/ 248 w 992"/>
              <a:gd name="T25" fmla="*/ 162 h 333"/>
              <a:gd name="T26" fmla="*/ 4 w 992"/>
              <a:gd name="T27" fmla="*/ 322 h 333"/>
              <a:gd name="T28" fmla="*/ 1 w 992"/>
              <a:gd name="T29" fmla="*/ 329 h 333"/>
              <a:gd name="T30" fmla="*/ 7 w 992"/>
              <a:gd name="T31" fmla="*/ 333 h 333"/>
              <a:gd name="T32" fmla="*/ 496 w 992"/>
              <a:gd name="T33" fmla="*/ 333 h 333"/>
              <a:gd name="T34" fmla="*/ 986 w 992"/>
              <a:gd name="T35" fmla="*/ 333 h 333"/>
              <a:gd name="T36" fmla="*/ 992 w 992"/>
              <a:gd name="T37" fmla="*/ 329 h 333"/>
              <a:gd name="T38" fmla="*/ 989 w 992"/>
              <a:gd name="T39" fmla="*/ 322 h 333"/>
              <a:gd name="T40" fmla="*/ 744 w 992"/>
              <a:gd name="T41" fmla="*/ 162 h 333"/>
              <a:gd name="T42" fmla="*/ 500 w 992"/>
              <a:gd name="T43" fmla="*/ 2 h 333"/>
              <a:gd name="T44" fmla="*/ 493 w 992"/>
              <a:gd name="T45" fmla="*/ 2 h 333"/>
              <a:gd name="T46" fmla="*/ 496 w 992"/>
              <a:gd name="T4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92" h="333">
                <a:moveTo>
                  <a:pt x="496" y="7"/>
                </a:moveTo>
                <a:cubicBezTo>
                  <a:pt x="493" y="12"/>
                  <a:pt x="493" y="12"/>
                  <a:pt x="493" y="12"/>
                </a:cubicBezTo>
                <a:cubicBezTo>
                  <a:pt x="738" y="172"/>
                  <a:pt x="738" y="172"/>
                  <a:pt x="738" y="172"/>
                </a:cubicBezTo>
                <a:cubicBezTo>
                  <a:pt x="966" y="321"/>
                  <a:pt x="966" y="321"/>
                  <a:pt x="966" y="321"/>
                </a:cubicBezTo>
                <a:cubicBezTo>
                  <a:pt x="496" y="321"/>
                  <a:pt x="496" y="321"/>
                  <a:pt x="496" y="321"/>
                </a:cubicBezTo>
                <a:cubicBezTo>
                  <a:pt x="27" y="321"/>
                  <a:pt x="27" y="321"/>
                  <a:pt x="27" y="321"/>
                </a:cubicBezTo>
                <a:cubicBezTo>
                  <a:pt x="255" y="172"/>
                  <a:pt x="255" y="172"/>
                  <a:pt x="255" y="172"/>
                </a:cubicBezTo>
                <a:cubicBezTo>
                  <a:pt x="500" y="12"/>
                  <a:pt x="500" y="12"/>
                  <a:pt x="500" y="12"/>
                </a:cubicBezTo>
                <a:cubicBezTo>
                  <a:pt x="496" y="7"/>
                  <a:pt x="496" y="7"/>
                  <a:pt x="496" y="7"/>
                </a:cubicBezTo>
                <a:cubicBezTo>
                  <a:pt x="493" y="12"/>
                  <a:pt x="493" y="12"/>
                  <a:pt x="493" y="12"/>
                </a:cubicBezTo>
                <a:cubicBezTo>
                  <a:pt x="496" y="7"/>
                  <a:pt x="496" y="7"/>
                  <a:pt x="496" y="7"/>
                </a:cubicBezTo>
                <a:cubicBezTo>
                  <a:pt x="493" y="2"/>
                  <a:pt x="493" y="2"/>
                  <a:pt x="493" y="2"/>
                </a:cubicBezTo>
                <a:cubicBezTo>
                  <a:pt x="248" y="162"/>
                  <a:pt x="248" y="162"/>
                  <a:pt x="248" y="162"/>
                </a:cubicBezTo>
                <a:cubicBezTo>
                  <a:pt x="4" y="322"/>
                  <a:pt x="4" y="322"/>
                  <a:pt x="4" y="322"/>
                </a:cubicBezTo>
                <a:cubicBezTo>
                  <a:pt x="1" y="324"/>
                  <a:pt x="0" y="326"/>
                  <a:pt x="1" y="329"/>
                </a:cubicBezTo>
                <a:cubicBezTo>
                  <a:pt x="2" y="332"/>
                  <a:pt x="4" y="333"/>
                  <a:pt x="7" y="333"/>
                </a:cubicBezTo>
                <a:cubicBezTo>
                  <a:pt x="496" y="333"/>
                  <a:pt x="496" y="333"/>
                  <a:pt x="496" y="333"/>
                </a:cubicBezTo>
                <a:cubicBezTo>
                  <a:pt x="986" y="333"/>
                  <a:pt x="986" y="333"/>
                  <a:pt x="986" y="333"/>
                </a:cubicBezTo>
                <a:cubicBezTo>
                  <a:pt x="988" y="333"/>
                  <a:pt x="991" y="332"/>
                  <a:pt x="992" y="329"/>
                </a:cubicBezTo>
                <a:cubicBezTo>
                  <a:pt x="992" y="326"/>
                  <a:pt x="991" y="324"/>
                  <a:pt x="989" y="322"/>
                </a:cubicBezTo>
                <a:cubicBezTo>
                  <a:pt x="744" y="162"/>
                  <a:pt x="744" y="162"/>
                  <a:pt x="744" y="162"/>
                </a:cubicBezTo>
                <a:cubicBezTo>
                  <a:pt x="500" y="2"/>
                  <a:pt x="500" y="2"/>
                  <a:pt x="500" y="2"/>
                </a:cubicBezTo>
                <a:cubicBezTo>
                  <a:pt x="498" y="0"/>
                  <a:pt x="495" y="0"/>
                  <a:pt x="493" y="2"/>
                </a:cubicBezTo>
                <a:lnTo>
                  <a:pt x="496" y="7"/>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238">
            <a:extLst>
              <a:ext uri="{FF2B5EF4-FFF2-40B4-BE49-F238E27FC236}">
                <a16:creationId xmlns:a16="http://schemas.microsoft.com/office/drawing/2014/main" id="{342E0637-BB7F-4DC2-96D2-FCA072628794}"/>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close/>
                <a:moveTo>
                  <a:pt x="852" y="0"/>
                </a:moveTo>
                <a:lnTo>
                  <a:pt x="0" y="558"/>
                </a:lnTo>
                <a:lnTo>
                  <a:pt x="1706" y="558"/>
                </a:lnTo>
                <a:lnTo>
                  <a:pt x="85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239">
            <a:extLst>
              <a:ext uri="{FF2B5EF4-FFF2-40B4-BE49-F238E27FC236}">
                <a16:creationId xmlns:a16="http://schemas.microsoft.com/office/drawing/2014/main" id="{6C814CB9-DDD2-446B-8F77-1323551CDD93}"/>
              </a:ext>
            </a:extLst>
          </p:cNvPr>
          <p:cNvSpPr>
            <a:spLocks noEditPoints="1"/>
          </p:cNvSpPr>
          <p:nvPr/>
        </p:nvSpPr>
        <p:spPr bwMode="auto">
          <a:xfrm>
            <a:off x="8275517" y="4558805"/>
            <a:ext cx="1726892" cy="564833"/>
          </a:xfrm>
          <a:custGeom>
            <a:avLst/>
            <a:gdLst>
              <a:gd name="T0" fmla="*/ 852 w 1706"/>
              <a:gd name="T1" fmla="*/ 84 h 558"/>
              <a:gd name="T2" fmla="*/ 1473 w 1706"/>
              <a:gd name="T3" fmla="*/ 489 h 558"/>
              <a:gd name="T4" fmla="*/ 233 w 1706"/>
              <a:gd name="T5" fmla="*/ 489 h 558"/>
              <a:gd name="T6" fmla="*/ 852 w 1706"/>
              <a:gd name="T7" fmla="*/ 84 h 558"/>
              <a:gd name="T8" fmla="*/ 852 w 1706"/>
              <a:gd name="T9" fmla="*/ 0 h 558"/>
              <a:gd name="T10" fmla="*/ 0 w 1706"/>
              <a:gd name="T11" fmla="*/ 558 h 558"/>
              <a:gd name="T12" fmla="*/ 1706 w 1706"/>
              <a:gd name="T13" fmla="*/ 558 h 558"/>
              <a:gd name="T14" fmla="*/ 852 w 1706"/>
              <a:gd name="T15" fmla="*/ 0 h 5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6" h="558">
                <a:moveTo>
                  <a:pt x="852" y="84"/>
                </a:moveTo>
                <a:lnTo>
                  <a:pt x="1473" y="489"/>
                </a:lnTo>
                <a:lnTo>
                  <a:pt x="233" y="489"/>
                </a:lnTo>
                <a:lnTo>
                  <a:pt x="852" y="84"/>
                </a:lnTo>
                <a:moveTo>
                  <a:pt x="852" y="0"/>
                </a:moveTo>
                <a:lnTo>
                  <a:pt x="0" y="558"/>
                </a:lnTo>
                <a:lnTo>
                  <a:pt x="1706" y="558"/>
                </a:lnTo>
                <a:lnTo>
                  <a:pt x="852"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5" name="Freeform 240">
            <a:extLst>
              <a:ext uri="{FF2B5EF4-FFF2-40B4-BE49-F238E27FC236}">
                <a16:creationId xmlns:a16="http://schemas.microsoft.com/office/drawing/2014/main" id="{BDDF1006-B3CA-4771-807B-9E214B7D026A}"/>
              </a:ext>
            </a:extLst>
          </p:cNvPr>
          <p:cNvSpPr>
            <a:spLocks noEditPoints="1"/>
          </p:cNvSpPr>
          <p:nvPr/>
        </p:nvSpPr>
        <p:spPr bwMode="auto">
          <a:xfrm>
            <a:off x="8261346" y="4544633"/>
            <a:ext cx="1755235" cy="593176"/>
          </a:xfrm>
          <a:custGeom>
            <a:avLst/>
            <a:gdLst>
              <a:gd name="T0" fmla="*/ 362 w 731"/>
              <a:gd name="T1" fmla="*/ 46 h 247"/>
              <a:gd name="T2" fmla="*/ 607 w 731"/>
              <a:gd name="T3" fmla="*/ 206 h 247"/>
              <a:gd name="T4" fmla="*/ 124 w 731"/>
              <a:gd name="T5" fmla="*/ 206 h 247"/>
              <a:gd name="T6" fmla="*/ 369 w 731"/>
              <a:gd name="T7" fmla="*/ 46 h 247"/>
              <a:gd name="T8" fmla="*/ 370 w 731"/>
              <a:gd name="T9" fmla="*/ 38 h 247"/>
              <a:gd name="T10" fmla="*/ 362 w 731"/>
              <a:gd name="T11" fmla="*/ 36 h 247"/>
              <a:gd name="T12" fmla="*/ 101 w 731"/>
              <a:gd name="T13" fmla="*/ 207 h 247"/>
              <a:gd name="T14" fmla="*/ 98 w 731"/>
              <a:gd name="T15" fmla="*/ 214 h 247"/>
              <a:gd name="T16" fmla="*/ 104 w 731"/>
              <a:gd name="T17" fmla="*/ 218 h 247"/>
              <a:gd name="T18" fmla="*/ 627 w 731"/>
              <a:gd name="T19" fmla="*/ 218 h 247"/>
              <a:gd name="T20" fmla="*/ 632 w 731"/>
              <a:gd name="T21" fmla="*/ 214 h 247"/>
              <a:gd name="T22" fmla="*/ 630 w 731"/>
              <a:gd name="T23" fmla="*/ 207 h 247"/>
              <a:gd name="T24" fmla="*/ 369 w 731"/>
              <a:gd name="T25" fmla="*/ 36 h 247"/>
              <a:gd name="T26" fmla="*/ 360 w 731"/>
              <a:gd name="T27" fmla="*/ 38 h 247"/>
              <a:gd name="T28" fmla="*/ 362 w 731"/>
              <a:gd name="T29" fmla="*/ 46 h 247"/>
              <a:gd name="T30" fmla="*/ 365 w 731"/>
              <a:gd name="T31" fmla="*/ 6 h 247"/>
              <a:gd name="T32" fmla="*/ 362 w 731"/>
              <a:gd name="T33" fmla="*/ 1 h 247"/>
              <a:gd name="T34" fmla="*/ 3 w 731"/>
              <a:gd name="T35" fmla="*/ 236 h 247"/>
              <a:gd name="T36" fmla="*/ 0 w 731"/>
              <a:gd name="T37" fmla="*/ 243 h 247"/>
              <a:gd name="T38" fmla="*/ 6 w 731"/>
              <a:gd name="T39" fmla="*/ 247 h 247"/>
              <a:gd name="T40" fmla="*/ 725 w 731"/>
              <a:gd name="T41" fmla="*/ 247 h 247"/>
              <a:gd name="T42" fmla="*/ 730 w 731"/>
              <a:gd name="T43" fmla="*/ 243 h 247"/>
              <a:gd name="T44" fmla="*/ 728 w 731"/>
              <a:gd name="T45" fmla="*/ 236 h 247"/>
              <a:gd name="T46" fmla="*/ 369 w 731"/>
              <a:gd name="T47" fmla="*/ 1 h 247"/>
              <a:gd name="T48" fmla="*/ 362 w 731"/>
              <a:gd name="T49" fmla="*/ 1 h 247"/>
              <a:gd name="T50" fmla="*/ 365 w 731"/>
              <a:gd name="T51" fmla="*/ 6 h 247"/>
              <a:gd name="T52" fmla="*/ 362 w 731"/>
              <a:gd name="T53" fmla="*/ 11 h 247"/>
              <a:gd name="T54" fmla="*/ 704 w 731"/>
              <a:gd name="T55" fmla="*/ 235 h 247"/>
              <a:gd name="T56" fmla="*/ 26 w 731"/>
              <a:gd name="T57" fmla="*/ 235 h 247"/>
              <a:gd name="T58" fmla="*/ 369 w 731"/>
              <a:gd name="T59" fmla="*/ 11 h 247"/>
              <a:gd name="T60" fmla="*/ 365 w 731"/>
              <a:gd name="T61" fmla="*/ 6 h 247"/>
              <a:gd name="T62" fmla="*/ 362 w 731"/>
              <a:gd name="T63" fmla="*/ 11 h 247"/>
              <a:gd name="T64" fmla="*/ 365 w 731"/>
              <a:gd name="T65" fmla="*/ 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1" h="247">
                <a:moveTo>
                  <a:pt x="362" y="46"/>
                </a:moveTo>
                <a:cubicBezTo>
                  <a:pt x="607" y="206"/>
                  <a:pt x="607" y="206"/>
                  <a:pt x="607" y="206"/>
                </a:cubicBezTo>
                <a:cubicBezTo>
                  <a:pt x="124" y="206"/>
                  <a:pt x="124" y="206"/>
                  <a:pt x="124" y="206"/>
                </a:cubicBezTo>
                <a:cubicBezTo>
                  <a:pt x="369" y="46"/>
                  <a:pt x="369" y="46"/>
                  <a:pt x="369" y="46"/>
                </a:cubicBezTo>
                <a:cubicBezTo>
                  <a:pt x="371" y="44"/>
                  <a:pt x="372" y="41"/>
                  <a:pt x="370" y="38"/>
                </a:cubicBezTo>
                <a:cubicBezTo>
                  <a:pt x="369" y="35"/>
                  <a:pt x="365" y="34"/>
                  <a:pt x="362" y="36"/>
                </a:cubicBezTo>
                <a:cubicBezTo>
                  <a:pt x="101" y="207"/>
                  <a:pt x="101" y="207"/>
                  <a:pt x="101" y="207"/>
                </a:cubicBezTo>
                <a:cubicBezTo>
                  <a:pt x="99" y="209"/>
                  <a:pt x="97" y="211"/>
                  <a:pt x="98" y="214"/>
                </a:cubicBezTo>
                <a:cubicBezTo>
                  <a:pt x="99" y="216"/>
                  <a:pt x="101" y="218"/>
                  <a:pt x="104" y="218"/>
                </a:cubicBezTo>
                <a:cubicBezTo>
                  <a:pt x="627" y="218"/>
                  <a:pt x="627" y="218"/>
                  <a:pt x="627" y="218"/>
                </a:cubicBezTo>
                <a:cubicBezTo>
                  <a:pt x="629" y="218"/>
                  <a:pt x="632" y="216"/>
                  <a:pt x="632" y="214"/>
                </a:cubicBezTo>
                <a:cubicBezTo>
                  <a:pt x="633" y="211"/>
                  <a:pt x="632" y="209"/>
                  <a:pt x="630" y="207"/>
                </a:cubicBezTo>
                <a:cubicBezTo>
                  <a:pt x="369" y="36"/>
                  <a:pt x="369" y="36"/>
                  <a:pt x="369" y="36"/>
                </a:cubicBezTo>
                <a:cubicBezTo>
                  <a:pt x="366" y="34"/>
                  <a:pt x="362" y="35"/>
                  <a:pt x="360" y="38"/>
                </a:cubicBezTo>
                <a:cubicBezTo>
                  <a:pt x="359" y="41"/>
                  <a:pt x="359" y="44"/>
                  <a:pt x="362" y="46"/>
                </a:cubicBezTo>
                <a:close/>
                <a:moveTo>
                  <a:pt x="365" y="6"/>
                </a:moveTo>
                <a:cubicBezTo>
                  <a:pt x="362" y="1"/>
                  <a:pt x="362" y="1"/>
                  <a:pt x="362" y="1"/>
                </a:cubicBezTo>
                <a:cubicBezTo>
                  <a:pt x="3" y="236"/>
                  <a:pt x="3" y="236"/>
                  <a:pt x="3" y="236"/>
                </a:cubicBezTo>
                <a:cubicBezTo>
                  <a:pt x="1" y="238"/>
                  <a:pt x="0" y="241"/>
                  <a:pt x="0" y="243"/>
                </a:cubicBezTo>
                <a:cubicBezTo>
                  <a:pt x="1" y="246"/>
                  <a:pt x="3" y="247"/>
                  <a:pt x="6" y="247"/>
                </a:cubicBezTo>
                <a:cubicBezTo>
                  <a:pt x="725" y="247"/>
                  <a:pt x="725" y="247"/>
                  <a:pt x="725" y="247"/>
                </a:cubicBezTo>
                <a:cubicBezTo>
                  <a:pt x="727" y="247"/>
                  <a:pt x="730" y="246"/>
                  <a:pt x="730" y="243"/>
                </a:cubicBezTo>
                <a:cubicBezTo>
                  <a:pt x="731" y="241"/>
                  <a:pt x="730" y="238"/>
                  <a:pt x="728" y="236"/>
                </a:cubicBezTo>
                <a:cubicBezTo>
                  <a:pt x="369" y="1"/>
                  <a:pt x="369" y="1"/>
                  <a:pt x="369" y="1"/>
                </a:cubicBezTo>
                <a:cubicBezTo>
                  <a:pt x="367" y="0"/>
                  <a:pt x="364" y="0"/>
                  <a:pt x="362" y="1"/>
                </a:cubicBezTo>
                <a:cubicBezTo>
                  <a:pt x="365" y="6"/>
                  <a:pt x="365" y="6"/>
                  <a:pt x="365" y="6"/>
                </a:cubicBezTo>
                <a:cubicBezTo>
                  <a:pt x="362" y="11"/>
                  <a:pt x="362" y="11"/>
                  <a:pt x="362" y="11"/>
                </a:cubicBezTo>
                <a:cubicBezTo>
                  <a:pt x="704" y="235"/>
                  <a:pt x="704" y="235"/>
                  <a:pt x="704" y="235"/>
                </a:cubicBezTo>
                <a:cubicBezTo>
                  <a:pt x="26" y="235"/>
                  <a:pt x="26" y="235"/>
                  <a:pt x="26" y="235"/>
                </a:cubicBezTo>
                <a:cubicBezTo>
                  <a:pt x="369" y="11"/>
                  <a:pt x="369" y="11"/>
                  <a:pt x="369" y="11"/>
                </a:cubicBezTo>
                <a:cubicBezTo>
                  <a:pt x="365" y="6"/>
                  <a:pt x="365" y="6"/>
                  <a:pt x="365" y="6"/>
                </a:cubicBezTo>
                <a:cubicBezTo>
                  <a:pt x="362" y="11"/>
                  <a:pt x="362" y="11"/>
                  <a:pt x="362" y="11"/>
                </a:cubicBezTo>
                <a:lnTo>
                  <a:pt x="365" y="6"/>
                </a:lnTo>
                <a:close/>
              </a:path>
            </a:pathLst>
          </a:custGeom>
          <a:solidFill>
            <a:srgbClr val="00477C"/>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241">
            <a:extLst>
              <a:ext uri="{FF2B5EF4-FFF2-40B4-BE49-F238E27FC236}">
                <a16:creationId xmlns:a16="http://schemas.microsoft.com/office/drawing/2014/main" id="{CC670C00-F427-43C2-9758-44D9427A3A0B}"/>
              </a:ext>
            </a:extLst>
          </p:cNvPr>
          <p:cNvSpPr>
            <a:spLocks/>
          </p:cNvSpPr>
          <p:nvPr/>
        </p:nvSpPr>
        <p:spPr bwMode="auto">
          <a:xfrm>
            <a:off x="7252137" y="4880699"/>
            <a:ext cx="1294663" cy="1488001"/>
          </a:xfrm>
          <a:custGeom>
            <a:avLst/>
            <a:gdLst>
              <a:gd name="T0" fmla="*/ 539 w 539"/>
              <a:gd name="T1" fmla="*/ 120 h 619"/>
              <a:gd name="T2" fmla="*/ 501 w 539"/>
              <a:gd name="T3" fmla="*/ 82 h 619"/>
              <a:gd name="T4" fmla="*/ 287 w 539"/>
              <a:gd name="T5" fmla="*/ 9 h 619"/>
              <a:gd name="T6" fmla="*/ 255 w 539"/>
              <a:gd name="T7" fmla="*/ 8 h 619"/>
              <a:gd name="T8" fmla="*/ 26 w 539"/>
              <a:gd name="T9" fmla="*/ 82 h 619"/>
              <a:gd name="T10" fmla="*/ 1 w 539"/>
              <a:gd name="T11" fmla="*/ 109 h 619"/>
              <a:gd name="T12" fmla="*/ 39 w 539"/>
              <a:gd name="T13" fmla="*/ 379 h 619"/>
              <a:gd name="T14" fmla="*/ 243 w 539"/>
              <a:gd name="T15" fmla="*/ 612 h 619"/>
              <a:gd name="T16" fmla="*/ 297 w 539"/>
              <a:gd name="T17" fmla="*/ 613 h 619"/>
              <a:gd name="T18" fmla="*/ 475 w 539"/>
              <a:gd name="T19" fmla="*/ 445 h 619"/>
              <a:gd name="T20" fmla="*/ 539 w 539"/>
              <a:gd name="T21" fmla="*/ 140 h 619"/>
              <a:gd name="T22" fmla="*/ 539 w 539"/>
              <a:gd name="T23" fmla="*/ 12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9" h="619">
                <a:moveTo>
                  <a:pt x="539" y="120"/>
                </a:moveTo>
                <a:cubicBezTo>
                  <a:pt x="538" y="84"/>
                  <a:pt x="538" y="84"/>
                  <a:pt x="501" y="82"/>
                </a:cubicBezTo>
                <a:cubicBezTo>
                  <a:pt x="423" y="78"/>
                  <a:pt x="351" y="54"/>
                  <a:pt x="287" y="9"/>
                </a:cubicBezTo>
                <a:cubicBezTo>
                  <a:pt x="275" y="1"/>
                  <a:pt x="267" y="0"/>
                  <a:pt x="255" y="8"/>
                </a:cubicBezTo>
                <a:cubicBezTo>
                  <a:pt x="186" y="56"/>
                  <a:pt x="109" y="81"/>
                  <a:pt x="26" y="82"/>
                </a:cubicBezTo>
                <a:cubicBezTo>
                  <a:pt x="4" y="82"/>
                  <a:pt x="1" y="91"/>
                  <a:pt x="1" y="109"/>
                </a:cubicBezTo>
                <a:cubicBezTo>
                  <a:pt x="0" y="201"/>
                  <a:pt x="9" y="292"/>
                  <a:pt x="39" y="379"/>
                </a:cubicBezTo>
                <a:cubicBezTo>
                  <a:pt x="74" y="485"/>
                  <a:pt x="136" y="569"/>
                  <a:pt x="243" y="612"/>
                </a:cubicBezTo>
                <a:cubicBezTo>
                  <a:pt x="259" y="618"/>
                  <a:pt x="281" y="619"/>
                  <a:pt x="297" y="613"/>
                </a:cubicBezTo>
                <a:cubicBezTo>
                  <a:pt x="378" y="581"/>
                  <a:pt x="436" y="522"/>
                  <a:pt x="475" y="445"/>
                </a:cubicBezTo>
                <a:cubicBezTo>
                  <a:pt x="523" y="349"/>
                  <a:pt x="536" y="245"/>
                  <a:pt x="539" y="140"/>
                </a:cubicBezTo>
                <a:cubicBezTo>
                  <a:pt x="539" y="133"/>
                  <a:pt x="539" y="127"/>
                  <a:pt x="539" y="120"/>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57" name="Freeform 242">
            <a:extLst>
              <a:ext uri="{FF2B5EF4-FFF2-40B4-BE49-F238E27FC236}">
                <a16:creationId xmlns:a16="http://schemas.microsoft.com/office/drawing/2014/main" id="{1780641F-26A2-4332-85E6-8CF907F5EE38}"/>
              </a:ext>
            </a:extLst>
          </p:cNvPr>
          <p:cNvSpPr>
            <a:spLocks/>
          </p:cNvSpPr>
          <p:nvPr/>
        </p:nvSpPr>
        <p:spPr bwMode="auto">
          <a:xfrm>
            <a:off x="7239990" y="4871589"/>
            <a:ext cx="1320981" cy="1506222"/>
          </a:xfrm>
          <a:custGeom>
            <a:avLst/>
            <a:gdLst>
              <a:gd name="T0" fmla="*/ 544 w 550"/>
              <a:gd name="T1" fmla="*/ 124 h 627"/>
              <a:gd name="T2" fmla="*/ 550 w 550"/>
              <a:gd name="T3" fmla="*/ 124 h 627"/>
              <a:gd name="T4" fmla="*/ 549 w 550"/>
              <a:gd name="T5" fmla="*/ 103 h 627"/>
              <a:gd name="T6" fmla="*/ 545 w 550"/>
              <a:gd name="T7" fmla="*/ 91 h 627"/>
              <a:gd name="T8" fmla="*/ 539 w 550"/>
              <a:gd name="T9" fmla="*/ 85 h 627"/>
              <a:gd name="T10" fmla="*/ 526 w 550"/>
              <a:gd name="T11" fmla="*/ 81 h 627"/>
              <a:gd name="T12" fmla="*/ 506 w 550"/>
              <a:gd name="T13" fmla="*/ 80 h 627"/>
              <a:gd name="T14" fmla="*/ 295 w 550"/>
              <a:gd name="T15" fmla="*/ 8 h 627"/>
              <a:gd name="T16" fmla="*/ 286 w 550"/>
              <a:gd name="T17" fmla="*/ 2 h 627"/>
              <a:gd name="T18" fmla="*/ 275 w 550"/>
              <a:gd name="T19" fmla="*/ 0 h 627"/>
              <a:gd name="T20" fmla="*/ 266 w 550"/>
              <a:gd name="T21" fmla="*/ 2 h 627"/>
              <a:gd name="T22" fmla="*/ 256 w 550"/>
              <a:gd name="T23" fmla="*/ 7 h 627"/>
              <a:gd name="T24" fmla="*/ 31 w 550"/>
              <a:gd name="T25" fmla="*/ 80 h 627"/>
              <a:gd name="T26" fmla="*/ 16 w 550"/>
              <a:gd name="T27" fmla="*/ 82 h 627"/>
              <a:gd name="T28" fmla="*/ 8 w 550"/>
              <a:gd name="T29" fmla="*/ 87 h 627"/>
              <a:gd name="T30" fmla="*/ 1 w 550"/>
              <a:gd name="T31" fmla="*/ 99 h 627"/>
              <a:gd name="T32" fmla="*/ 0 w 550"/>
              <a:gd name="T33" fmla="*/ 113 h 627"/>
              <a:gd name="T34" fmla="*/ 0 w 550"/>
              <a:gd name="T35" fmla="*/ 118 h 627"/>
              <a:gd name="T36" fmla="*/ 38 w 550"/>
              <a:gd name="T37" fmla="*/ 385 h 627"/>
              <a:gd name="T38" fmla="*/ 115 w 550"/>
              <a:gd name="T39" fmla="*/ 527 h 627"/>
              <a:gd name="T40" fmla="*/ 246 w 550"/>
              <a:gd name="T41" fmla="*/ 621 h 627"/>
              <a:gd name="T42" fmla="*/ 277 w 550"/>
              <a:gd name="T43" fmla="*/ 627 h 627"/>
              <a:gd name="T44" fmla="*/ 304 w 550"/>
              <a:gd name="T45" fmla="*/ 622 h 627"/>
              <a:gd name="T46" fmla="*/ 485 w 550"/>
              <a:gd name="T47" fmla="*/ 451 h 627"/>
              <a:gd name="T48" fmla="*/ 550 w 550"/>
              <a:gd name="T49" fmla="*/ 144 h 627"/>
              <a:gd name="T50" fmla="*/ 550 w 550"/>
              <a:gd name="T51" fmla="*/ 144 h 627"/>
              <a:gd name="T52" fmla="*/ 550 w 550"/>
              <a:gd name="T53" fmla="*/ 144 h 627"/>
              <a:gd name="T54" fmla="*/ 550 w 550"/>
              <a:gd name="T55" fmla="*/ 131 h 627"/>
              <a:gd name="T56" fmla="*/ 550 w 550"/>
              <a:gd name="T57" fmla="*/ 124 h 627"/>
              <a:gd name="T58" fmla="*/ 544 w 550"/>
              <a:gd name="T59" fmla="*/ 124 h 627"/>
              <a:gd name="T60" fmla="*/ 538 w 550"/>
              <a:gd name="T61" fmla="*/ 124 h 627"/>
              <a:gd name="T62" fmla="*/ 538 w 550"/>
              <a:gd name="T63" fmla="*/ 131 h 627"/>
              <a:gd name="T64" fmla="*/ 538 w 550"/>
              <a:gd name="T65" fmla="*/ 144 h 627"/>
              <a:gd name="T66" fmla="*/ 544 w 550"/>
              <a:gd name="T67" fmla="*/ 144 h 627"/>
              <a:gd name="T68" fmla="*/ 538 w 550"/>
              <a:gd name="T69" fmla="*/ 143 h 627"/>
              <a:gd name="T70" fmla="*/ 474 w 550"/>
              <a:gd name="T71" fmla="*/ 446 h 627"/>
              <a:gd name="T72" fmla="*/ 299 w 550"/>
              <a:gd name="T73" fmla="*/ 611 h 627"/>
              <a:gd name="T74" fmla="*/ 277 w 550"/>
              <a:gd name="T75" fmla="*/ 615 h 627"/>
              <a:gd name="T76" fmla="*/ 251 w 550"/>
              <a:gd name="T77" fmla="*/ 610 h 627"/>
              <a:gd name="T78" fmla="*/ 124 w 550"/>
              <a:gd name="T79" fmla="*/ 519 h 627"/>
              <a:gd name="T80" fmla="*/ 49 w 550"/>
              <a:gd name="T81" fmla="*/ 381 h 627"/>
              <a:gd name="T82" fmla="*/ 12 w 550"/>
              <a:gd name="T83" fmla="*/ 118 h 627"/>
              <a:gd name="T84" fmla="*/ 12 w 550"/>
              <a:gd name="T85" fmla="*/ 113 h 627"/>
              <a:gd name="T86" fmla="*/ 13 w 550"/>
              <a:gd name="T87" fmla="*/ 102 h 627"/>
              <a:gd name="T88" fmla="*/ 14 w 550"/>
              <a:gd name="T89" fmla="*/ 98 h 627"/>
              <a:gd name="T90" fmla="*/ 19 w 550"/>
              <a:gd name="T91" fmla="*/ 94 h 627"/>
              <a:gd name="T92" fmla="*/ 31 w 550"/>
              <a:gd name="T93" fmla="*/ 92 h 627"/>
              <a:gd name="T94" fmla="*/ 263 w 550"/>
              <a:gd name="T95" fmla="*/ 17 h 627"/>
              <a:gd name="T96" fmla="*/ 270 w 550"/>
              <a:gd name="T97" fmla="*/ 13 h 627"/>
              <a:gd name="T98" fmla="*/ 275 w 550"/>
              <a:gd name="T99" fmla="*/ 12 h 627"/>
              <a:gd name="T100" fmla="*/ 281 w 550"/>
              <a:gd name="T101" fmla="*/ 14 h 627"/>
              <a:gd name="T102" fmla="*/ 288 w 550"/>
              <a:gd name="T103" fmla="*/ 18 h 627"/>
              <a:gd name="T104" fmla="*/ 506 w 550"/>
              <a:gd name="T105" fmla="*/ 92 h 627"/>
              <a:gd name="T106" fmla="*/ 526 w 550"/>
              <a:gd name="T107" fmla="*/ 94 h 627"/>
              <a:gd name="T108" fmla="*/ 533 w 550"/>
              <a:gd name="T109" fmla="*/ 96 h 627"/>
              <a:gd name="T110" fmla="*/ 535 w 550"/>
              <a:gd name="T111" fmla="*/ 98 h 627"/>
              <a:gd name="T112" fmla="*/ 537 w 550"/>
              <a:gd name="T113" fmla="*/ 106 h 627"/>
              <a:gd name="T114" fmla="*/ 538 w 550"/>
              <a:gd name="T115" fmla="*/ 124 h 627"/>
              <a:gd name="T116" fmla="*/ 544 w 550"/>
              <a:gd name="T117" fmla="*/ 12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0" h="627">
                <a:moveTo>
                  <a:pt x="544" y="124"/>
                </a:moveTo>
                <a:cubicBezTo>
                  <a:pt x="550" y="124"/>
                  <a:pt x="550" y="124"/>
                  <a:pt x="550" y="124"/>
                </a:cubicBezTo>
                <a:cubicBezTo>
                  <a:pt x="550" y="115"/>
                  <a:pt x="549" y="108"/>
                  <a:pt x="549" y="103"/>
                </a:cubicBezTo>
                <a:cubicBezTo>
                  <a:pt x="548" y="98"/>
                  <a:pt x="547" y="95"/>
                  <a:pt x="545" y="91"/>
                </a:cubicBezTo>
                <a:cubicBezTo>
                  <a:pt x="543" y="89"/>
                  <a:pt x="541" y="87"/>
                  <a:pt x="539" y="85"/>
                </a:cubicBezTo>
                <a:cubicBezTo>
                  <a:pt x="535" y="83"/>
                  <a:pt x="531" y="82"/>
                  <a:pt x="526" y="81"/>
                </a:cubicBezTo>
                <a:cubicBezTo>
                  <a:pt x="520" y="81"/>
                  <a:pt x="514" y="80"/>
                  <a:pt x="506" y="80"/>
                </a:cubicBezTo>
                <a:cubicBezTo>
                  <a:pt x="429" y="76"/>
                  <a:pt x="359" y="52"/>
                  <a:pt x="295" y="8"/>
                </a:cubicBezTo>
                <a:cubicBezTo>
                  <a:pt x="292" y="6"/>
                  <a:pt x="289" y="4"/>
                  <a:pt x="286" y="2"/>
                </a:cubicBezTo>
                <a:cubicBezTo>
                  <a:pt x="282" y="1"/>
                  <a:pt x="279" y="0"/>
                  <a:pt x="275" y="0"/>
                </a:cubicBezTo>
                <a:cubicBezTo>
                  <a:pt x="272" y="0"/>
                  <a:pt x="269" y="1"/>
                  <a:pt x="266" y="2"/>
                </a:cubicBezTo>
                <a:cubicBezTo>
                  <a:pt x="262" y="3"/>
                  <a:pt x="259" y="5"/>
                  <a:pt x="256" y="7"/>
                </a:cubicBezTo>
                <a:cubicBezTo>
                  <a:pt x="189" y="55"/>
                  <a:pt x="113" y="79"/>
                  <a:pt x="31" y="80"/>
                </a:cubicBezTo>
                <a:cubicBezTo>
                  <a:pt x="25" y="80"/>
                  <a:pt x="20" y="81"/>
                  <a:pt x="16" y="82"/>
                </a:cubicBezTo>
                <a:cubicBezTo>
                  <a:pt x="13" y="83"/>
                  <a:pt x="10" y="85"/>
                  <a:pt x="8" y="87"/>
                </a:cubicBezTo>
                <a:cubicBezTo>
                  <a:pt x="4" y="90"/>
                  <a:pt x="2" y="94"/>
                  <a:pt x="1" y="99"/>
                </a:cubicBezTo>
                <a:cubicBezTo>
                  <a:pt x="0" y="103"/>
                  <a:pt x="0" y="108"/>
                  <a:pt x="0" y="113"/>
                </a:cubicBezTo>
                <a:cubicBezTo>
                  <a:pt x="0" y="115"/>
                  <a:pt x="0" y="117"/>
                  <a:pt x="0" y="118"/>
                </a:cubicBezTo>
                <a:cubicBezTo>
                  <a:pt x="0" y="209"/>
                  <a:pt x="8" y="298"/>
                  <a:pt x="38" y="385"/>
                </a:cubicBezTo>
                <a:cubicBezTo>
                  <a:pt x="56" y="438"/>
                  <a:pt x="81" y="486"/>
                  <a:pt x="115" y="527"/>
                </a:cubicBezTo>
                <a:cubicBezTo>
                  <a:pt x="148" y="567"/>
                  <a:pt x="192" y="600"/>
                  <a:pt x="246" y="621"/>
                </a:cubicBezTo>
                <a:cubicBezTo>
                  <a:pt x="255" y="625"/>
                  <a:pt x="266" y="627"/>
                  <a:pt x="277" y="627"/>
                </a:cubicBezTo>
                <a:cubicBezTo>
                  <a:pt x="286" y="627"/>
                  <a:pt x="296" y="625"/>
                  <a:pt x="304" y="622"/>
                </a:cubicBezTo>
                <a:cubicBezTo>
                  <a:pt x="387" y="590"/>
                  <a:pt x="446" y="530"/>
                  <a:pt x="485" y="451"/>
                </a:cubicBezTo>
                <a:cubicBezTo>
                  <a:pt x="534" y="354"/>
                  <a:pt x="547" y="250"/>
                  <a:pt x="550" y="144"/>
                </a:cubicBezTo>
                <a:cubicBezTo>
                  <a:pt x="550" y="144"/>
                  <a:pt x="550" y="144"/>
                  <a:pt x="550" y="144"/>
                </a:cubicBezTo>
                <a:cubicBezTo>
                  <a:pt x="550" y="144"/>
                  <a:pt x="550" y="144"/>
                  <a:pt x="550" y="144"/>
                </a:cubicBezTo>
                <a:cubicBezTo>
                  <a:pt x="550" y="140"/>
                  <a:pt x="550" y="135"/>
                  <a:pt x="550" y="131"/>
                </a:cubicBezTo>
                <a:cubicBezTo>
                  <a:pt x="550" y="129"/>
                  <a:pt x="550" y="126"/>
                  <a:pt x="550" y="124"/>
                </a:cubicBezTo>
                <a:cubicBezTo>
                  <a:pt x="544" y="124"/>
                  <a:pt x="544" y="124"/>
                  <a:pt x="544" y="124"/>
                </a:cubicBezTo>
                <a:cubicBezTo>
                  <a:pt x="538" y="124"/>
                  <a:pt x="538" y="124"/>
                  <a:pt x="538" y="124"/>
                </a:cubicBezTo>
                <a:cubicBezTo>
                  <a:pt x="538" y="127"/>
                  <a:pt x="538" y="129"/>
                  <a:pt x="538" y="131"/>
                </a:cubicBezTo>
                <a:cubicBezTo>
                  <a:pt x="538" y="135"/>
                  <a:pt x="538" y="139"/>
                  <a:pt x="538" y="144"/>
                </a:cubicBezTo>
                <a:cubicBezTo>
                  <a:pt x="544" y="144"/>
                  <a:pt x="544" y="144"/>
                  <a:pt x="544" y="144"/>
                </a:cubicBezTo>
                <a:cubicBezTo>
                  <a:pt x="538" y="143"/>
                  <a:pt x="538" y="143"/>
                  <a:pt x="538" y="143"/>
                </a:cubicBezTo>
                <a:cubicBezTo>
                  <a:pt x="535" y="249"/>
                  <a:pt x="522" y="351"/>
                  <a:pt x="474" y="446"/>
                </a:cubicBezTo>
                <a:cubicBezTo>
                  <a:pt x="436" y="523"/>
                  <a:pt x="380" y="580"/>
                  <a:pt x="299" y="611"/>
                </a:cubicBezTo>
                <a:cubicBezTo>
                  <a:pt x="293" y="613"/>
                  <a:pt x="285" y="615"/>
                  <a:pt x="277" y="615"/>
                </a:cubicBezTo>
                <a:cubicBezTo>
                  <a:pt x="268" y="615"/>
                  <a:pt x="258" y="613"/>
                  <a:pt x="251" y="610"/>
                </a:cubicBezTo>
                <a:cubicBezTo>
                  <a:pt x="198" y="589"/>
                  <a:pt x="157" y="558"/>
                  <a:pt x="124" y="519"/>
                </a:cubicBezTo>
                <a:cubicBezTo>
                  <a:pt x="91" y="480"/>
                  <a:pt x="67" y="433"/>
                  <a:pt x="49" y="381"/>
                </a:cubicBezTo>
                <a:cubicBezTo>
                  <a:pt x="20" y="296"/>
                  <a:pt x="12" y="208"/>
                  <a:pt x="12" y="118"/>
                </a:cubicBezTo>
                <a:cubicBezTo>
                  <a:pt x="12" y="117"/>
                  <a:pt x="12" y="115"/>
                  <a:pt x="12" y="113"/>
                </a:cubicBezTo>
                <a:cubicBezTo>
                  <a:pt x="12" y="109"/>
                  <a:pt x="12" y="105"/>
                  <a:pt x="13" y="102"/>
                </a:cubicBezTo>
                <a:cubicBezTo>
                  <a:pt x="13" y="100"/>
                  <a:pt x="14" y="99"/>
                  <a:pt x="14" y="98"/>
                </a:cubicBezTo>
                <a:cubicBezTo>
                  <a:pt x="15" y="96"/>
                  <a:pt x="16" y="95"/>
                  <a:pt x="19" y="94"/>
                </a:cubicBezTo>
                <a:cubicBezTo>
                  <a:pt x="21" y="93"/>
                  <a:pt x="25" y="92"/>
                  <a:pt x="31" y="92"/>
                </a:cubicBezTo>
                <a:cubicBezTo>
                  <a:pt x="116" y="91"/>
                  <a:pt x="194" y="66"/>
                  <a:pt x="263" y="17"/>
                </a:cubicBezTo>
                <a:cubicBezTo>
                  <a:pt x="266" y="15"/>
                  <a:pt x="268" y="14"/>
                  <a:pt x="270" y="13"/>
                </a:cubicBezTo>
                <a:cubicBezTo>
                  <a:pt x="272" y="13"/>
                  <a:pt x="274" y="12"/>
                  <a:pt x="275" y="12"/>
                </a:cubicBezTo>
                <a:cubicBezTo>
                  <a:pt x="277" y="12"/>
                  <a:pt x="279" y="13"/>
                  <a:pt x="281" y="14"/>
                </a:cubicBezTo>
                <a:cubicBezTo>
                  <a:pt x="283" y="14"/>
                  <a:pt x="286" y="16"/>
                  <a:pt x="288" y="18"/>
                </a:cubicBezTo>
                <a:cubicBezTo>
                  <a:pt x="354" y="63"/>
                  <a:pt x="426" y="88"/>
                  <a:pt x="506" y="92"/>
                </a:cubicBezTo>
                <a:cubicBezTo>
                  <a:pt x="515" y="93"/>
                  <a:pt x="522" y="93"/>
                  <a:pt x="526" y="94"/>
                </a:cubicBezTo>
                <a:cubicBezTo>
                  <a:pt x="530" y="94"/>
                  <a:pt x="532" y="95"/>
                  <a:pt x="533" y="96"/>
                </a:cubicBezTo>
                <a:cubicBezTo>
                  <a:pt x="534" y="96"/>
                  <a:pt x="534" y="97"/>
                  <a:pt x="535" y="98"/>
                </a:cubicBezTo>
                <a:cubicBezTo>
                  <a:pt x="536" y="99"/>
                  <a:pt x="537" y="102"/>
                  <a:pt x="537" y="106"/>
                </a:cubicBezTo>
                <a:cubicBezTo>
                  <a:pt x="537" y="111"/>
                  <a:pt x="538" y="117"/>
                  <a:pt x="538" y="124"/>
                </a:cubicBezTo>
                <a:lnTo>
                  <a:pt x="544" y="124"/>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243">
            <a:extLst>
              <a:ext uri="{FF2B5EF4-FFF2-40B4-BE49-F238E27FC236}">
                <a16:creationId xmlns:a16="http://schemas.microsoft.com/office/drawing/2014/main" id="{865FA48E-3356-41A4-BA6D-E8151BA113B7}"/>
              </a:ext>
            </a:extLst>
          </p:cNvPr>
          <p:cNvSpPr>
            <a:spLocks/>
          </p:cNvSpPr>
          <p:nvPr/>
        </p:nvSpPr>
        <p:spPr bwMode="auto">
          <a:xfrm>
            <a:off x="7540627" y="5359491"/>
            <a:ext cx="720719" cy="687315"/>
          </a:xfrm>
          <a:custGeom>
            <a:avLst/>
            <a:gdLst>
              <a:gd name="T0" fmla="*/ 254 w 300"/>
              <a:gd name="T1" fmla="*/ 0 h 286"/>
              <a:gd name="T2" fmla="*/ 46 w 300"/>
              <a:gd name="T3" fmla="*/ 0 h 286"/>
              <a:gd name="T4" fmla="*/ 0 w 300"/>
              <a:gd name="T5" fmla="*/ 41 h 286"/>
              <a:gd name="T6" fmla="*/ 0 w 300"/>
              <a:gd name="T7" fmla="*/ 167 h 286"/>
              <a:gd name="T8" fmla="*/ 4 w 300"/>
              <a:gd name="T9" fmla="*/ 196 h 286"/>
              <a:gd name="T10" fmla="*/ 150 w 300"/>
              <a:gd name="T11" fmla="*/ 286 h 286"/>
              <a:gd name="T12" fmla="*/ 295 w 300"/>
              <a:gd name="T13" fmla="*/ 196 h 286"/>
              <a:gd name="T14" fmla="*/ 300 w 300"/>
              <a:gd name="T15" fmla="*/ 167 h 286"/>
              <a:gd name="T16" fmla="*/ 300 w 300"/>
              <a:gd name="T17" fmla="*/ 41 h 286"/>
              <a:gd name="T18" fmla="*/ 254 w 300"/>
              <a:gd name="T1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86">
                <a:moveTo>
                  <a:pt x="254" y="0"/>
                </a:moveTo>
                <a:cubicBezTo>
                  <a:pt x="46" y="0"/>
                  <a:pt x="46" y="0"/>
                  <a:pt x="46" y="0"/>
                </a:cubicBezTo>
                <a:cubicBezTo>
                  <a:pt x="21" y="0"/>
                  <a:pt x="0" y="18"/>
                  <a:pt x="0" y="41"/>
                </a:cubicBezTo>
                <a:cubicBezTo>
                  <a:pt x="0" y="167"/>
                  <a:pt x="0" y="167"/>
                  <a:pt x="0" y="167"/>
                </a:cubicBezTo>
                <a:cubicBezTo>
                  <a:pt x="0" y="177"/>
                  <a:pt x="1" y="187"/>
                  <a:pt x="4" y="196"/>
                </a:cubicBezTo>
                <a:cubicBezTo>
                  <a:pt x="21" y="248"/>
                  <a:pt x="80" y="286"/>
                  <a:pt x="150" y="286"/>
                </a:cubicBezTo>
                <a:cubicBezTo>
                  <a:pt x="220" y="286"/>
                  <a:pt x="279" y="248"/>
                  <a:pt x="295" y="196"/>
                </a:cubicBezTo>
                <a:cubicBezTo>
                  <a:pt x="299" y="187"/>
                  <a:pt x="300" y="177"/>
                  <a:pt x="300" y="167"/>
                </a:cubicBezTo>
                <a:cubicBezTo>
                  <a:pt x="300" y="41"/>
                  <a:pt x="300" y="41"/>
                  <a:pt x="300" y="41"/>
                </a:cubicBezTo>
                <a:cubicBezTo>
                  <a:pt x="300" y="18"/>
                  <a:pt x="279" y="0"/>
                  <a:pt x="254"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9" name="Freeform 244">
            <a:extLst>
              <a:ext uri="{FF2B5EF4-FFF2-40B4-BE49-F238E27FC236}">
                <a16:creationId xmlns:a16="http://schemas.microsoft.com/office/drawing/2014/main" id="{8ADC1700-5801-45E0-A1E8-0D0EA4979834}"/>
              </a:ext>
            </a:extLst>
          </p:cNvPr>
          <p:cNvSpPr>
            <a:spLocks/>
          </p:cNvSpPr>
          <p:nvPr/>
        </p:nvSpPr>
        <p:spPr bwMode="auto">
          <a:xfrm>
            <a:off x="7526455" y="5345320"/>
            <a:ext cx="749062" cy="715658"/>
          </a:xfrm>
          <a:custGeom>
            <a:avLst/>
            <a:gdLst>
              <a:gd name="T0" fmla="*/ 260 w 312"/>
              <a:gd name="T1" fmla="*/ 6 h 298"/>
              <a:gd name="T2" fmla="*/ 260 w 312"/>
              <a:gd name="T3" fmla="*/ 0 h 298"/>
              <a:gd name="T4" fmla="*/ 52 w 312"/>
              <a:gd name="T5" fmla="*/ 0 h 298"/>
              <a:gd name="T6" fmla="*/ 15 w 312"/>
              <a:gd name="T7" fmla="*/ 13 h 298"/>
              <a:gd name="T8" fmla="*/ 0 w 312"/>
              <a:gd name="T9" fmla="*/ 47 h 298"/>
              <a:gd name="T10" fmla="*/ 0 w 312"/>
              <a:gd name="T11" fmla="*/ 173 h 298"/>
              <a:gd name="T12" fmla="*/ 5 w 312"/>
              <a:gd name="T13" fmla="*/ 204 h 298"/>
              <a:gd name="T14" fmla="*/ 60 w 312"/>
              <a:gd name="T15" fmla="*/ 272 h 298"/>
              <a:gd name="T16" fmla="*/ 156 w 312"/>
              <a:gd name="T17" fmla="*/ 298 h 298"/>
              <a:gd name="T18" fmla="*/ 252 w 312"/>
              <a:gd name="T19" fmla="*/ 272 h 298"/>
              <a:gd name="T20" fmla="*/ 307 w 312"/>
              <a:gd name="T21" fmla="*/ 204 h 298"/>
              <a:gd name="T22" fmla="*/ 312 w 312"/>
              <a:gd name="T23" fmla="*/ 173 h 298"/>
              <a:gd name="T24" fmla="*/ 312 w 312"/>
              <a:gd name="T25" fmla="*/ 47 h 298"/>
              <a:gd name="T26" fmla="*/ 296 w 312"/>
              <a:gd name="T27" fmla="*/ 13 h 298"/>
              <a:gd name="T28" fmla="*/ 260 w 312"/>
              <a:gd name="T29" fmla="*/ 0 h 298"/>
              <a:gd name="T30" fmla="*/ 260 w 312"/>
              <a:gd name="T31" fmla="*/ 6 h 298"/>
              <a:gd name="T32" fmla="*/ 260 w 312"/>
              <a:gd name="T33" fmla="*/ 12 h 298"/>
              <a:gd name="T34" fmla="*/ 288 w 312"/>
              <a:gd name="T35" fmla="*/ 22 h 298"/>
              <a:gd name="T36" fmla="*/ 300 w 312"/>
              <a:gd name="T37" fmla="*/ 47 h 298"/>
              <a:gd name="T38" fmla="*/ 300 w 312"/>
              <a:gd name="T39" fmla="*/ 173 h 298"/>
              <a:gd name="T40" fmla="*/ 296 w 312"/>
              <a:gd name="T41" fmla="*/ 200 h 298"/>
              <a:gd name="T42" fmla="*/ 246 w 312"/>
              <a:gd name="T43" fmla="*/ 261 h 298"/>
              <a:gd name="T44" fmla="*/ 156 w 312"/>
              <a:gd name="T45" fmla="*/ 286 h 298"/>
              <a:gd name="T46" fmla="*/ 66 w 312"/>
              <a:gd name="T47" fmla="*/ 261 h 298"/>
              <a:gd name="T48" fmla="*/ 16 w 312"/>
              <a:gd name="T49" fmla="*/ 200 h 298"/>
              <a:gd name="T50" fmla="*/ 12 w 312"/>
              <a:gd name="T51" fmla="*/ 173 h 298"/>
              <a:gd name="T52" fmla="*/ 12 w 312"/>
              <a:gd name="T53" fmla="*/ 47 h 298"/>
              <a:gd name="T54" fmla="*/ 23 w 312"/>
              <a:gd name="T55" fmla="*/ 22 h 298"/>
              <a:gd name="T56" fmla="*/ 52 w 312"/>
              <a:gd name="T57" fmla="*/ 12 h 298"/>
              <a:gd name="T58" fmla="*/ 260 w 312"/>
              <a:gd name="T59" fmla="*/ 12 h 298"/>
              <a:gd name="T60" fmla="*/ 260 w 312"/>
              <a:gd name="T61" fmla="*/ 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2" h="298">
                <a:moveTo>
                  <a:pt x="260" y="6"/>
                </a:moveTo>
                <a:cubicBezTo>
                  <a:pt x="260" y="0"/>
                  <a:pt x="260" y="0"/>
                  <a:pt x="260" y="0"/>
                </a:cubicBezTo>
                <a:cubicBezTo>
                  <a:pt x="52" y="0"/>
                  <a:pt x="52" y="0"/>
                  <a:pt x="52" y="0"/>
                </a:cubicBezTo>
                <a:cubicBezTo>
                  <a:pt x="38" y="0"/>
                  <a:pt x="25" y="5"/>
                  <a:pt x="15" y="13"/>
                </a:cubicBezTo>
                <a:cubicBezTo>
                  <a:pt x="6" y="22"/>
                  <a:pt x="0" y="34"/>
                  <a:pt x="0" y="47"/>
                </a:cubicBezTo>
                <a:cubicBezTo>
                  <a:pt x="0" y="173"/>
                  <a:pt x="0" y="173"/>
                  <a:pt x="0" y="173"/>
                </a:cubicBezTo>
                <a:cubicBezTo>
                  <a:pt x="0" y="183"/>
                  <a:pt x="1" y="194"/>
                  <a:pt x="5" y="204"/>
                </a:cubicBezTo>
                <a:cubicBezTo>
                  <a:pt x="13" y="231"/>
                  <a:pt x="33" y="255"/>
                  <a:pt x="60" y="272"/>
                </a:cubicBezTo>
                <a:cubicBezTo>
                  <a:pt x="86" y="288"/>
                  <a:pt x="120" y="298"/>
                  <a:pt x="156" y="298"/>
                </a:cubicBezTo>
                <a:cubicBezTo>
                  <a:pt x="192" y="298"/>
                  <a:pt x="225" y="288"/>
                  <a:pt x="252" y="272"/>
                </a:cubicBezTo>
                <a:cubicBezTo>
                  <a:pt x="279" y="255"/>
                  <a:pt x="298" y="231"/>
                  <a:pt x="307" y="204"/>
                </a:cubicBezTo>
                <a:cubicBezTo>
                  <a:pt x="310" y="194"/>
                  <a:pt x="312" y="183"/>
                  <a:pt x="312" y="173"/>
                </a:cubicBezTo>
                <a:cubicBezTo>
                  <a:pt x="312" y="47"/>
                  <a:pt x="312" y="47"/>
                  <a:pt x="312" y="47"/>
                </a:cubicBezTo>
                <a:cubicBezTo>
                  <a:pt x="312" y="34"/>
                  <a:pt x="306" y="22"/>
                  <a:pt x="296" y="13"/>
                </a:cubicBezTo>
                <a:cubicBezTo>
                  <a:pt x="287" y="5"/>
                  <a:pt x="274" y="0"/>
                  <a:pt x="260" y="0"/>
                </a:cubicBezTo>
                <a:cubicBezTo>
                  <a:pt x="260" y="6"/>
                  <a:pt x="260" y="6"/>
                  <a:pt x="260" y="6"/>
                </a:cubicBezTo>
                <a:cubicBezTo>
                  <a:pt x="260" y="12"/>
                  <a:pt x="260" y="12"/>
                  <a:pt x="260" y="12"/>
                </a:cubicBezTo>
                <a:cubicBezTo>
                  <a:pt x="271" y="12"/>
                  <a:pt x="281" y="16"/>
                  <a:pt x="288" y="22"/>
                </a:cubicBezTo>
                <a:cubicBezTo>
                  <a:pt x="296" y="29"/>
                  <a:pt x="300" y="38"/>
                  <a:pt x="300" y="47"/>
                </a:cubicBezTo>
                <a:cubicBezTo>
                  <a:pt x="300" y="173"/>
                  <a:pt x="300" y="173"/>
                  <a:pt x="300" y="173"/>
                </a:cubicBezTo>
                <a:cubicBezTo>
                  <a:pt x="300" y="182"/>
                  <a:pt x="299" y="191"/>
                  <a:pt x="296" y="200"/>
                </a:cubicBezTo>
                <a:cubicBezTo>
                  <a:pt x="288" y="225"/>
                  <a:pt x="270" y="246"/>
                  <a:pt x="246" y="261"/>
                </a:cubicBezTo>
                <a:cubicBezTo>
                  <a:pt x="221" y="277"/>
                  <a:pt x="190" y="286"/>
                  <a:pt x="156" y="286"/>
                </a:cubicBezTo>
                <a:cubicBezTo>
                  <a:pt x="122" y="286"/>
                  <a:pt x="91" y="277"/>
                  <a:pt x="66" y="261"/>
                </a:cubicBezTo>
                <a:cubicBezTo>
                  <a:pt x="42" y="246"/>
                  <a:pt x="24" y="225"/>
                  <a:pt x="16" y="200"/>
                </a:cubicBezTo>
                <a:cubicBezTo>
                  <a:pt x="13" y="191"/>
                  <a:pt x="12" y="182"/>
                  <a:pt x="12" y="173"/>
                </a:cubicBezTo>
                <a:cubicBezTo>
                  <a:pt x="12" y="47"/>
                  <a:pt x="12" y="47"/>
                  <a:pt x="12" y="47"/>
                </a:cubicBezTo>
                <a:cubicBezTo>
                  <a:pt x="12" y="38"/>
                  <a:pt x="16" y="29"/>
                  <a:pt x="23" y="22"/>
                </a:cubicBezTo>
                <a:cubicBezTo>
                  <a:pt x="31" y="16"/>
                  <a:pt x="41" y="12"/>
                  <a:pt x="52" y="12"/>
                </a:cubicBezTo>
                <a:cubicBezTo>
                  <a:pt x="260" y="12"/>
                  <a:pt x="260" y="12"/>
                  <a:pt x="260" y="12"/>
                </a:cubicBezTo>
                <a:lnTo>
                  <a:pt x="260" y="6"/>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245">
            <a:extLst>
              <a:ext uri="{FF2B5EF4-FFF2-40B4-BE49-F238E27FC236}">
                <a16:creationId xmlns:a16="http://schemas.microsoft.com/office/drawing/2014/main" id="{7AD25499-9564-4CAE-A5DC-393A20B598FE}"/>
              </a:ext>
            </a:extLst>
          </p:cNvPr>
          <p:cNvSpPr>
            <a:spLocks/>
          </p:cNvSpPr>
          <p:nvPr/>
        </p:nvSpPr>
        <p:spPr bwMode="auto">
          <a:xfrm>
            <a:off x="7722831" y="5179311"/>
            <a:ext cx="355298" cy="175119"/>
          </a:xfrm>
          <a:custGeom>
            <a:avLst/>
            <a:gdLst>
              <a:gd name="T0" fmla="*/ 148 w 148"/>
              <a:gd name="T1" fmla="*/ 73 h 73"/>
              <a:gd name="T2" fmla="*/ 148 w 148"/>
              <a:gd name="T3" fmla="*/ 73 h 73"/>
              <a:gd name="T4" fmla="*/ 74 w 148"/>
              <a:gd name="T5" fmla="*/ 0 h 73"/>
              <a:gd name="T6" fmla="*/ 0 w 148"/>
              <a:gd name="T7" fmla="*/ 73 h 73"/>
              <a:gd name="T8" fmla="*/ 0 w 148"/>
              <a:gd name="T9" fmla="*/ 73 h 73"/>
              <a:gd name="T10" fmla="*/ 148 w 148"/>
              <a:gd name="T11" fmla="*/ 73 h 73"/>
            </a:gdLst>
            <a:ahLst/>
            <a:cxnLst>
              <a:cxn ang="0">
                <a:pos x="T0" y="T1"/>
              </a:cxn>
              <a:cxn ang="0">
                <a:pos x="T2" y="T3"/>
              </a:cxn>
              <a:cxn ang="0">
                <a:pos x="T4" y="T5"/>
              </a:cxn>
              <a:cxn ang="0">
                <a:pos x="T6" y="T7"/>
              </a:cxn>
              <a:cxn ang="0">
                <a:pos x="T8" y="T9"/>
              </a:cxn>
              <a:cxn ang="0">
                <a:pos x="T10" y="T11"/>
              </a:cxn>
            </a:cxnLst>
            <a:rect l="0" t="0" r="r" b="b"/>
            <a:pathLst>
              <a:path w="148" h="73">
                <a:moveTo>
                  <a:pt x="148" y="73"/>
                </a:moveTo>
                <a:cubicBezTo>
                  <a:pt x="148" y="73"/>
                  <a:pt x="148" y="73"/>
                  <a:pt x="148" y="73"/>
                </a:cubicBezTo>
                <a:cubicBezTo>
                  <a:pt x="148" y="33"/>
                  <a:pt x="115" y="0"/>
                  <a:pt x="74" y="0"/>
                </a:cubicBezTo>
                <a:cubicBezTo>
                  <a:pt x="33" y="0"/>
                  <a:pt x="0" y="33"/>
                  <a:pt x="0" y="73"/>
                </a:cubicBezTo>
                <a:cubicBezTo>
                  <a:pt x="0" y="73"/>
                  <a:pt x="0" y="73"/>
                  <a:pt x="0" y="73"/>
                </a:cubicBezTo>
                <a:lnTo>
                  <a:pt x="148" y="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246">
            <a:extLst>
              <a:ext uri="{FF2B5EF4-FFF2-40B4-BE49-F238E27FC236}">
                <a16:creationId xmlns:a16="http://schemas.microsoft.com/office/drawing/2014/main" id="{B869EE5C-D2B4-418E-9525-518338CF2866}"/>
              </a:ext>
            </a:extLst>
          </p:cNvPr>
          <p:cNvSpPr>
            <a:spLocks/>
          </p:cNvSpPr>
          <p:nvPr/>
        </p:nvSpPr>
        <p:spPr bwMode="auto">
          <a:xfrm>
            <a:off x="7708660" y="5165140"/>
            <a:ext cx="384653" cy="203461"/>
          </a:xfrm>
          <a:custGeom>
            <a:avLst/>
            <a:gdLst>
              <a:gd name="T0" fmla="*/ 154 w 160"/>
              <a:gd name="T1" fmla="*/ 79 h 85"/>
              <a:gd name="T2" fmla="*/ 160 w 160"/>
              <a:gd name="T3" fmla="*/ 80 h 85"/>
              <a:gd name="T4" fmla="*/ 160 w 160"/>
              <a:gd name="T5" fmla="*/ 79 h 85"/>
              <a:gd name="T6" fmla="*/ 160 w 160"/>
              <a:gd name="T7" fmla="*/ 79 h 85"/>
              <a:gd name="T8" fmla="*/ 160 w 160"/>
              <a:gd name="T9" fmla="*/ 79 h 85"/>
              <a:gd name="T10" fmla="*/ 80 w 160"/>
              <a:gd name="T11" fmla="*/ 0 h 85"/>
              <a:gd name="T12" fmla="*/ 0 w 160"/>
              <a:gd name="T13" fmla="*/ 79 h 85"/>
              <a:gd name="T14" fmla="*/ 0 w 160"/>
              <a:gd name="T15" fmla="*/ 79 h 85"/>
              <a:gd name="T16" fmla="*/ 0 w 160"/>
              <a:gd name="T17" fmla="*/ 80 h 85"/>
              <a:gd name="T18" fmla="*/ 0 w 160"/>
              <a:gd name="T19" fmla="*/ 85 h 85"/>
              <a:gd name="T20" fmla="*/ 159 w 160"/>
              <a:gd name="T21" fmla="*/ 85 h 85"/>
              <a:gd name="T22" fmla="*/ 160 w 160"/>
              <a:gd name="T23" fmla="*/ 80 h 85"/>
              <a:gd name="T24" fmla="*/ 154 w 160"/>
              <a:gd name="T25" fmla="*/ 79 h 85"/>
              <a:gd name="T26" fmla="*/ 154 w 160"/>
              <a:gd name="T27" fmla="*/ 73 h 85"/>
              <a:gd name="T28" fmla="*/ 6 w 160"/>
              <a:gd name="T29" fmla="*/ 73 h 85"/>
              <a:gd name="T30" fmla="*/ 6 w 160"/>
              <a:gd name="T31" fmla="*/ 79 h 85"/>
              <a:gd name="T32" fmla="*/ 12 w 160"/>
              <a:gd name="T33" fmla="*/ 79 h 85"/>
              <a:gd name="T34" fmla="*/ 12 w 160"/>
              <a:gd name="T35" fmla="*/ 79 h 85"/>
              <a:gd name="T36" fmla="*/ 6 w 160"/>
              <a:gd name="T37" fmla="*/ 79 h 85"/>
              <a:gd name="T38" fmla="*/ 12 w 160"/>
              <a:gd name="T39" fmla="*/ 79 h 85"/>
              <a:gd name="T40" fmla="*/ 32 w 160"/>
              <a:gd name="T41" fmla="*/ 31 h 85"/>
              <a:gd name="T42" fmla="*/ 80 w 160"/>
              <a:gd name="T43" fmla="*/ 12 h 85"/>
              <a:gd name="T44" fmla="*/ 128 w 160"/>
              <a:gd name="T45" fmla="*/ 31 h 85"/>
              <a:gd name="T46" fmla="*/ 148 w 160"/>
              <a:gd name="T47" fmla="*/ 79 h 85"/>
              <a:gd name="T48" fmla="*/ 154 w 160"/>
              <a:gd name="T49" fmla="*/ 79 h 85"/>
              <a:gd name="T50" fmla="*/ 148 w 160"/>
              <a:gd name="T51" fmla="*/ 79 h 85"/>
              <a:gd name="T52" fmla="*/ 148 w 160"/>
              <a:gd name="T53" fmla="*/ 79 h 85"/>
              <a:gd name="T54" fmla="*/ 154 w 160"/>
              <a:gd name="T55" fmla="*/ 79 h 85"/>
              <a:gd name="T56" fmla="*/ 154 w 160"/>
              <a:gd name="T57" fmla="*/ 73 h 85"/>
              <a:gd name="T58" fmla="*/ 154 w 160"/>
              <a:gd name="T59"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0" h="85">
                <a:moveTo>
                  <a:pt x="154" y="79"/>
                </a:moveTo>
                <a:cubicBezTo>
                  <a:pt x="160" y="80"/>
                  <a:pt x="160" y="80"/>
                  <a:pt x="160" y="80"/>
                </a:cubicBezTo>
                <a:cubicBezTo>
                  <a:pt x="160" y="79"/>
                  <a:pt x="160" y="79"/>
                  <a:pt x="160" y="79"/>
                </a:cubicBezTo>
                <a:cubicBezTo>
                  <a:pt x="160" y="79"/>
                  <a:pt x="160" y="79"/>
                  <a:pt x="160" y="79"/>
                </a:cubicBezTo>
                <a:cubicBezTo>
                  <a:pt x="160" y="79"/>
                  <a:pt x="160" y="79"/>
                  <a:pt x="160" y="79"/>
                </a:cubicBezTo>
                <a:cubicBezTo>
                  <a:pt x="160" y="35"/>
                  <a:pt x="124" y="0"/>
                  <a:pt x="80" y="0"/>
                </a:cubicBezTo>
                <a:cubicBezTo>
                  <a:pt x="36" y="0"/>
                  <a:pt x="0" y="35"/>
                  <a:pt x="0" y="79"/>
                </a:cubicBezTo>
                <a:cubicBezTo>
                  <a:pt x="0" y="79"/>
                  <a:pt x="0" y="79"/>
                  <a:pt x="0" y="79"/>
                </a:cubicBezTo>
                <a:cubicBezTo>
                  <a:pt x="0" y="80"/>
                  <a:pt x="0" y="80"/>
                  <a:pt x="0" y="80"/>
                </a:cubicBezTo>
                <a:cubicBezTo>
                  <a:pt x="0" y="85"/>
                  <a:pt x="0" y="85"/>
                  <a:pt x="0" y="85"/>
                </a:cubicBezTo>
                <a:cubicBezTo>
                  <a:pt x="159" y="85"/>
                  <a:pt x="159" y="85"/>
                  <a:pt x="159" y="85"/>
                </a:cubicBezTo>
                <a:cubicBezTo>
                  <a:pt x="160" y="80"/>
                  <a:pt x="160" y="80"/>
                  <a:pt x="160" y="80"/>
                </a:cubicBezTo>
                <a:cubicBezTo>
                  <a:pt x="154" y="79"/>
                  <a:pt x="154" y="79"/>
                  <a:pt x="154" y="79"/>
                </a:cubicBezTo>
                <a:cubicBezTo>
                  <a:pt x="154" y="73"/>
                  <a:pt x="154" y="73"/>
                  <a:pt x="154" y="73"/>
                </a:cubicBezTo>
                <a:cubicBezTo>
                  <a:pt x="6" y="73"/>
                  <a:pt x="6" y="73"/>
                  <a:pt x="6" y="73"/>
                </a:cubicBezTo>
                <a:cubicBezTo>
                  <a:pt x="6" y="79"/>
                  <a:pt x="6" y="79"/>
                  <a:pt x="6" y="79"/>
                </a:cubicBezTo>
                <a:cubicBezTo>
                  <a:pt x="12" y="79"/>
                  <a:pt x="12" y="79"/>
                  <a:pt x="12" y="79"/>
                </a:cubicBezTo>
                <a:cubicBezTo>
                  <a:pt x="12" y="79"/>
                  <a:pt x="12" y="79"/>
                  <a:pt x="12" y="79"/>
                </a:cubicBezTo>
                <a:cubicBezTo>
                  <a:pt x="6" y="79"/>
                  <a:pt x="6" y="79"/>
                  <a:pt x="6" y="79"/>
                </a:cubicBezTo>
                <a:cubicBezTo>
                  <a:pt x="12" y="79"/>
                  <a:pt x="12" y="79"/>
                  <a:pt x="12" y="79"/>
                </a:cubicBezTo>
                <a:cubicBezTo>
                  <a:pt x="12" y="61"/>
                  <a:pt x="20" y="44"/>
                  <a:pt x="32" y="31"/>
                </a:cubicBezTo>
                <a:cubicBezTo>
                  <a:pt x="44" y="19"/>
                  <a:pt x="61" y="12"/>
                  <a:pt x="80" y="12"/>
                </a:cubicBezTo>
                <a:cubicBezTo>
                  <a:pt x="99" y="12"/>
                  <a:pt x="115" y="19"/>
                  <a:pt x="128" y="31"/>
                </a:cubicBezTo>
                <a:cubicBezTo>
                  <a:pt x="140" y="44"/>
                  <a:pt x="148" y="61"/>
                  <a:pt x="148" y="79"/>
                </a:cubicBezTo>
                <a:cubicBezTo>
                  <a:pt x="154" y="79"/>
                  <a:pt x="154" y="79"/>
                  <a:pt x="154" y="79"/>
                </a:cubicBezTo>
                <a:cubicBezTo>
                  <a:pt x="148" y="79"/>
                  <a:pt x="148" y="79"/>
                  <a:pt x="148" y="79"/>
                </a:cubicBezTo>
                <a:cubicBezTo>
                  <a:pt x="148" y="79"/>
                  <a:pt x="148" y="79"/>
                  <a:pt x="148" y="79"/>
                </a:cubicBezTo>
                <a:cubicBezTo>
                  <a:pt x="154" y="79"/>
                  <a:pt x="154" y="79"/>
                  <a:pt x="154" y="79"/>
                </a:cubicBezTo>
                <a:cubicBezTo>
                  <a:pt x="154" y="73"/>
                  <a:pt x="154" y="73"/>
                  <a:pt x="154" y="73"/>
                </a:cubicBezTo>
                <a:lnTo>
                  <a:pt x="154" y="7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62" name="Oval 247">
            <a:extLst>
              <a:ext uri="{FF2B5EF4-FFF2-40B4-BE49-F238E27FC236}">
                <a16:creationId xmlns:a16="http://schemas.microsoft.com/office/drawing/2014/main" id="{136B4224-349B-4320-BD24-96A1FF9D0AFD}"/>
              </a:ext>
            </a:extLst>
          </p:cNvPr>
          <p:cNvSpPr>
            <a:spLocks noChangeArrowheads="1"/>
          </p:cNvSpPr>
          <p:nvPr/>
        </p:nvSpPr>
        <p:spPr bwMode="auto">
          <a:xfrm>
            <a:off x="7785590" y="5525499"/>
            <a:ext cx="227755" cy="2277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248">
            <a:extLst>
              <a:ext uri="{FF2B5EF4-FFF2-40B4-BE49-F238E27FC236}">
                <a16:creationId xmlns:a16="http://schemas.microsoft.com/office/drawing/2014/main" id="{EC651304-B4C4-4B7D-8BAB-C054FFE32BC7}"/>
              </a:ext>
            </a:extLst>
          </p:cNvPr>
          <p:cNvSpPr>
            <a:spLocks/>
          </p:cNvSpPr>
          <p:nvPr/>
        </p:nvSpPr>
        <p:spPr bwMode="auto">
          <a:xfrm>
            <a:off x="7771419" y="5510316"/>
            <a:ext cx="257110" cy="257110"/>
          </a:xfrm>
          <a:custGeom>
            <a:avLst/>
            <a:gdLst>
              <a:gd name="T0" fmla="*/ 101 w 107"/>
              <a:gd name="T1" fmla="*/ 53 h 107"/>
              <a:gd name="T2" fmla="*/ 95 w 107"/>
              <a:gd name="T3" fmla="*/ 53 h 107"/>
              <a:gd name="T4" fmla="*/ 83 w 107"/>
              <a:gd name="T5" fmla="*/ 82 h 107"/>
              <a:gd name="T6" fmla="*/ 54 w 107"/>
              <a:gd name="T7" fmla="*/ 95 h 107"/>
              <a:gd name="T8" fmla="*/ 25 w 107"/>
              <a:gd name="T9" fmla="*/ 82 h 107"/>
              <a:gd name="T10" fmla="*/ 12 w 107"/>
              <a:gd name="T11" fmla="*/ 53 h 107"/>
              <a:gd name="T12" fmla="*/ 25 w 107"/>
              <a:gd name="T13" fmla="*/ 24 h 107"/>
              <a:gd name="T14" fmla="*/ 54 w 107"/>
              <a:gd name="T15" fmla="*/ 12 h 107"/>
              <a:gd name="T16" fmla="*/ 83 w 107"/>
              <a:gd name="T17" fmla="*/ 24 h 107"/>
              <a:gd name="T18" fmla="*/ 95 w 107"/>
              <a:gd name="T19" fmla="*/ 53 h 107"/>
              <a:gd name="T20" fmla="*/ 101 w 107"/>
              <a:gd name="T21" fmla="*/ 53 h 107"/>
              <a:gd name="T22" fmla="*/ 107 w 107"/>
              <a:gd name="T23" fmla="*/ 53 h 107"/>
              <a:gd name="T24" fmla="*/ 54 w 107"/>
              <a:gd name="T25" fmla="*/ 0 h 107"/>
              <a:gd name="T26" fmla="*/ 0 w 107"/>
              <a:gd name="T27" fmla="*/ 53 h 107"/>
              <a:gd name="T28" fmla="*/ 54 w 107"/>
              <a:gd name="T29" fmla="*/ 107 h 107"/>
              <a:gd name="T30" fmla="*/ 107 w 107"/>
              <a:gd name="T31" fmla="*/ 53 h 107"/>
              <a:gd name="T32" fmla="*/ 101 w 107"/>
              <a:gd name="T33"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07">
                <a:moveTo>
                  <a:pt x="101" y="53"/>
                </a:moveTo>
                <a:cubicBezTo>
                  <a:pt x="95" y="53"/>
                  <a:pt x="95" y="53"/>
                  <a:pt x="95" y="53"/>
                </a:cubicBezTo>
                <a:cubicBezTo>
                  <a:pt x="95" y="65"/>
                  <a:pt x="91" y="75"/>
                  <a:pt x="83" y="82"/>
                </a:cubicBezTo>
                <a:cubicBezTo>
                  <a:pt x="76" y="90"/>
                  <a:pt x="65" y="95"/>
                  <a:pt x="54" y="95"/>
                </a:cubicBezTo>
                <a:cubicBezTo>
                  <a:pt x="42" y="95"/>
                  <a:pt x="32" y="90"/>
                  <a:pt x="25" y="82"/>
                </a:cubicBezTo>
                <a:cubicBezTo>
                  <a:pt x="17" y="75"/>
                  <a:pt x="12" y="65"/>
                  <a:pt x="12" y="53"/>
                </a:cubicBezTo>
                <a:cubicBezTo>
                  <a:pt x="12" y="42"/>
                  <a:pt x="17" y="31"/>
                  <a:pt x="25" y="24"/>
                </a:cubicBezTo>
                <a:cubicBezTo>
                  <a:pt x="32" y="16"/>
                  <a:pt x="42" y="12"/>
                  <a:pt x="54" y="12"/>
                </a:cubicBezTo>
                <a:cubicBezTo>
                  <a:pt x="65" y="12"/>
                  <a:pt x="76" y="16"/>
                  <a:pt x="83" y="24"/>
                </a:cubicBezTo>
                <a:cubicBezTo>
                  <a:pt x="91" y="31"/>
                  <a:pt x="95" y="42"/>
                  <a:pt x="95" y="53"/>
                </a:cubicBezTo>
                <a:cubicBezTo>
                  <a:pt x="101" y="53"/>
                  <a:pt x="101" y="53"/>
                  <a:pt x="101" y="53"/>
                </a:cubicBezTo>
                <a:cubicBezTo>
                  <a:pt x="107" y="53"/>
                  <a:pt x="107" y="53"/>
                  <a:pt x="107" y="53"/>
                </a:cubicBezTo>
                <a:cubicBezTo>
                  <a:pt x="107" y="23"/>
                  <a:pt x="83" y="0"/>
                  <a:pt x="54" y="0"/>
                </a:cubicBezTo>
                <a:cubicBezTo>
                  <a:pt x="24" y="0"/>
                  <a:pt x="0" y="23"/>
                  <a:pt x="0" y="53"/>
                </a:cubicBezTo>
                <a:cubicBezTo>
                  <a:pt x="0" y="83"/>
                  <a:pt x="24" y="107"/>
                  <a:pt x="54" y="107"/>
                </a:cubicBezTo>
                <a:cubicBezTo>
                  <a:pt x="83" y="107"/>
                  <a:pt x="107" y="83"/>
                  <a:pt x="107" y="53"/>
                </a:cubicBezTo>
                <a:lnTo>
                  <a:pt x="101" y="53"/>
                </a:lnTo>
                <a:close/>
              </a:path>
            </a:pathLst>
          </a:custGeom>
          <a:solidFill>
            <a:srgbClr val="7BB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249">
            <a:extLst>
              <a:ext uri="{FF2B5EF4-FFF2-40B4-BE49-F238E27FC236}">
                <a16:creationId xmlns:a16="http://schemas.microsoft.com/office/drawing/2014/main" id="{20AF748B-33E0-43FB-B42D-A156DF5D58E8}"/>
              </a:ext>
            </a:extLst>
          </p:cNvPr>
          <p:cNvSpPr>
            <a:spLocks/>
          </p:cNvSpPr>
          <p:nvPr/>
        </p:nvSpPr>
        <p:spPr bwMode="auto">
          <a:xfrm>
            <a:off x="7900986" y="5753255"/>
            <a:ext cx="0" cy="132604"/>
          </a:xfrm>
          <a:custGeom>
            <a:avLst/>
            <a:gdLst>
              <a:gd name="T0" fmla="*/ 0 h 131"/>
              <a:gd name="T1" fmla="*/ 131 h 131"/>
              <a:gd name="T2" fmla="*/ 0 h 131"/>
            </a:gdLst>
            <a:ahLst/>
            <a:cxnLst>
              <a:cxn ang="0">
                <a:pos x="0" y="T0"/>
              </a:cxn>
              <a:cxn ang="0">
                <a:pos x="0" y="T1"/>
              </a:cxn>
              <a:cxn ang="0">
                <a:pos x="0" y="T2"/>
              </a:cxn>
            </a:cxnLst>
            <a:rect l="0" t="0" r="r" b="b"/>
            <a:pathLst>
              <a:path h="131">
                <a:moveTo>
                  <a:pt x="0" y="0"/>
                </a:moveTo>
                <a:lnTo>
                  <a:pt x="0" y="131"/>
                </a:lnTo>
                <a:lnTo>
                  <a:pt x="0"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Line 250">
            <a:extLst>
              <a:ext uri="{FF2B5EF4-FFF2-40B4-BE49-F238E27FC236}">
                <a16:creationId xmlns:a16="http://schemas.microsoft.com/office/drawing/2014/main" id="{81674994-11AC-4B15-B487-DFE4D0ED31F8}"/>
              </a:ext>
            </a:extLst>
          </p:cNvPr>
          <p:cNvSpPr>
            <a:spLocks noChangeShapeType="1"/>
          </p:cNvSpPr>
          <p:nvPr/>
        </p:nvSpPr>
        <p:spPr bwMode="auto">
          <a:xfrm>
            <a:off x="7900986" y="5753255"/>
            <a:ext cx="0" cy="13260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6" name="Freeform 251">
            <a:extLst>
              <a:ext uri="{FF2B5EF4-FFF2-40B4-BE49-F238E27FC236}">
                <a16:creationId xmlns:a16="http://schemas.microsoft.com/office/drawing/2014/main" id="{A638AE69-BE11-4A28-83E8-BFBAD51B03C7}"/>
              </a:ext>
            </a:extLst>
          </p:cNvPr>
          <p:cNvSpPr>
            <a:spLocks/>
          </p:cNvSpPr>
          <p:nvPr/>
        </p:nvSpPr>
        <p:spPr bwMode="auto">
          <a:xfrm>
            <a:off x="7886815" y="5739083"/>
            <a:ext cx="28343" cy="160947"/>
          </a:xfrm>
          <a:custGeom>
            <a:avLst/>
            <a:gdLst>
              <a:gd name="T0" fmla="*/ 0 w 12"/>
              <a:gd name="T1" fmla="*/ 6 h 67"/>
              <a:gd name="T2" fmla="*/ 0 w 12"/>
              <a:gd name="T3" fmla="*/ 61 h 67"/>
              <a:gd name="T4" fmla="*/ 6 w 12"/>
              <a:gd name="T5" fmla="*/ 67 h 67"/>
              <a:gd name="T6" fmla="*/ 12 w 12"/>
              <a:gd name="T7" fmla="*/ 61 h 67"/>
              <a:gd name="T8" fmla="*/ 12 w 12"/>
              <a:gd name="T9" fmla="*/ 6 h 67"/>
              <a:gd name="T10" fmla="*/ 6 w 12"/>
              <a:gd name="T11" fmla="*/ 0 h 67"/>
              <a:gd name="T12" fmla="*/ 0 w 12"/>
              <a:gd name="T13" fmla="*/ 6 h 67"/>
            </a:gdLst>
            <a:ahLst/>
            <a:cxnLst>
              <a:cxn ang="0">
                <a:pos x="T0" y="T1"/>
              </a:cxn>
              <a:cxn ang="0">
                <a:pos x="T2" y="T3"/>
              </a:cxn>
              <a:cxn ang="0">
                <a:pos x="T4" y="T5"/>
              </a:cxn>
              <a:cxn ang="0">
                <a:pos x="T6" y="T7"/>
              </a:cxn>
              <a:cxn ang="0">
                <a:pos x="T8" y="T9"/>
              </a:cxn>
              <a:cxn ang="0">
                <a:pos x="T10" y="T11"/>
              </a:cxn>
              <a:cxn ang="0">
                <a:pos x="T12" y="T13"/>
              </a:cxn>
            </a:cxnLst>
            <a:rect l="0" t="0" r="r" b="b"/>
            <a:pathLst>
              <a:path w="12" h="67">
                <a:moveTo>
                  <a:pt x="0" y="6"/>
                </a:moveTo>
                <a:cubicBezTo>
                  <a:pt x="0" y="61"/>
                  <a:pt x="0" y="61"/>
                  <a:pt x="0" y="61"/>
                </a:cubicBezTo>
                <a:cubicBezTo>
                  <a:pt x="0" y="64"/>
                  <a:pt x="3" y="67"/>
                  <a:pt x="6" y="67"/>
                </a:cubicBezTo>
                <a:cubicBezTo>
                  <a:pt x="9" y="67"/>
                  <a:pt x="12" y="64"/>
                  <a:pt x="12" y="61"/>
                </a:cubicBezTo>
                <a:cubicBezTo>
                  <a:pt x="12" y="6"/>
                  <a:pt x="12" y="6"/>
                  <a:pt x="12" y="6"/>
                </a:cubicBezTo>
                <a:cubicBezTo>
                  <a:pt x="12" y="2"/>
                  <a:pt x="9" y="0"/>
                  <a:pt x="6" y="0"/>
                </a:cubicBezTo>
                <a:cubicBezTo>
                  <a:pt x="3" y="0"/>
                  <a:pt x="0" y="2"/>
                  <a:pt x="0" y="6"/>
                </a:cubicBezTo>
              </a:path>
            </a:pathLst>
          </a:custGeom>
          <a:solidFill>
            <a:srgbClr val="7BB62D"/>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252">
            <a:extLst>
              <a:ext uri="{FF2B5EF4-FFF2-40B4-BE49-F238E27FC236}">
                <a16:creationId xmlns:a16="http://schemas.microsoft.com/office/drawing/2014/main" id="{F9DB8C54-75B5-4114-B839-25756B929B12}"/>
              </a:ext>
            </a:extLst>
          </p:cNvPr>
          <p:cNvSpPr>
            <a:spLocks/>
          </p:cNvSpPr>
          <p:nvPr/>
        </p:nvSpPr>
        <p:spPr bwMode="auto">
          <a:xfrm>
            <a:off x="5434143" y="5828161"/>
            <a:ext cx="862434" cy="352262"/>
          </a:xfrm>
          <a:custGeom>
            <a:avLst/>
            <a:gdLst>
              <a:gd name="T0" fmla="*/ 0 w 852"/>
              <a:gd name="T1" fmla="*/ 0 h 348"/>
              <a:gd name="T2" fmla="*/ 0 w 852"/>
              <a:gd name="T3" fmla="*/ 348 h 348"/>
              <a:gd name="T4" fmla="*/ 852 w 852"/>
              <a:gd name="T5" fmla="*/ 348 h 348"/>
              <a:gd name="T6" fmla="*/ 852 w 852"/>
              <a:gd name="T7" fmla="*/ 329 h 348"/>
              <a:gd name="T8" fmla="*/ 19 w 852"/>
              <a:gd name="T9" fmla="*/ 329 h 348"/>
              <a:gd name="T10" fmla="*/ 19 w 852"/>
              <a:gd name="T11" fmla="*/ 0 h 348"/>
              <a:gd name="T12" fmla="*/ 0 w 852"/>
              <a:gd name="T13" fmla="*/ 0 h 348"/>
              <a:gd name="T14" fmla="*/ 0 w 852"/>
              <a:gd name="T15" fmla="*/ 0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2" h="348">
                <a:moveTo>
                  <a:pt x="0" y="0"/>
                </a:moveTo>
                <a:lnTo>
                  <a:pt x="0" y="348"/>
                </a:lnTo>
                <a:lnTo>
                  <a:pt x="852" y="348"/>
                </a:lnTo>
                <a:lnTo>
                  <a:pt x="852" y="329"/>
                </a:lnTo>
                <a:lnTo>
                  <a:pt x="19" y="329"/>
                </a:lnTo>
                <a:lnTo>
                  <a:pt x="19" y="0"/>
                </a:lnTo>
                <a:lnTo>
                  <a:pt x="0" y="0"/>
                </a:lnTo>
                <a:lnTo>
                  <a:pt x="0" y="0"/>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253">
            <a:extLst>
              <a:ext uri="{FF2B5EF4-FFF2-40B4-BE49-F238E27FC236}">
                <a16:creationId xmlns:a16="http://schemas.microsoft.com/office/drawing/2014/main" id="{06FDE449-E140-493C-A1A2-CCBB62037090}"/>
              </a:ext>
            </a:extLst>
          </p:cNvPr>
          <p:cNvSpPr>
            <a:spLocks noEditPoints="1"/>
          </p:cNvSpPr>
          <p:nvPr/>
        </p:nvSpPr>
        <p:spPr bwMode="auto">
          <a:xfrm>
            <a:off x="4680020" y="5639883"/>
            <a:ext cx="1330091" cy="505111"/>
          </a:xfrm>
          <a:custGeom>
            <a:avLst/>
            <a:gdLst>
              <a:gd name="T0" fmla="*/ 550 w 554"/>
              <a:gd name="T1" fmla="*/ 0 h 210"/>
              <a:gd name="T2" fmla="*/ 522 w 554"/>
              <a:gd name="T3" fmla="*/ 8 h 210"/>
              <a:gd name="T4" fmla="*/ 522 w 554"/>
              <a:gd name="T5" fmla="*/ 0 h 210"/>
              <a:gd name="T6" fmla="*/ 502 w 554"/>
              <a:gd name="T7" fmla="*/ 8 h 210"/>
              <a:gd name="T8" fmla="*/ 494 w 554"/>
              <a:gd name="T9" fmla="*/ 4 h 210"/>
              <a:gd name="T10" fmla="*/ 482 w 554"/>
              <a:gd name="T11" fmla="*/ 4 h 210"/>
              <a:gd name="T12" fmla="*/ 474 w 554"/>
              <a:gd name="T13" fmla="*/ 8 h 210"/>
              <a:gd name="T14" fmla="*/ 454 w 554"/>
              <a:gd name="T15" fmla="*/ 0 h 210"/>
              <a:gd name="T16" fmla="*/ 426 w 554"/>
              <a:gd name="T17" fmla="*/ 8 h 210"/>
              <a:gd name="T18" fmla="*/ 426 w 554"/>
              <a:gd name="T19" fmla="*/ 0 h 210"/>
              <a:gd name="T20" fmla="*/ 406 w 554"/>
              <a:gd name="T21" fmla="*/ 8 h 210"/>
              <a:gd name="T22" fmla="*/ 398 w 554"/>
              <a:gd name="T23" fmla="*/ 4 h 210"/>
              <a:gd name="T24" fmla="*/ 386 w 554"/>
              <a:gd name="T25" fmla="*/ 4 h 210"/>
              <a:gd name="T26" fmla="*/ 378 w 554"/>
              <a:gd name="T27" fmla="*/ 8 h 210"/>
              <a:gd name="T28" fmla="*/ 358 w 554"/>
              <a:gd name="T29" fmla="*/ 0 h 210"/>
              <a:gd name="T30" fmla="*/ 330 w 554"/>
              <a:gd name="T31" fmla="*/ 8 h 210"/>
              <a:gd name="T32" fmla="*/ 330 w 554"/>
              <a:gd name="T33" fmla="*/ 0 h 210"/>
              <a:gd name="T34" fmla="*/ 310 w 554"/>
              <a:gd name="T35" fmla="*/ 8 h 210"/>
              <a:gd name="T36" fmla="*/ 302 w 554"/>
              <a:gd name="T37" fmla="*/ 4 h 210"/>
              <a:gd name="T38" fmla="*/ 290 w 554"/>
              <a:gd name="T39" fmla="*/ 4 h 210"/>
              <a:gd name="T40" fmla="*/ 282 w 554"/>
              <a:gd name="T41" fmla="*/ 8 h 210"/>
              <a:gd name="T42" fmla="*/ 262 w 554"/>
              <a:gd name="T43" fmla="*/ 0 h 210"/>
              <a:gd name="T44" fmla="*/ 234 w 554"/>
              <a:gd name="T45" fmla="*/ 8 h 210"/>
              <a:gd name="T46" fmla="*/ 234 w 554"/>
              <a:gd name="T47" fmla="*/ 0 h 210"/>
              <a:gd name="T48" fmla="*/ 214 w 554"/>
              <a:gd name="T49" fmla="*/ 8 h 210"/>
              <a:gd name="T50" fmla="*/ 206 w 554"/>
              <a:gd name="T51" fmla="*/ 4 h 210"/>
              <a:gd name="T52" fmla="*/ 194 w 554"/>
              <a:gd name="T53" fmla="*/ 4 h 210"/>
              <a:gd name="T54" fmla="*/ 186 w 554"/>
              <a:gd name="T55" fmla="*/ 8 h 210"/>
              <a:gd name="T56" fmla="*/ 180 w 554"/>
              <a:gd name="T57" fmla="*/ 22 h 210"/>
              <a:gd name="T58" fmla="*/ 188 w 554"/>
              <a:gd name="T59" fmla="*/ 50 h 210"/>
              <a:gd name="T60" fmla="*/ 180 w 554"/>
              <a:gd name="T61" fmla="*/ 50 h 210"/>
              <a:gd name="T62" fmla="*/ 188 w 554"/>
              <a:gd name="T63" fmla="*/ 70 h 210"/>
              <a:gd name="T64" fmla="*/ 184 w 554"/>
              <a:gd name="T65" fmla="*/ 78 h 210"/>
              <a:gd name="T66" fmla="*/ 184 w 554"/>
              <a:gd name="T67" fmla="*/ 90 h 210"/>
              <a:gd name="T68" fmla="*/ 188 w 554"/>
              <a:gd name="T69" fmla="*/ 98 h 210"/>
              <a:gd name="T70" fmla="*/ 180 w 554"/>
              <a:gd name="T71" fmla="*/ 118 h 210"/>
              <a:gd name="T72" fmla="*/ 188 w 554"/>
              <a:gd name="T73" fmla="*/ 146 h 210"/>
              <a:gd name="T74" fmla="*/ 180 w 554"/>
              <a:gd name="T75" fmla="*/ 146 h 210"/>
              <a:gd name="T76" fmla="*/ 188 w 554"/>
              <a:gd name="T77" fmla="*/ 166 h 210"/>
              <a:gd name="T78" fmla="*/ 184 w 554"/>
              <a:gd name="T79" fmla="*/ 174 h 210"/>
              <a:gd name="T80" fmla="*/ 184 w 554"/>
              <a:gd name="T81" fmla="*/ 186 h 210"/>
              <a:gd name="T82" fmla="*/ 188 w 554"/>
              <a:gd name="T83" fmla="*/ 194 h 210"/>
              <a:gd name="T84" fmla="*/ 176 w 554"/>
              <a:gd name="T85" fmla="*/ 202 h 210"/>
              <a:gd name="T86" fmla="*/ 148 w 554"/>
              <a:gd name="T87" fmla="*/ 210 h 210"/>
              <a:gd name="T88" fmla="*/ 148 w 554"/>
              <a:gd name="T89" fmla="*/ 202 h 210"/>
              <a:gd name="T90" fmla="*/ 128 w 554"/>
              <a:gd name="T91" fmla="*/ 210 h 210"/>
              <a:gd name="T92" fmla="*/ 120 w 554"/>
              <a:gd name="T93" fmla="*/ 206 h 210"/>
              <a:gd name="T94" fmla="*/ 108 w 554"/>
              <a:gd name="T95" fmla="*/ 206 h 210"/>
              <a:gd name="T96" fmla="*/ 100 w 554"/>
              <a:gd name="T97" fmla="*/ 210 h 210"/>
              <a:gd name="T98" fmla="*/ 80 w 554"/>
              <a:gd name="T99" fmla="*/ 202 h 210"/>
              <a:gd name="T100" fmla="*/ 52 w 554"/>
              <a:gd name="T101" fmla="*/ 210 h 210"/>
              <a:gd name="T102" fmla="*/ 52 w 554"/>
              <a:gd name="T103" fmla="*/ 202 h 210"/>
              <a:gd name="T104" fmla="*/ 32 w 554"/>
              <a:gd name="T105" fmla="*/ 210 h 210"/>
              <a:gd name="T106" fmla="*/ 24 w 554"/>
              <a:gd name="T107" fmla="*/ 206 h 210"/>
              <a:gd name="T108" fmla="*/ 12 w 554"/>
              <a:gd name="T109" fmla="*/ 206 h 210"/>
              <a:gd name="T110" fmla="*/ 4 w 554"/>
              <a:gd name="T111"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210">
                <a:moveTo>
                  <a:pt x="546" y="8"/>
                </a:moveTo>
                <a:cubicBezTo>
                  <a:pt x="550" y="8"/>
                  <a:pt x="550" y="8"/>
                  <a:pt x="550" y="8"/>
                </a:cubicBezTo>
                <a:cubicBezTo>
                  <a:pt x="552" y="8"/>
                  <a:pt x="554" y="6"/>
                  <a:pt x="554" y="4"/>
                </a:cubicBezTo>
                <a:cubicBezTo>
                  <a:pt x="554" y="2"/>
                  <a:pt x="552" y="0"/>
                  <a:pt x="550" y="0"/>
                </a:cubicBezTo>
                <a:cubicBezTo>
                  <a:pt x="546" y="0"/>
                  <a:pt x="546" y="0"/>
                  <a:pt x="546" y="0"/>
                </a:cubicBezTo>
                <a:cubicBezTo>
                  <a:pt x="544" y="0"/>
                  <a:pt x="542" y="2"/>
                  <a:pt x="542" y="4"/>
                </a:cubicBezTo>
                <a:cubicBezTo>
                  <a:pt x="542" y="6"/>
                  <a:pt x="544" y="8"/>
                  <a:pt x="546" y="8"/>
                </a:cubicBezTo>
                <a:close/>
                <a:moveTo>
                  <a:pt x="522" y="8"/>
                </a:moveTo>
                <a:cubicBezTo>
                  <a:pt x="526" y="8"/>
                  <a:pt x="526" y="8"/>
                  <a:pt x="526" y="8"/>
                </a:cubicBezTo>
                <a:cubicBezTo>
                  <a:pt x="528" y="8"/>
                  <a:pt x="530" y="6"/>
                  <a:pt x="530" y="4"/>
                </a:cubicBezTo>
                <a:cubicBezTo>
                  <a:pt x="530" y="2"/>
                  <a:pt x="528" y="0"/>
                  <a:pt x="526" y="0"/>
                </a:cubicBezTo>
                <a:cubicBezTo>
                  <a:pt x="522" y="0"/>
                  <a:pt x="522" y="0"/>
                  <a:pt x="522" y="0"/>
                </a:cubicBezTo>
                <a:cubicBezTo>
                  <a:pt x="520" y="0"/>
                  <a:pt x="518" y="2"/>
                  <a:pt x="518" y="4"/>
                </a:cubicBezTo>
                <a:cubicBezTo>
                  <a:pt x="518" y="6"/>
                  <a:pt x="520" y="8"/>
                  <a:pt x="522" y="8"/>
                </a:cubicBezTo>
                <a:close/>
                <a:moveTo>
                  <a:pt x="498" y="8"/>
                </a:moveTo>
                <a:cubicBezTo>
                  <a:pt x="502" y="8"/>
                  <a:pt x="502" y="8"/>
                  <a:pt x="502" y="8"/>
                </a:cubicBezTo>
                <a:cubicBezTo>
                  <a:pt x="504" y="8"/>
                  <a:pt x="506" y="6"/>
                  <a:pt x="506" y="4"/>
                </a:cubicBezTo>
                <a:cubicBezTo>
                  <a:pt x="506" y="2"/>
                  <a:pt x="504" y="0"/>
                  <a:pt x="502" y="0"/>
                </a:cubicBezTo>
                <a:cubicBezTo>
                  <a:pt x="498" y="0"/>
                  <a:pt x="498" y="0"/>
                  <a:pt x="498" y="0"/>
                </a:cubicBezTo>
                <a:cubicBezTo>
                  <a:pt x="496" y="0"/>
                  <a:pt x="494" y="2"/>
                  <a:pt x="494" y="4"/>
                </a:cubicBezTo>
                <a:cubicBezTo>
                  <a:pt x="494" y="6"/>
                  <a:pt x="496" y="8"/>
                  <a:pt x="498" y="8"/>
                </a:cubicBezTo>
                <a:close/>
                <a:moveTo>
                  <a:pt x="474" y="8"/>
                </a:moveTo>
                <a:cubicBezTo>
                  <a:pt x="478" y="8"/>
                  <a:pt x="478" y="8"/>
                  <a:pt x="478" y="8"/>
                </a:cubicBezTo>
                <a:cubicBezTo>
                  <a:pt x="480" y="8"/>
                  <a:pt x="482" y="6"/>
                  <a:pt x="482" y="4"/>
                </a:cubicBezTo>
                <a:cubicBezTo>
                  <a:pt x="482" y="2"/>
                  <a:pt x="480" y="0"/>
                  <a:pt x="478" y="0"/>
                </a:cubicBezTo>
                <a:cubicBezTo>
                  <a:pt x="474" y="0"/>
                  <a:pt x="474" y="0"/>
                  <a:pt x="474" y="0"/>
                </a:cubicBezTo>
                <a:cubicBezTo>
                  <a:pt x="472" y="0"/>
                  <a:pt x="470" y="2"/>
                  <a:pt x="470" y="4"/>
                </a:cubicBezTo>
                <a:cubicBezTo>
                  <a:pt x="470" y="6"/>
                  <a:pt x="472" y="8"/>
                  <a:pt x="474" y="8"/>
                </a:cubicBezTo>
                <a:close/>
                <a:moveTo>
                  <a:pt x="450" y="8"/>
                </a:moveTo>
                <a:cubicBezTo>
                  <a:pt x="454" y="8"/>
                  <a:pt x="454" y="8"/>
                  <a:pt x="454" y="8"/>
                </a:cubicBezTo>
                <a:cubicBezTo>
                  <a:pt x="456" y="8"/>
                  <a:pt x="458" y="6"/>
                  <a:pt x="458" y="4"/>
                </a:cubicBezTo>
                <a:cubicBezTo>
                  <a:pt x="458" y="2"/>
                  <a:pt x="456" y="0"/>
                  <a:pt x="454" y="0"/>
                </a:cubicBezTo>
                <a:cubicBezTo>
                  <a:pt x="450" y="0"/>
                  <a:pt x="450" y="0"/>
                  <a:pt x="450" y="0"/>
                </a:cubicBezTo>
                <a:cubicBezTo>
                  <a:pt x="448" y="0"/>
                  <a:pt x="446" y="2"/>
                  <a:pt x="446" y="4"/>
                </a:cubicBezTo>
                <a:cubicBezTo>
                  <a:pt x="446" y="6"/>
                  <a:pt x="448" y="8"/>
                  <a:pt x="450" y="8"/>
                </a:cubicBezTo>
                <a:close/>
                <a:moveTo>
                  <a:pt x="426" y="8"/>
                </a:moveTo>
                <a:cubicBezTo>
                  <a:pt x="430" y="8"/>
                  <a:pt x="430" y="8"/>
                  <a:pt x="430" y="8"/>
                </a:cubicBezTo>
                <a:cubicBezTo>
                  <a:pt x="432" y="8"/>
                  <a:pt x="434" y="6"/>
                  <a:pt x="434" y="4"/>
                </a:cubicBezTo>
                <a:cubicBezTo>
                  <a:pt x="434" y="2"/>
                  <a:pt x="432" y="0"/>
                  <a:pt x="430" y="0"/>
                </a:cubicBezTo>
                <a:cubicBezTo>
                  <a:pt x="426" y="0"/>
                  <a:pt x="426" y="0"/>
                  <a:pt x="426" y="0"/>
                </a:cubicBezTo>
                <a:cubicBezTo>
                  <a:pt x="424" y="0"/>
                  <a:pt x="422" y="2"/>
                  <a:pt x="422" y="4"/>
                </a:cubicBezTo>
                <a:cubicBezTo>
                  <a:pt x="422" y="6"/>
                  <a:pt x="424" y="8"/>
                  <a:pt x="426" y="8"/>
                </a:cubicBezTo>
                <a:close/>
                <a:moveTo>
                  <a:pt x="402" y="8"/>
                </a:moveTo>
                <a:cubicBezTo>
                  <a:pt x="406" y="8"/>
                  <a:pt x="406" y="8"/>
                  <a:pt x="406" y="8"/>
                </a:cubicBezTo>
                <a:cubicBezTo>
                  <a:pt x="408" y="8"/>
                  <a:pt x="410" y="6"/>
                  <a:pt x="410" y="4"/>
                </a:cubicBezTo>
                <a:cubicBezTo>
                  <a:pt x="410" y="2"/>
                  <a:pt x="408" y="0"/>
                  <a:pt x="406" y="0"/>
                </a:cubicBezTo>
                <a:cubicBezTo>
                  <a:pt x="402" y="0"/>
                  <a:pt x="402" y="0"/>
                  <a:pt x="402" y="0"/>
                </a:cubicBezTo>
                <a:cubicBezTo>
                  <a:pt x="400" y="0"/>
                  <a:pt x="398" y="2"/>
                  <a:pt x="398" y="4"/>
                </a:cubicBezTo>
                <a:cubicBezTo>
                  <a:pt x="398" y="6"/>
                  <a:pt x="400" y="8"/>
                  <a:pt x="402" y="8"/>
                </a:cubicBezTo>
                <a:close/>
                <a:moveTo>
                  <a:pt x="378" y="8"/>
                </a:moveTo>
                <a:cubicBezTo>
                  <a:pt x="382" y="8"/>
                  <a:pt x="382" y="8"/>
                  <a:pt x="382" y="8"/>
                </a:cubicBezTo>
                <a:cubicBezTo>
                  <a:pt x="384" y="8"/>
                  <a:pt x="386" y="6"/>
                  <a:pt x="386" y="4"/>
                </a:cubicBezTo>
                <a:cubicBezTo>
                  <a:pt x="386" y="2"/>
                  <a:pt x="384" y="0"/>
                  <a:pt x="382" y="0"/>
                </a:cubicBezTo>
                <a:cubicBezTo>
                  <a:pt x="378" y="0"/>
                  <a:pt x="378" y="0"/>
                  <a:pt x="378" y="0"/>
                </a:cubicBezTo>
                <a:cubicBezTo>
                  <a:pt x="376" y="0"/>
                  <a:pt x="374" y="2"/>
                  <a:pt x="374" y="4"/>
                </a:cubicBezTo>
                <a:cubicBezTo>
                  <a:pt x="374" y="6"/>
                  <a:pt x="376" y="8"/>
                  <a:pt x="378" y="8"/>
                </a:cubicBezTo>
                <a:close/>
                <a:moveTo>
                  <a:pt x="354" y="8"/>
                </a:moveTo>
                <a:cubicBezTo>
                  <a:pt x="358" y="8"/>
                  <a:pt x="358" y="8"/>
                  <a:pt x="358" y="8"/>
                </a:cubicBezTo>
                <a:cubicBezTo>
                  <a:pt x="360" y="8"/>
                  <a:pt x="362" y="6"/>
                  <a:pt x="362" y="4"/>
                </a:cubicBezTo>
                <a:cubicBezTo>
                  <a:pt x="362" y="2"/>
                  <a:pt x="360" y="0"/>
                  <a:pt x="358" y="0"/>
                </a:cubicBezTo>
                <a:cubicBezTo>
                  <a:pt x="354" y="0"/>
                  <a:pt x="354" y="0"/>
                  <a:pt x="354" y="0"/>
                </a:cubicBezTo>
                <a:cubicBezTo>
                  <a:pt x="352" y="0"/>
                  <a:pt x="350" y="2"/>
                  <a:pt x="350" y="4"/>
                </a:cubicBezTo>
                <a:cubicBezTo>
                  <a:pt x="350" y="6"/>
                  <a:pt x="352" y="8"/>
                  <a:pt x="354" y="8"/>
                </a:cubicBezTo>
                <a:close/>
                <a:moveTo>
                  <a:pt x="330" y="8"/>
                </a:moveTo>
                <a:cubicBezTo>
                  <a:pt x="334" y="8"/>
                  <a:pt x="334" y="8"/>
                  <a:pt x="334" y="8"/>
                </a:cubicBezTo>
                <a:cubicBezTo>
                  <a:pt x="336" y="8"/>
                  <a:pt x="338" y="6"/>
                  <a:pt x="338" y="4"/>
                </a:cubicBezTo>
                <a:cubicBezTo>
                  <a:pt x="338" y="2"/>
                  <a:pt x="336" y="0"/>
                  <a:pt x="334" y="0"/>
                </a:cubicBezTo>
                <a:cubicBezTo>
                  <a:pt x="330" y="0"/>
                  <a:pt x="330" y="0"/>
                  <a:pt x="330" y="0"/>
                </a:cubicBezTo>
                <a:cubicBezTo>
                  <a:pt x="328" y="0"/>
                  <a:pt x="326" y="2"/>
                  <a:pt x="326" y="4"/>
                </a:cubicBezTo>
                <a:cubicBezTo>
                  <a:pt x="326" y="6"/>
                  <a:pt x="328" y="8"/>
                  <a:pt x="330" y="8"/>
                </a:cubicBezTo>
                <a:close/>
                <a:moveTo>
                  <a:pt x="306" y="8"/>
                </a:moveTo>
                <a:cubicBezTo>
                  <a:pt x="310" y="8"/>
                  <a:pt x="310" y="8"/>
                  <a:pt x="310" y="8"/>
                </a:cubicBezTo>
                <a:cubicBezTo>
                  <a:pt x="312" y="8"/>
                  <a:pt x="314" y="6"/>
                  <a:pt x="314" y="4"/>
                </a:cubicBezTo>
                <a:cubicBezTo>
                  <a:pt x="314" y="2"/>
                  <a:pt x="312" y="0"/>
                  <a:pt x="310" y="0"/>
                </a:cubicBezTo>
                <a:cubicBezTo>
                  <a:pt x="306" y="0"/>
                  <a:pt x="306" y="0"/>
                  <a:pt x="306" y="0"/>
                </a:cubicBezTo>
                <a:cubicBezTo>
                  <a:pt x="304" y="0"/>
                  <a:pt x="302" y="2"/>
                  <a:pt x="302" y="4"/>
                </a:cubicBezTo>
                <a:cubicBezTo>
                  <a:pt x="302" y="6"/>
                  <a:pt x="304" y="8"/>
                  <a:pt x="306" y="8"/>
                </a:cubicBezTo>
                <a:close/>
                <a:moveTo>
                  <a:pt x="282" y="8"/>
                </a:moveTo>
                <a:cubicBezTo>
                  <a:pt x="286" y="8"/>
                  <a:pt x="286" y="8"/>
                  <a:pt x="286" y="8"/>
                </a:cubicBezTo>
                <a:cubicBezTo>
                  <a:pt x="288" y="8"/>
                  <a:pt x="290" y="6"/>
                  <a:pt x="290" y="4"/>
                </a:cubicBezTo>
                <a:cubicBezTo>
                  <a:pt x="290" y="2"/>
                  <a:pt x="288" y="0"/>
                  <a:pt x="286" y="0"/>
                </a:cubicBezTo>
                <a:cubicBezTo>
                  <a:pt x="282" y="0"/>
                  <a:pt x="282" y="0"/>
                  <a:pt x="282" y="0"/>
                </a:cubicBezTo>
                <a:cubicBezTo>
                  <a:pt x="280" y="0"/>
                  <a:pt x="278" y="2"/>
                  <a:pt x="278" y="4"/>
                </a:cubicBezTo>
                <a:cubicBezTo>
                  <a:pt x="278" y="6"/>
                  <a:pt x="280" y="8"/>
                  <a:pt x="282" y="8"/>
                </a:cubicBezTo>
                <a:close/>
                <a:moveTo>
                  <a:pt x="258" y="8"/>
                </a:moveTo>
                <a:cubicBezTo>
                  <a:pt x="262" y="8"/>
                  <a:pt x="262" y="8"/>
                  <a:pt x="262" y="8"/>
                </a:cubicBezTo>
                <a:cubicBezTo>
                  <a:pt x="264" y="8"/>
                  <a:pt x="266" y="6"/>
                  <a:pt x="266" y="4"/>
                </a:cubicBezTo>
                <a:cubicBezTo>
                  <a:pt x="266" y="2"/>
                  <a:pt x="264" y="0"/>
                  <a:pt x="262" y="0"/>
                </a:cubicBezTo>
                <a:cubicBezTo>
                  <a:pt x="258" y="0"/>
                  <a:pt x="258" y="0"/>
                  <a:pt x="258" y="0"/>
                </a:cubicBezTo>
                <a:cubicBezTo>
                  <a:pt x="256" y="0"/>
                  <a:pt x="254" y="2"/>
                  <a:pt x="254" y="4"/>
                </a:cubicBezTo>
                <a:cubicBezTo>
                  <a:pt x="254" y="6"/>
                  <a:pt x="256" y="8"/>
                  <a:pt x="258" y="8"/>
                </a:cubicBezTo>
                <a:close/>
                <a:moveTo>
                  <a:pt x="234" y="8"/>
                </a:moveTo>
                <a:cubicBezTo>
                  <a:pt x="238" y="8"/>
                  <a:pt x="238" y="8"/>
                  <a:pt x="238" y="8"/>
                </a:cubicBezTo>
                <a:cubicBezTo>
                  <a:pt x="240" y="8"/>
                  <a:pt x="242" y="6"/>
                  <a:pt x="242" y="4"/>
                </a:cubicBezTo>
                <a:cubicBezTo>
                  <a:pt x="242" y="2"/>
                  <a:pt x="240" y="0"/>
                  <a:pt x="238" y="0"/>
                </a:cubicBezTo>
                <a:cubicBezTo>
                  <a:pt x="234" y="0"/>
                  <a:pt x="234" y="0"/>
                  <a:pt x="234" y="0"/>
                </a:cubicBezTo>
                <a:cubicBezTo>
                  <a:pt x="232" y="0"/>
                  <a:pt x="230" y="2"/>
                  <a:pt x="230" y="4"/>
                </a:cubicBezTo>
                <a:cubicBezTo>
                  <a:pt x="230" y="6"/>
                  <a:pt x="232" y="8"/>
                  <a:pt x="234" y="8"/>
                </a:cubicBezTo>
                <a:close/>
                <a:moveTo>
                  <a:pt x="210" y="8"/>
                </a:moveTo>
                <a:cubicBezTo>
                  <a:pt x="214" y="8"/>
                  <a:pt x="214" y="8"/>
                  <a:pt x="214" y="8"/>
                </a:cubicBezTo>
                <a:cubicBezTo>
                  <a:pt x="216" y="8"/>
                  <a:pt x="218" y="6"/>
                  <a:pt x="218" y="4"/>
                </a:cubicBezTo>
                <a:cubicBezTo>
                  <a:pt x="218" y="2"/>
                  <a:pt x="216" y="0"/>
                  <a:pt x="214" y="0"/>
                </a:cubicBezTo>
                <a:cubicBezTo>
                  <a:pt x="210" y="0"/>
                  <a:pt x="210" y="0"/>
                  <a:pt x="210" y="0"/>
                </a:cubicBezTo>
                <a:cubicBezTo>
                  <a:pt x="208" y="0"/>
                  <a:pt x="206" y="2"/>
                  <a:pt x="206" y="4"/>
                </a:cubicBezTo>
                <a:cubicBezTo>
                  <a:pt x="206" y="6"/>
                  <a:pt x="208" y="8"/>
                  <a:pt x="210" y="8"/>
                </a:cubicBezTo>
                <a:close/>
                <a:moveTo>
                  <a:pt x="186" y="8"/>
                </a:moveTo>
                <a:cubicBezTo>
                  <a:pt x="190" y="8"/>
                  <a:pt x="190" y="8"/>
                  <a:pt x="190" y="8"/>
                </a:cubicBezTo>
                <a:cubicBezTo>
                  <a:pt x="192" y="8"/>
                  <a:pt x="194" y="6"/>
                  <a:pt x="194" y="4"/>
                </a:cubicBezTo>
                <a:cubicBezTo>
                  <a:pt x="194" y="2"/>
                  <a:pt x="192" y="0"/>
                  <a:pt x="190" y="0"/>
                </a:cubicBezTo>
                <a:cubicBezTo>
                  <a:pt x="186" y="0"/>
                  <a:pt x="186" y="0"/>
                  <a:pt x="186" y="0"/>
                </a:cubicBezTo>
                <a:cubicBezTo>
                  <a:pt x="184" y="0"/>
                  <a:pt x="182" y="2"/>
                  <a:pt x="182" y="4"/>
                </a:cubicBezTo>
                <a:cubicBezTo>
                  <a:pt x="182" y="6"/>
                  <a:pt x="184" y="8"/>
                  <a:pt x="186" y="8"/>
                </a:cubicBezTo>
                <a:close/>
                <a:moveTo>
                  <a:pt x="188" y="26"/>
                </a:moveTo>
                <a:cubicBezTo>
                  <a:pt x="188" y="22"/>
                  <a:pt x="188" y="22"/>
                  <a:pt x="188" y="22"/>
                </a:cubicBezTo>
                <a:cubicBezTo>
                  <a:pt x="188" y="20"/>
                  <a:pt x="187" y="18"/>
                  <a:pt x="184" y="18"/>
                </a:cubicBezTo>
                <a:cubicBezTo>
                  <a:pt x="182" y="18"/>
                  <a:pt x="180" y="20"/>
                  <a:pt x="180" y="22"/>
                </a:cubicBezTo>
                <a:cubicBezTo>
                  <a:pt x="180" y="26"/>
                  <a:pt x="180" y="26"/>
                  <a:pt x="180" y="26"/>
                </a:cubicBezTo>
                <a:cubicBezTo>
                  <a:pt x="180" y="29"/>
                  <a:pt x="182" y="30"/>
                  <a:pt x="184" y="30"/>
                </a:cubicBezTo>
                <a:cubicBezTo>
                  <a:pt x="187" y="30"/>
                  <a:pt x="188" y="29"/>
                  <a:pt x="188" y="26"/>
                </a:cubicBezTo>
                <a:close/>
                <a:moveTo>
                  <a:pt x="188" y="50"/>
                </a:moveTo>
                <a:cubicBezTo>
                  <a:pt x="188" y="46"/>
                  <a:pt x="188" y="46"/>
                  <a:pt x="188" y="46"/>
                </a:cubicBezTo>
                <a:cubicBezTo>
                  <a:pt x="188" y="44"/>
                  <a:pt x="187" y="42"/>
                  <a:pt x="184" y="42"/>
                </a:cubicBezTo>
                <a:cubicBezTo>
                  <a:pt x="182" y="42"/>
                  <a:pt x="180" y="44"/>
                  <a:pt x="180" y="46"/>
                </a:cubicBezTo>
                <a:cubicBezTo>
                  <a:pt x="180" y="50"/>
                  <a:pt x="180" y="50"/>
                  <a:pt x="180" y="50"/>
                </a:cubicBezTo>
                <a:cubicBezTo>
                  <a:pt x="180" y="53"/>
                  <a:pt x="182" y="54"/>
                  <a:pt x="184" y="54"/>
                </a:cubicBezTo>
                <a:cubicBezTo>
                  <a:pt x="187" y="54"/>
                  <a:pt x="188" y="53"/>
                  <a:pt x="188" y="50"/>
                </a:cubicBezTo>
                <a:close/>
                <a:moveTo>
                  <a:pt x="188" y="74"/>
                </a:moveTo>
                <a:cubicBezTo>
                  <a:pt x="188" y="70"/>
                  <a:pt x="188" y="70"/>
                  <a:pt x="188" y="70"/>
                </a:cubicBezTo>
                <a:cubicBezTo>
                  <a:pt x="188" y="68"/>
                  <a:pt x="187" y="66"/>
                  <a:pt x="184" y="66"/>
                </a:cubicBezTo>
                <a:cubicBezTo>
                  <a:pt x="182" y="66"/>
                  <a:pt x="180" y="68"/>
                  <a:pt x="180" y="70"/>
                </a:cubicBezTo>
                <a:cubicBezTo>
                  <a:pt x="180" y="74"/>
                  <a:pt x="180" y="74"/>
                  <a:pt x="180" y="74"/>
                </a:cubicBezTo>
                <a:cubicBezTo>
                  <a:pt x="180" y="77"/>
                  <a:pt x="182" y="78"/>
                  <a:pt x="184" y="78"/>
                </a:cubicBezTo>
                <a:cubicBezTo>
                  <a:pt x="187" y="78"/>
                  <a:pt x="188" y="77"/>
                  <a:pt x="188" y="74"/>
                </a:cubicBezTo>
                <a:close/>
                <a:moveTo>
                  <a:pt x="188" y="98"/>
                </a:moveTo>
                <a:cubicBezTo>
                  <a:pt x="188" y="94"/>
                  <a:pt x="188" y="94"/>
                  <a:pt x="188" y="94"/>
                </a:cubicBezTo>
                <a:cubicBezTo>
                  <a:pt x="188" y="92"/>
                  <a:pt x="187" y="90"/>
                  <a:pt x="184" y="90"/>
                </a:cubicBezTo>
                <a:cubicBezTo>
                  <a:pt x="182" y="90"/>
                  <a:pt x="180" y="92"/>
                  <a:pt x="180" y="94"/>
                </a:cubicBezTo>
                <a:cubicBezTo>
                  <a:pt x="180" y="98"/>
                  <a:pt x="180" y="98"/>
                  <a:pt x="180" y="98"/>
                </a:cubicBezTo>
                <a:cubicBezTo>
                  <a:pt x="180" y="101"/>
                  <a:pt x="182" y="102"/>
                  <a:pt x="184" y="102"/>
                </a:cubicBezTo>
                <a:cubicBezTo>
                  <a:pt x="187" y="102"/>
                  <a:pt x="188" y="101"/>
                  <a:pt x="188" y="98"/>
                </a:cubicBezTo>
                <a:close/>
                <a:moveTo>
                  <a:pt x="188" y="122"/>
                </a:moveTo>
                <a:cubicBezTo>
                  <a:pt x="188" y="118"/>
                  <a:pt x="188" y="118"/>
                  <a:pt x="188" y="118"/>
                </a:cubicBezTo>
                <a:cubicBezTo>
                  <a:pt x="188" y="116"/>
                  <a:pt x="187" y="114"/>
                  <a:pt x="184" y="114"/>
                </a:cubicBezTo>
                <a:cubicBezTo>
                  <a:pt x="182" y="114"/>
                  <a:pt x="180" y="116"/>
                  <a:pt x="180" y="118"/>
                </a:cubicBezTo>
                <a:cubicBezTo>
                  <a:pt x="180" y="122"/>
                  <a:pt x="180" y="122"/>
                  <a:pt x="180" y="122"/>
                </a:cubicBezTo>
                <a:cubicBezTo>
                  <a:pt x="180" y="125"/>
                  <a:pt x="182" y="126"/>
                  <a:pt x="184" y="126"/>
                </a:cubicBezTo>
                <a:cubicBezTo>
                  <a:pt x="187" y="126"/>
                  <a:pt x="188" y="125"/>
                  <a:pt x="188" y="122"/>
                </a:cubicBezTo>
                <a:close/>
                <a:moveTo>
                  <a:pt x="188" y="146"/>
                </a:moveTo>
                <a:cubicBezTo>
                  <a:pt x="188" y="142"/>
                  <a:pt x="188" y="142"/>
                  <a:pt x="188" y="142"/>
                </a:cubicBezTo>
                <a:cubicBezTo>
                  <a:pt x="188" y="140"/>
                  <a:pt x="187" y="138"/>
                  <a:pt x="184" y="138"/>
                </a:cubicBezTo>
                <a:cubicBezTo>
                  <a:pt x="182" y="138"/>
                  <a:pt x="180" y="140"/>
                  <a:pt x="180" y="142"/>
                </a:cubicBezTo>
                <a:cubicBezTo>
                  <a:pt x="180" y="146"/>
                  <a:pt x="180" y="146"/>
                  <a:pt x="180" y="146"/>
                </a:cubicBezTo>
                <a:cubicBezTo>
                  <a:pt x="180" y="149"/>
                  <a:pt x="182" y="150"/>
                  <a:pt x="184" y="150"/>
                </a:cubicBezTo>
                <a:cubicBezTo>
                  <a:pt x="187" y="150"/>
                  <a:pt x="188" y="149"/>
                  <a:pt x="188" y="146"/>
                </a:cubicBezTo>
                <a:close/>
                <a:moveTo>
                  <a:pt x="188" y="170"/>
                </a:moveTo>
                <a:cubicBezTo>
                  <a:pt x="188" y="166"/>
                  <a:pt x="188" y="166"/>
                  <a:pt x="188" y="166"/>
                </a:cubicBezTo>
                <a:cubicBezTo>
                  <a:pt x="188" y="164"/>
                  <a:pt x="187" y="162"/>
                  <a:pt x="184" y="162"/>
                </a:cubicBezTo>
                <a:cubicBezTo>
                  <a:pt x="182" y="162"/>
                  <a:pt x="180" y="164"/>
                  <a:pt x="180" y="166"/>
                </a:cubicBezTo>
                <a:cubicBezTo>
                  <a:pt x="180" y="170"/>
                  <a:pt x="180" y="170"/>
                  <a:pt x="180" y="170"/>
                </a:cubicBezTo>
                <a:cubicBezTo>
                  <a:pt x="180" y="173"/>
                  <a:pt x="182" y="174"/>
                  <a:pt x="184" y="174"/>
                </a:cubicBezTo>
                <a:cubicBezTo>
                  <a:pt x="187" y="174"/>
                  <a:pt x="188" y="173"/>
                  <a:pt x="188" y="170"/>
                </a:cubicBezTo>
                <a:close/>
                <a:moveTo>
                  <a:pt x="188" y="194"/>
                </a:moveTo>
                <a:cubicBezTo>
                  <a:pt x="188" y="190"/>
                  <a:pt x="188" y="190"/>
                  <a:pt x="188" y="190"/>
                </a:cubicBezTo>
                <a:cubicBezTo>
                  <a:pt x="188" y="188"/>
                  <a:pt x="187" y="186"/>
                  <a:pt x="184" y="186"/>
                </a:cubicBezTo>
                <a:cubicBezTo>
                  <a:pt x="182" y="186"/>
                  <a:pt x="180" y="188"/>
                  <a:pt x="180" y="190"/>
                </a:cubicBezTo>
                <a:cubicBezTo>
                  <a:pt x="180" y="194"/>
                  <a:pt x="180" y="194"/>
                  <a:pt x="180" y="194"/>
                </a:cubicBezTo>
                <a:cubicBezTo>
                  <a:pt x="180" y="197"/>
                  <a:pt x="182" y="198"/>
                  <a:pt x="184" y="198"/>
                </a:cubicBezTo>
                <a:cubicBezTo>
                  <a:pt x="187" y="198"/>
                  <a:pt x="188" y="197"/>
                  <a:pt x="188" y="194"/>
                </a:cubicBezTo>
                <a:close/>
                <a:moveTo>
                  <a:pt x="172" y="210"/>
                </a:moveTo>
                <a:cubicBezTo>
                  <a:pt x="176" y="210"/>
                  <a:pt x="176" y="210"/>
                  <a:pt x="176" y="210"/>
                </a:cubicBezTo>
                <a:cubicBezTo>
                  <a:pt x="179" y="210"/>
                  <a:pt x="180" y="209"/>
                  <a:pt x="180" y="206"/>
                </a:cubicBezTo>
                <a:cubicBezTo>
                  <a:pt x="180" y="204"/>
                  <a:pt x="179" y="202"/>
                  <a:pt x="176" y="202"/>
                </a:cubicBezTo>
                <a:cubicBezTo>
                  <a:pt x="172" y="202"/>
                  <a:pt x="172" y="202"/>
                  <a:pt x="172" y="202"/>
                </a:cubicBezTo>
                <a:cubicBezTo>
                  <a:pt x="170" y="202"/>
                  <a:pt x="168" y="204"/>
                  <a:pt x="168" y="206"/>
                </a:cubicBezTo>
                <a:cubicBezTo>
                  <a:pt x="168" y="209"/>
                  <a:pt x="170" y="210"/>
                  <a:pt x="172" y="210"/>
                </a:cubicBezTo>
                <a:close/>
                <a:moveTo>
                  <a:pt x="148" y="210"/>
                </a:moveTo>
                <a:cubicBezTo>
                  <a:pt x="152" y="210"/>
                  <a:pt x="152" y="210"/>
                  <a:pt x="152" y="210"/>
                </a:cubicBezTo>
                <a:cubicBezTo>
                  <a:pt x="155" y="210"/>
                  <a:pt x="156" y="209"/>
                  <a:pt x="156" y="206"/>
                </a:cubicBezTo>
                <a:cubicBezTo>
                  <a:pt x="156" y="204"/>
                  <a:pt x="155" y="202"/>
                  <a:pt x="152" y="202"/>
                </a:cubicBezTo>
                <a:cubicBezTo>
                  <a:pt x="148" y="202"/>
                  <a:pt x="148" y="202"/>
                  <a:pt x="148" y="202"/>
                </a:cubicBezTo>
                <a:cubicBezTo>
                  <a:pt x="146" y="202"/>
                  <a:pt x="144" y="204"/>
                  <a:pt x="144" y="206"/>
                </a:cubicBezTo>
                <a:cubicBezTo>
                  <a:pt x="144" y="209"/>
                  <a:pt x="146" y="210"/>
                  <a:pt x="148" y="210"/>
                </a:cubicBezTo>
                <a:close/>
                <a:moveTo>
                  <a:pt x="124" y="210"/>
                </a:moveTo>
                <a:cubicBezTo>
                  <a:pt x="128" y="210"/>
                  <a:pt x="128" y="210"/>
                  <a:pt x="128" y="210"/>
                </a:cubicBezTo>
                <a:cubicBezTo>
                  <a:pt x="131" y="210"/>
                  <a:pt x="132" y="209"/>
                  <a:pt x="132" y="206"/>
                </a:cubicBezTo>
                <a:cubicBezTo>
                  <a:pt x="132" y="204"/>
                  <a:pt x="131" y="202"/>
                  <a:pt x="128" y="202"/>
                </a:cubicBezTo>
                <a:cubicBezTo>
                  <a:pt x="124" y="202"/>
                  <a:pt x="124" y="202"/>
                  <a:pt x="124" y="202"/>
                </a:cubicBezTo>
                <a:cubicBezTo>
                  <a:pt x="122" y="202"/>
                  <a:pt x="120" y="204"/>
                  <a:pt x="120" y="206"/>
                </a:cubicBezTo>
                <a:cubicBezTo>
                  <a:pt x="120" y="209"/>
                  <a:pt x="122" y="210"/>
                  <a:pt x="124" y="210"/>
                </a:cubicBezTo>
                <a:close/>
                <a:moveTo>
                  <a:pt x="100" y="210"/>
                </a:moveTo>
                <a:cubicBezTo>
                  <a:pt x="104" y="210"/>
                  <a:pt x="104" y="210"/>
                  <a:pt x="104" y="210"/>
                </a:cubicBezTo>
                <a:cubicBezTo>
                  <a:pt x="107" y="210"/>
                  <a:pt x="108" y="209"/>
                  <a:pt x="108" y="206"/>
                </a:cubicBezTo>
                <a:cubicBezTo>
                  <a:pt x="108" y="204"/>
                  <a:pt x="107" y="202"/>
                  <a:pt x="104" y="202"/>
                </a:cubicBezTo>
                <a:cubicBezTo>
                  <a:pt x="100" y="202"/>
                  <a:pt x="100" y="202"/>
                  <a:pt x="100" y="202"/>
                </a:cubicBezTo>
                <a:cubicBezTo>
                  <a:pt x="98" y="202"/>
                  <a:pt x="96" y="204"/>
                  <a:pt x="96" y="206"/>
                </a:cubicBezTo>
                <a:cubicBezTo>
                  <a:pt x="96" y="209"/>
                  <a:pt x="98" y="210"/>
                  <a:pt x="100" y="210"/>
                </a:cubicBezTo>
                <a:close/>
                <a:moveTo>
                  <a:pt x="76" y="210"/>
                </a:moveTo>
                <a:cubicBezTo>
                  <a:pt x="80" y="210"/>
                  <a:pt x="80" y="210"/>
                  <a:pt x="80" y="210"/>
                </a:cubicBezTo>
                <a:cubicBezTo>
                  <a:pt x="83" y="210"/>
                  <a:pt x="84" y="209"/>
                  <a:pt x="84" y="206"/>
                </a:cubicBezTo>
                <a:cubicBezTo>
                  <a:pt x="84" y="204"/>
                  <a:pt x="83" y="202"/>
                  <a:pt x="80" y="202"/>
                </a:cubicBezTo>
                <a:cubicBezTo>
                  <a:pt x="76" y="202"/>
                  <a:pt x="76" y="202"/>
                  <a:pt x="76" y="202"/>
                </a:cubicBezTo>
                <a:cubicBezTo>
                  <a:pt x="74" y="202"/>
                  <a:pt x="72" y="204"/>
                  <a:pt x="72" y="206"/>
                </a:cubicBezTo>
                <a:cubicBezTo>
                  <a:pt x="72" y="209"/>
                  <a:pt x="74" y="210"/>
                  <a:pt x="76" y="210"/>
                </a:cubicBezTo>
                <a:close/>
                <a:moveTo>
                  <a:pt x="52" y="210"/>
                </a:moveTo>
                <a:cubicBezTo>
                  <a:pt x="56" y="210"/>
                  <a:pt x="56" y="210"/>
                  <a:pt x="56" y="210"/>
                </a:cubicBezTo>
                <a:cubicBezTo>
                  <a:pt x="59" y="210"/>
                  <a:pt x="60" y="209"/>
                  <a:pt x="60" y="206"/>
                </a:cubicBezTo>
                <a:cubicBezTo>
                  <a:pt x="60" y="204"/>
                  <a:pt x="59" y="202"/>
                  <a:pt x="56" y="202"/>
                </a:cubicBezTo>
                <a:cubicBezTo>
                  <a:pt x="52" y="202"/>
                  <a:pt x="52" y="202"/>
                  <a:pt x="52" y="202"/>
                </a:cubicBezTo>
                <a:cubicBezTo>
                  <a:pt x="50" y="202"/>
                  <a:pt x="48" y="204"/>
                  <a:pt x="48" y="206"/>
                </a:cubicBezTo>
                <a:cubicBezTo>
                  <a:pt x="48" y="209"/>
                  <a:pt x="50" y="210"/>
                  <a:pt x="52" y="210"/>
                </a:cubicBezTo>
                <a:close/>
                <a:moveTo>
                  <a:pt x="28" y="210"/>
                </a:moveTo>
                <a:cubicBezTo>
                  <a:pt x="32" y="210"/>
                  <a:pt x="32" y="210"/>
                  <a:pt x="32" y="210"/>
                </a:cubicBezTo>
                <a:cubicBezTo>
                  <a:pt x="35" y="210"/>
                  <a:pt x="36" y="209"/>
                  <a:pt x="36" y="206"/>
                </a:cubicBezTo>
                <a:cubicBezTo>
                  <a:pt x="36" y="204"/>
                  <a:pt x="35" y="202"/>
                  <a:pt x="32" y="202"/>
                </a:cubicBezTo>
                <a:cubicBezTo>
                  <a:pt x="28" y="202"/>
                  <a:pt x="28" y="202"/>
                  <a:pt x="28" y="202"/>
                </a:cubicBezTo>
                <a:cubicBezTo>
                  <a:pt x="26" y="202"/>
                  <a:pt x="24" y="204"/>
                  <a:pt x="24" y="206"/>
                </a:cubicBezTo>
                <a:cubicBezTo>
                  <a:pt x="24" y="209"/>
                  <a:pt x="26" y="210"/>
                  <a:pt x="28" y="210"/>
                </a:cubicBezTo>
                <a:close/>
                <a:moveTo>
                  <a:pt x="4" y="210"/>
                </a:moveTo>
                <a:cubicBezTo>
                  <a:pt x="8" y="210"/>
                  <a:pt x="8" y="210"/>
                  <a:pt x="8" y="210"/>
                </a:cubicBezTo>
                <a:cubicBezTo>
                  <a:pt x="11" y="210"/>
                  <a:pt x="12" y="209"/>
                  <a:pt x="12" y="206"/>
                </a:cubicBezTo>
                <a:cubicBezTo>
                  <a:pt x="12" y="204"/>
                  <a:pt x="11" y="202"/>
                  <a:pt x="8" y="202"/>
                </a:cubicBezTo>
                <a:cubicBezTo>
                  <a:pt x="4" y="202"/>
                  <a:pt x="4" y="202"/>
                  <a:pt x="4" y="202"/>
                </a:cubicBezTo>
                <a:cubicBezTo>
                  <a:pt x="2" y="202"/>
                  <a:pt x="0" y="204"/>
                  <a:pt x="0" y="206"/>
                </a:cubicBezTo>
                <a:cubicBezTo>
                  <a:pt x="0" y="209"/>
                  <a:pt x="2" y="210"/>
                  <a:pt x="4" y="21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254">
            <a:extLst>
              <a:ext uri="{FF2B5EF4-FFF2-40B4-BE49-F238E27FC236}">
                <a16:creationId xmlns:a16="http://schemas.microsoft.com/office/drawing/2014/main" id="{CCFAB4F4-F1DB-4CF2-9210-7901754EE2D7}"/>
              </a:ext>
            </a:extLst>
          </p:cNvPr>
          <p:cNvSpPr>
            <a:spLocks/>
          </p:cNvSpPr>
          <p:nvPr/>
        </p:nvSpPr>
        <p:spPr bwMode="auto">
          <a:xfrm>
            <a:off x="10660369" y="5924324"/>
            <a:ext cx="759184" cy="432229"/>
          </a:xfrm>
          <a:custGeom>
            <a:avLst/>
            <a:gdLst>
              <a:gd name="T0" fmla="*/ 750 w 750"/>
              <a:gd name="T1" fmla="*/ 408 h 427"/>
              <a:gd name="T2" fmla="*/ 302 w 750"/>
              <a:gd name="T3" fmla="*/ 408 h 427"/>
              <a:gd name="T4" fmla="*/ 302 w 750"/>
              <a:gd name="T5" fmla="*/ 0 h 427"/>
              <a:gd name="T6" fmla="*/ 0 w 750"/>
              <a:gd name="T7" fmla="*/ 0 h 427"/>
              <a:gd name="T8" fmla="*/ 0 w 750"/>
              <a:gd name="T9" fmla="*/ 16 h 427"/>
              <a:gd name="T10" fmla="*/ 283 w 750"/>
              <a:gd name="T11" fmla="*/ 16 h 427"/>
              <a:gd name="T12" fmla="*/ 283 w 750"/>
              <a:gd name="T13" fmla="*/ 427 h 427"/>
              <a:gd name="T14" fmla="*/ 750 w 750"/>
              <a:gd name="T15" fmla="*/ 427 h 427"/>
              <a:gd name="T16" fmla="*/ 750 w 750"/>
              <a:gd name="T17" fmla="*/ 408 h 427"/>
              <a:gd name="T18" fmla="*/ 750 w 750"/>
              <a:gd name="T19"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0" h="427">
                <a:moveTo>
                  <a:pt x="750" y="408"/>
                </a:moveTo>
                <a:lnTo>
                  <a:pt x="302" y="408"/>
                </a:lnTo>
                <a:lnTo>
                  <a:pt x="302" y="0"/>
                </a:lnTo>
                <a:lnTo>
                  <a:pt x="0" y="0"/>
                </a:lnTo>
                <a:lnTo>
                  <a:pt x="0" y="16"/>
                </a:lnTo>
                <a:lnTo>
                  <a:pt x="283" y="16"/>
                </a:lnTo>
                <a:lnTo>
                  <a:pt x="283" y="427"/>
                </a:lnTo>
                <a:lnTo>
                  <a:pt x="750" y="427"/>
                </a:lnTo>
                <a:lnTo>
                  <a:pt x="750" y="408"/>
                </a:lnTo>
                <a:lnTo>
                  <a:pt x="750" y="408"/>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0" name="Freeform 255">
            <a:extLst>
              <a:ext uri="{FF2B5EF4-FFF2-40B4-BE49-F238E27FC236}">
                <a16:creationId xmlns:a16="http://schemas.microsoft.com/office/drawing/2014/main" id="{47DCECF8-2EA4-4B53-8CBE-62F17D30CF2D}"/>
              </a:ext>
            </a:extLst>
          </p:cNvPr>
          <p:cNvSpPr>
            <a:spLocks noEditPoints="1"/>
          </p:cNvSpPr>
          <p:nvPr/>
        </p:nvSpPr>
        <p:spPr bwMode="auto">
          <a:xfrm>
            <a:off x="10639112" y="6000243"/>
            <a:ext cx="948474" cy="279380"/>
          </a:xfrm>
          <a:custGeom>
            <a:avLst/>
            <a:gdLst>
              <a:gd name="T0" fmla="*/ 4 w 395"/>
              <a:gd name="T1" fmla="*/ 8 h 116"/>
              <a:gd name="T2" fmla="*/ 26 w 395"/>
              <a:gd name="T3" fmla="*/ 0 h 116"/>
              <a:gd name="T4" fmla="*/ 26 w 395"/>
              <a:gd name="T5" fmla="*/ 8 h 116"/>
              <a:gd name="T6" fmla="*/ 41 w 395"/>
              <a:gd name="T7" fmla="*/ 0 h 116"/>
              <a:gd name="T8" fmla="*/ 48 w 395"/>
              <a:gd name="T9" fmla="*/ 4 h 116"/>
              <a:gd name="T10" fmla="*/ 55 w 395"/>
              <a:gd name="T11" fmla="*/ 4 h 116"/>
              <a:gd name="T12" fmla="*/ 62 w 395"/>
              <a:gd name="T13" fmla="*/ 0 h 116"/>
              <a:gd name="T14" fmla="*/ 77 w 395"/>
              <a:gd name="T15" fmla="*/ 8 h 116"/>
              <a:gd name="T16" fmla="*/ 98 w 395"/>
              <a:gd name="T17" fmla="*/ 0 h 116"/>
              <a:gd name="T18" fmla="*/ 98 w 395"/>
              <a:gd name="T19" fmla="*/ 8 h 116"/>
              <a:gd name="T20" fmla="*/ 114 w 395"/>
              <a:gd name="T21" fmla="*/ 0 h 116"/>
              <a:gd name="T22" fmla="*/ 121 w 395"/>
              <a:gd name="T23" fmla="*/ 4 h 116"/>
              <a:gd name="T24" fmla="*/ 128 w 395"/>
              <a:gd name="T25" fmla="*/ 4 h 116"/>
              <a:gd name="T26" fmla="*/ 135 w 395"/>
              <a:gd name="T27" fmla="*/ 0 h 116"/>
              <a:gd name="T28" fmla="*/ 150 w 395"/>
              <a:gd name="T29" fmla="*/ 8 h 116"/>
              <a:gd name="T30" fmla="*/ 171 w 395"/>
              <a:gd name="T31" fmla="*/ 0 h 116"/>
              <a:gd name="T32" fmla="*/ 171 w 395"/>
              <a:gd name="T33" fmla="*/ 8 h 116"/>
              <a:gd name="T34" fmla="*/ 186 w 395"/>
              <a:gd name="T35" fmla="*/ 0 h 116"/>
              <a:gd name="T36" fmla="*/ 194 w 395"/>
              <a:gd name="T37" fmla="*/ 4 h 116"/>
              <a:gd name="T38" fmla="*/ 201 w 395"/>
              <a:gd name="T39" fmla="*/ 4 h 116"/>
              <a:gd name="T40" fmla="*/ 208 w 395"/>
              <a:gd name="T41" fmla="*/ 0 h 116"/>
              <a:gd name="T42" fmla="*/ 223 w 395"/>
              <a:gd name="T43" fmla="*/ 8 h 116"/>
              <a:gd name="T44" fmla="*/ 248 w 395"/>
              <a:gd name="T45" fmla="*/ 4 h 116"/>
              <a:gd name="T46" fmla="*/ 241 w 395"/>
              <a:gd name="T47" fmla="*/ 0 h 116"/>
              <a:gd name="T48" fmla="*/ 244 w 395"/>
              <a:gd name="T49" fmla="*/ 4 h 116"/>
              <a:gd name="T50" fmla="*/ 248 w 395"/>
              <a:gd name="T51" fmla="*/ 4 h 116"/>
              <a:gd name="T52" fmla="*/ 240 w 395"/>
              <a:gd name="T53" fmla="*/ 19 h 116"/>
              <a:gd name="T54" fmla="*/ 248 w 395"/>
              <a:gd name="T55" fmla="*/ 41 h 116"/>
              <a:gd name="T56" fmla="*/ 240 w 395"/>
              <a:gd name="T57" fmla="*/ 41 h 116"/>
              <a:gd name="T58" fmla="*/ 248 w 395"/>
              <a:gd name="T59" fmla="*/ 56 h 116"/>
              <a:gd name="T60" fmla="*/ 244 w 395"/>
              <a:gd name="T61" fmla="*/ 63 h 116"/>
              <a:gd name="T62" fmla="*/ 244 w 395"/>
              <a:gd name="T63" fmla="*/ 70 h 116"/>
              <a:gd name="T64" fmla="*/ 248 w 395"/>
              <a:gd name="T65" fmla="*/ 77 h 116"/>
              <a:gd name="T66" fmla="*/ 240 w 395"/>
              <a:gd name="T67" fmla="*/ 92 h 116"/>
              <a:gd name="T68" fmla="*/ 245 w 395"/>
              <a:gd name="T69" fmla="*/ 108 h 116"/>
              <a:gd name="T70" fmla="*/ 248 w 395"/>
              <a:gd name="T71" fmla="*/ 110 h 116"/>
              <a:gd name="T72" fmla="*/ 241 w 395"/>
              <a:gd name="T73" fmla="*/ 114 h 116"/>
              <a:gd name="T74" fmla="*/ 245 w 395"/>
              <a:gd name="T75" fmla="*/ 108 h 116"/>
              <a:gd name="T76" fmla="*/ 261 w 395"/>
              <a:gd name="T77" fmla="*/ 116 h 116"/>
              <a:gd name="T78" fmla="*/ 282 w 395"/>
              <a:gd name="T79" fmla="*/ 108 h 116"/>
              <a:gd name="T80" fmla="*/ 282 w 395"/>
              <a:gd name="T81" fmla="*/ 116 h 116"/>
              <a:gd name="T82" fmla="*/ 297 w 395"/>
              <a:gd name="T83" fmla="*/ 108 h 116"/>
              <a:gd name="T84" fmla="*/ 304 w 395"/>
              <a:gd name="T85" fmla="*/ 112 h 116"/>
              <a:gd name="T86" fmla="*/ 311 w 395"/>
              <a:gd name="T87" fmla="*/ 112 h 116"/>
              <a:gd name="T88" fmla="*/ 318 w 395"/>
              <a:gd name="T89" fmla="*/ 108 h 116"/>
              <a:gd name="T90" fmla="*/ 334 w 395"/>
              <a:gd name="T91" fmla="*/ 116 h 116"/>
              <a:gd name="T92" fmla="*/ 355 w 395"/>
              <a:gd name="T93" fmla="*/ 108 h 116"/>
              <a:gd name="T94" fmla="*/ 355 w 395"/>
              <a:gd name="T95" fmla="*/ 116 h 116"/>
              <a:gd name="T96" fmla="*/ 370 w 395"/>
              <a:gd name="T97" fmla="*/ 108 h 116"/>
              <a:gd name="T98" fmla="*/ 377 w 395"/>
              <a:gd name="T99" fmla="*/ 112 h 116"/>
              <a:gd name="T100" fmla="*/ 384 w 395"/>
              <a:gd name="T101" fmla="*/ 112 h 116"/>
              <a:gd name="T102" fmla="*/ 391 w 395"/>
              <a:gd name="T103" fmla="*/ 10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5" h="116">
                <a:moveTo>
                  <a:pt x="7" y="0"/>
                </a:moveTo>
                <a:cubicBezTo>
                  <a:pt x="4" y="0"/>
                  <a:pt x="4" y="0"/>
                  <a:pt x="4" y="0"/>
                </a:cubicBezTo>
                <a:cubicBezTo>
                  <a:pt x="2" y="0"/>
                  <a:pt x="0" y="1"/>
                  <a:pt x="0" y="4"/>
                </a:cubicBezTo>
                <a:cubicBezTo>
                  <a:pt x="0" y="6"/>
                  <a:pt x="2" y="8"/>
                  <a:pt x="4" y="8"/>
                </a:cubicBezTo>
                <a:cubicBezTo>
                  <a:pt x="7" y="8"/>
                  <a:pt x="7" y="8"/>
                  <a:pt x="7" y="8"/>
                </a:cubicBezTo>
                <a:cubicBezTo>
                  <a:pt x="10" y="8"/>
                  <a:pt x="11" y="6"/>
                  <a:pt x="11" y="4"/>
                </a:cubicBezTo>
                <a:cubicBezTo>
                  <a:pt x="11" y="1"/>
                  <a:pt x="10" y="0"/>
                  <a:pt x="7" y="0"/>
                </a:cubicBezTo>
                <a:close/>
                <a:moveTo>
                  <a:pt x="26" y="0"/>
                </a:moveTo>
                <a:cubicBezTo>
                  <a:pt x="23" y="0"/>
                  <a:pt x="23" y="0"/>
                  <a:pt x="23" y="0"/>
                </a:cubicBezTo>
                <a:cubicBezTo>
                  <a:pt x="20" y="0"/>
                  <a:pt x="19" y="1"/>
                  <a:pt x="19" y="4"/>
                </a:cubicBezTo>
                <a:cubicBezTo>
                  <a:pt x="19" y="6"/>
                  <a:pt x="20" y="8"/>
                  <a:pt x="23" y="8"/>
                </a:cubicBezTo>
                <a:cubicBezTo>
                  <a:pt x="26" y="8"/>
                  <a:pt x="26" y="8"/>
                  <a:pt x="26" y="8"/>
                </a:cubicBezTo>
                <a:cubicBezTo>
                  <a:pt x="28" y="8"/>
                  <a:pt x="30" y="6"/>
                  <a:pt x="30" y="4"/>
                </a:cubicBezTo>
                <a:cubicBezTo>
                  <a:pt x="30" y="1"/>
                  <a:pt x="28" y="0"/>
                  <a:pt x="26" y="0"/>
                </a:cubicBezTo>
                <a:close/>
                <a:moveTo>
                  <a:pt x="44" y="0"/>
                </a:moveTo>
                <a:cubicBezTo>
                  <a:pt x="41" y="0"/>
                  <a:pt x="41" y="0"/>
                  <a:pt x="41" y="0"/>
                </a:cubicBezTo>
                <a:cubicBezTo>
                  <a:pt x="39" y="0"/>
                  <a:pt x="37" y="1"/>
                  <a:pt x="37" y="4"/>
                </a:cubicBezTo>
                <a:cubicBezTo>
                  <a:pt x="37" y="6"/>
                  <a:pt x="39" y="8"/>
                  <a:pt x="41" y="8"/>
                </a:cubicBezTo>
                <a:cubicBezTo>
                  <a:pt x="44" y="8"/>
                  <a:pt x="44" y="8"/>
                  <a:pt x="44" y="8"/>
                </a:cubicBezTo>
                <a:cubicBezTo>
                  <a:pt x="46" y="8"/>
                  <a:pt x="48" y="6"/>
                  <a:pt x="48" y="4"/>
                </a:cubicBezTo>
                <a:cubicBezTo>
                  <a:pt x="48" y="1"/>
                  <a:pt x="46" y="0"/>
                  <a:pt x="44" y="0"/>
                </a:cubicBezTo>
                <a:close/>
                <a:moveTo>
                  <a:pt x="62" y="0"/>
                </a:moveTo>
                <a:cubicBezTo>
                  <a:pt x="59" y="0"/>
                  <a:pt x="59" y="0"/>
                  <a:pt x="59" y="0"/>
                </a:cubicBezTo>
                <a:cubicBezTo>
                  <a:pt x="57" y="0"/>
                  <a:pt x="55" y="1"/>
                  <a:pt x="55" y="4"/>
                </a:cubicBezTo>
                <a:cubicBezTo>
                  <a:pt x="55" y="6"/>
                  <a:pt x="57" y="8"/>
                  <a:pt x="59" y="8"/>
                </a:cubicBezTo>
                <a:cubicBezTo>
                  <a:pt x="62" y="8"/>
                  <a:pt x="62" y="8"/>
                  <a:pt x="62" y="8"/>
                </a:cubicBezTo>
                <a:cubicBezTo>
                  <a:pt x="64" y="8"/>
                  <a:pt x="66" y="6"/>
                  <a:pt x="66" y="4"/>
                </a:cubicBezTo>
                <a:cubicBezTo>
                  <a:pt x="66" y="1"/>
                  <a:pt x="64" y="0"/>
                  <a:pt x="62" y="0"/>
                </a:cubicBezTo>
                <a:close/>
                <a:moveTo>
                  <a:pt x="80" y="0"/>
                </a:moveTo>
                <a:cubicBezTo>
                  <a:pt x="77" y="0"/>
                  <a:pt x="77" y="0"/>
                  <a:pt x="77" y="0"/>
                </a:cubicBezTo>
                <a:cubicBezTo>
                  <a:pt x="75" y="0"/>
                  <a:pt x="73" y="1"/>
                  <a:pt x="73" y="4"/>
                </a:cubicBezTo>
                <a:cubicBezTo>
                  <a:pt x="73" y="6"/>
                  <a:pt x="75" y="8"/>
                  <a:pt x="77" y="8"/>
                </a:cubicBezTo>
                <a:cubicBezTo>
                  <a:pt x="80" y="8"/>
                  <a:pt x="80" y="8"/>
                  <a:pt x="80" y="8"/>
                </a:cubicBezTo>
                <a:cubicBezTo>
                  <a:pt x="82" y="8"/>
                  <a:pt x="84" y="6"/>
                  <a:pt x="84" y="4"/>
                </a:cubicBezTo>
                <a:cubicBezTo>
                  <a:pt x="84" y="1"/>
                  <a:pt x="82" y="0"/>
                  <a:pt x="80" y="0"/>
                </a:cubicBezTo>
                <a:close/>
                <a:moveTo>
                  <a:pt x="98" y="0"/>
                </a:moveTo>
                <a:cubicBezTo>
                  <a:pt x="95" y="0"/>
                  <a:pt x="95" y="0"/>
                  <a:pt x="95" y="0"/>
                </a:cubicBezTo>
                <a:cubicBezTo>
                  <a:pt x="93" y="0"/>
                  <a:pt x="91" y="1"/>
                  <a:pt x="91" y="4"/>
                </a:cubicBezTo>
                <a:cubicBezTo>
                  <a:pt x="91" y="6"/>
                  <a:pt x="93" y="8"/>
                  <a:pt x="95" y="8"/>
                </a:cubicBezTo>
                <a:cubicBezTo>
                  <a:pt x="98" y="8"/>
                  <a:pt x="98" y="8"/>
                  <a:pt x="98" y="8"/>
                </a:cubicBezTo>
                <a:cubicBezTo>
                  <a:pt x="101" y="8"/>
                  <a:pt x="102" y="6"/>
                  <a:pt x="102" y="4"/>
                </a:cubicBezTo>
                <a:cubicBezTo>
                  <a:pt x="102" y="1"/>
                  <a:pt x="101" y="0"/>
                  <a:pt x="98" y="0"/>
                </a:cubicBezTo>
                <a:close/>
                <a:moveTo>
                  <a:pt x="117" y="0"/>
                </a:moveTo>
                <a:cubicBezTo>
                  <a:pt x="114" y="0"/>
                  <a:pt x="114" y="0"/>
                  <a:pt x="114" y="0"/>
                </a:cubicBezTo>
                <a:cubicBezTo>
                  <a:pt x="111" y="0"/>
                  <a:pt x="110" y="1"/>
                  <a:pt x="110" y="4"/>
                </a:cubicBezTo>
                <a:cubicBezTo>
                  <a:pt x="110" y="6"/>
                  <a:pt x="111" y="8"/>
                  <a:pt x="114" y="8"/>
                </a:cubicBezTo>
                <a:cubicBezTo>
                  <a:pt x="117" y="8"/>
                  <a:pt x="117" y="8"/>
                  <a:pt x="117" y="8"/>
                </a:cubicBezTo>
                <a:cubicBezTo>
                  <a:pt x="119" y="8"/>
                  <a:pt x="121" y="6"/>
                  <a:pt x="121" y="4"/>
                </a:cubicBezTo>
                <a:cubicBezTo>
                  <a:pt x="121" y="1"/>
                  <a:pt x="119" y="0"/>
                  <a:pt x="117" y="0"/>
                </a:cubicBezTo>
                <a:close/>
                <a:moveTo>
                  <a:pt x="135" y="0"/>
                </a:moveTo>
                <a:cubicBezTo>
                  <a:pt x="132" y="0"/>
                  <a:pt x="132" y="0"/>
                  <a:pt x="132" y="0"/>
                </a:cubicBezTo>
                <a:cubicBezTo>
                  <a:pt x="130" y="0"/>
                  <a:pt x="128" y="1"/>
                  <a:pt x="128" y="4"/>
                </a:cubicBezTo>
                <a:cubicBezTo>
                  <a:pt x="128" y="6"/>
                  <a:pt x="130" y="8"/>
                  <a:pt x="132" y="8"/>
                </a:cubicBezTo>
                <a:cubicBezTo>
                  <a:pt x="135" y="8"/>
                  <a:pt x="135" y="8"/>
                  <a:pt x="135" y="8"/>
                </a:cubicBezTo>
                <a:cubicBezTo>
                  <a:pt x="137" y="8"/>
                  <a:pt x="139" y="6"/>
                  <a:pt x="139" y="4"/>
                </a:cubicBezTo>
                <a:cubicBezTo>
                  <a:pt x="139" y="1"/>
                  <a:pt x="137" y="0"/>
                  <a:pt x="135" y="0"/>
                </a:cubicBezTo>
                <a:close/>
                <a:moveTo>
                  <a:pt x="153" y="0"/>
                </a:moveTo>
                <a:cubicBezTo>
                  <a:pt x="150" y="0"/>
                  <a:pt x="150" y="0"/>
                  <a:pt x="150" y="0"/>
                </a:cubicBezTo>
                <a:cubicBezTo>
                  <a:pt x="148" y="0"/>
                  <a:pt x="146" y="1"/>
                  <a:pt x="146" y="4"/>
                </a:cubicBezTo>
                <a:cubicBezTo>
                  <a:pt x="146" y="6"/>
                  <a:pt x="148" y="8"/>
                  <a:pt x="150" y="8"/>
                </a:cubicBezTo>
                <a:cubicBezTo>
                  <a:pt x="153" y="8"/>
                  <a:pt x="153" y="8"/>
                  <a:pt x="153" y="8"/>
                </a:cubicBezTo>
                <a:cubicBezTo>
                  <a:pt x="155" y="8"/>
                  <a:pt x="157" y="6"/>
                  <a:pt x="157" y="4"/>
                </a:cubicBezTo>
                <a:cubicBezTo>
                  <a:pt x="157" y="1"/>
                  <a:pt x="155" y="0"/>
                  <a:pt x="153" y="0"/>
                </a:cubicBezTo>
                <a:close/>
                <a:moveTo>
                  <a:pt x="171" y="0"/>
                </a:moveTo>
                <a:cubicBezTo>
                  <a:pt x="168" y="0"/>
                  <a:pt x="168" y="0"/>
                  <a:pt x="168" y="0"/>
                </a:cubicBezTo>
                <a:cubicBezTo>
                  <a:pt x="166" y="0"/>
                  <a:pt x="164" y="1"/>
                  <a:pt x="164" y="4"/>
                </a:cubicBezTo>
                <a:cubicBezTo>
                  <a:pt x="164" y="6"/>
                  <a:pt x="166" y="8"/>
                  <a:pt x="168" y="8"/>
                </a:cubicBezTo>
                <a:cubicBezTo>
                  <a:pt x="171" y="8"/>
                  <a:pt x="171" y="8"/>
                  <a:pt x="171" y="8"/>
                </a:cubicBezTo>
                <a:cubicBezTo>
                  <a:pt x="173" y="8"/>
                  <a:pt x="175" y="6"/>
                  <a:pt x="175" y="4"/>
                </a:cubicBezTo>
                <a:cubicBezTo>
                  <a:pt x="175" y="1"/>
                  <a:pt x="173" y="0"/>
                  <a:pt x="171" y="0"/>
                </a:cubicBezTo>
                <a:close/>
                <a:moveTo>
                  <a:pt x="190" y="0"/>
                </a:moveTo>
                <a:cubicBezTo>
                  <a:pt x="186" y="0"/>
                  <a:pt x="186" y="0"/>
                  <a:pt x="186" y="0"/>
                </a:cubicBezTo>
                <a:cubicBezTo>
                  <a:pt x="184" y="0"/>
                  <a:pt x="182" y="1"/>
                  <a:pt x="182" y="4"/>
                </a:cubicBezTo>
                <a:cubicBezTo>
                  <a:pt x="182" y="6"/>
                  <a:pt x="184" y="8"/>
                  <a:pt x="186" y="8"/>
                </a:cubicBezTo>
                <a:cubicBezTo>
                  <a:pt x="190" y="8"/>
                  <a:pt x="190" y="8"/>
                  <a:pt x="190" y="8"/>
                </a:cubicBezTo>
                <a:cubicBezTo>
                  <a:pt x="192" y="8"/>
                  <a:pt x="194" y="6"/>
                  <a:pt x="194" y="4"/>
                </a:cubicBezTo>
                <a:cubicBezTo>
                  <a:pt x="194" y="1"/>
                  <a:pt x="192" y="0"/>
                  <a:pt x="190" y="0"/>
                </a:cubicBezTo>
                <a:close/>
                <a:moveTo>
                  <a:pt x="208" y="0"/>
                </a:moveTo>
                <a:cubicBezTo>
                  <a:pt x="205" y="0"/>
                  <a:pt x="205" y="0"/>
                  <a:pt x="205" y="0"/>
                </a:cubicBezTo>
                <a:cubicBezTo>
                  <a:pt x="202" y="0"/>
                  <a:pt x="201" y="1"/>
                  <a:pt x="201" y="4"/>
                </a:cubicBezTo>
                <a:cubicBezTo>
                  <a:pt x="201" y="6"/>
                  <a:pt x="202" y="8"/>
                  <a:pt x="205" y="8"/>
                </a:cubicBezTo>
                <a:cubicBezTo>
                  <a:pt x="208" y="8"/>
                  <a:pt x="208" y="8"/>
                  <a:pt x="208" y="8"/>
                </a:cubicBezTo>
                <a:cubicBezTo>
                  <a:pt x="210" y="8"/>
                  <a:pt x="212" y="6"/>
                  <a:pt x="212" y="4"/>
                </a:cubicBezTo>
                <a:cubicBezTo>
                  <a:pt x="212" y="1"/>
                  <a:pt x="210" y="0"/>
                  <a:pt x="208" y="0"/>
                </a:cubicBezTo>
                <a:close/>
                <a:moveTo>
                  <a:pt x="226" y="0"/>
                </a:moveTo>
                <a:cubicBezTo>
                  <a:pt x="223" y="0"/>
                  <a:pt x="223" y="0"/>
                  <a:pt x="223" y="0"/>
                </a:cubicBezTo>
                <a:cubicBezTo>
                  <a:pt x="221" y="0"/>
                  <a:pt x="219" y="1"/>
                  <a:pt x="219" y="4"/>
                </a:cubicBezTo>
                <a:cubicBezTo>
                  <a:pt x="219" y="6"/>
                  <a:pt x="221" y="8"/>
                  <a:pt x="223" y="8"/>
                </a:cubicBezTo>
                <a:cubicBezTo>
                  <a:pt x="226" y="8"/>
                  <a:pt x="226" y="8"/>
                  <a:pt x="226" y="8"/>
                </a:cubicBezTo>
                <a:cubicBezTo>
                  <a:pt x="228" y="8"/>
                  <a:pt x="230" y="6"/>
                  <a:pt x="230" y="4"/>
                </a:cubicBezTo>
                <a:cubicBezTo>
                  <a:pt x="230" y="1"/>
                  <a:pt x="228" y="0"/>
                  <a:pt x="226" y="0"/>
                </a:cubicBezTo>
                <a:close/>
                <a:moveTo>
                  <a:pt x="248" y="4"/>
                </a:moveTo>
                <a:cubicBezTo>
                  <a:pt x="248" y="4"/>
                  <a:pt x="248" y="4"/>
                  <a:pt x="248" y="4"/>
                </a:cubicBezTo>
                <a:cubicBezTo>
                  <a:pt x="248" y="2"/>
                  <a:pt x="247" y="1"/>
                  <a:pt x="246" y="1"/>
                </a:cubicBezTo>
                <a:cubicBezTo>
                  <a:pt x="246" y="0"/>
                  <a:pt x="245" y="0"/>
                  <a:pt x="244" y="0"/>
                </a:cubicBezTo>
                <a:cubicBezTo>
                  <a:pt x="241" y="0"/>
                  <a:pt x="241" y="0"/>
                  <a:pt x="241" y="0"/>
                </a:cubicBezTo>
                <a:cubicBezTo>
                  <a:pt x="239" y="0"/>
                  <a:pt x="237" y="1"/>
                  <a:pt x="237" y="4"/>
                </a:cubicBezTo>
                <a:cubicBezTo>
                  <a:pt x="237" y="6"/>
                  <a:pt x="239" y="8"/>
                  <a:pt x="241" y="8"/>
                </a:cubicBezTo>
                <a:cubicBezTo>
                  <a:pt x="244" y="8"/>
                  <a:pt x="244" y="8"/>
                  <a:pt x="244" y="8"/>
                </a:cubicBezTo>
                <a:cubicBezTo>
                  <a:pt x="244" y="4"/>
                  <a:pt x="244" y="4"/>
                  <a:pt x="244" y="4"/>
                </a:cubicBezTo>
                <a:cubicBezTo>
                  <a:pt x="240" y="4"/>
                  <a:pt x="240" y="4"/>
                  <a:pt x="240" y="4"/>
                </a:cubicBezTo>
                <a:cubicBezTo>
                  <a:pt x="240" y="4"/>
                  <a:pt x="240" y="4"/>
                  <a:pt x="240" y="4"/>
                </a:cubicBezTo>
                <a:cubicBezTo>
                  <a:pt x="240" y="6"/>
                  <a:pt x="241" y="8"/>
                  <a:pt x="244" y="8"/>
                </a:cubicBezTo>
                <a:cubicBezTo>
                  <a:pt x="246" y="8"/>
                  <a:pt x="248" y="6"/>
                  <a:pt x="248" y="4"/>
                </a:cubicBezTo>
                <a:close/>
                <a:moveTo>
                  <a:pt x="248" y="22"/>
                </a:moveTo>
                <a:cubicBezTo>
                  <a:pt x="248" y="19"/>
                  <a:pt x="248" y="19"/>
                  <a:pt x="248" y="19"/>
                </a:cubicBezTo>
                <a:cubicBezTo>
                  <a:pt x="248" y="17"/>
                  <a:pt x="246" y="15"/>
                  <a:pt x="244" y="15"/>
                </a:cubicBezTo>
                <a:cubicBezTo>
                  <a:pt x="241" y="15"/>
                  <a:pt x="240" y="17"/>
                  <a:pt x="240" y="19"/>
                </a:cubicBezTo>
                <a:cubicBezTo>
                  <a:pt x="240" y="22"/>
                  <a:pt x="240" y="22"/>
                  <a:pt x="240" y="22"/>
                </a:cubicBezTo>
                <a:cubicBezTo>
                  <a:pt x="240" y="25"/>
                  <a:pt x="241" y="26"/>
                  <a:pt x="244" y="26"/>
                </a:cubicBezTo>
                <a:cubicBezTo>
                  <a:pt x="246" y="26"/>
                  <a:pt x="248" y="25"/>
                  <a:pt x="248" y="22"/>
                </a:cubicBezTo>
                <a:close/>
                <a:moveTo>
                  <a:pt x="248" y="41"/>
                </a:moveTo>
                <a:cubicBezTo>
                  <a:pt x="248" y="38"/>
                  <a:pt x="248" y="38"/>
                  <a:pt x="248" y="38"/>
                </a:cubicBezTo>
                <a:cubicBezTo>
                  <a:pt x="248" y="35"/>
                  <a:pt x="246" y="34"/>
                  <a:pt x="244" y="34"/>
                </a:cubicBezTo>
                <a:cubicBezTo>
                  <a:pt x="241" y="34"/>
                  <a:pt x="240" y="35"/>
                  <a:pt x="240" y="38"/>
                </a:cubicBezTo>
                <a:cubicBezTo>
                  <a:pt x="240" y="41"/>
                  <a:pt x="240" y="41"/>
                  <a:pt x="240" y="41"/>
                </a:cubicBezTo>
                <a:cubicBezTo>
                  <a:pt x="240" y="43"/>
                  <a:pt x="241" y="45"/>
                  <a:pt x="244" y="45"/>
                </a:cubicBezTo>
                <a:cubicBezTo>
                  <a:pt x="246" y="45"/>
                  <a:pt x="248" y="43"/>
                  <a:pt x="248" y="41"/>
                </a:cubicBezTo>
                <a:close/>
                <a:moveTo>
                  <a:pt x="248" y="59"/>
                </a:moveTo>
                <a:cubicBezTo>
                  <a:pt x="248" y="56"/>
                  <a:pt x="248" y="56"/>
                  <a:pt x="248" y="56"/>
                </a:cubicBezTo>
                <a:cubicBezTo>
                  <a:pt x="248" y="54"/>
                  <a:pt x="246" y="52"/>
                  <a:pt x="244" y="52"/>
                </a:cubicBezTo>
                <a:cubicBezTo>
                  <a:pt x="241" y="52"/>
                  <a:pt x="240" y="54"/>
                  <a:pt x="240" y="56"/>
                </a:cubicBezTo>
                <a:cubicBezTo>
                  <a:pt x="240" y="59"/>
                  <a:pt x="240" y="59"/>
                  <a:pt x="240" y="59"/>
                </a:cubicBezTo>
                <a:cubicBezTo>
                  <a:pt x="240" y="61"/>
                  <a:pt x="241" y="63"/>
                  <a:pt x="244" y="63"/>
                </a:cubicBezTo>
                <a:cubicBezTo>
                  <a:pt x="246" y="63"/>
                  <a:pt x="248" y="61"/>
                  <a:pt x="248" y="59"/>
                </a:cubicBezTo>
                <a:close/>
                <a:moveTo>
                  <a:pt x="248" y="77"/>
                </a:moveTo>
                <a:cubicBezTo>
                  <a:pt x="248" y="74"/>
                  <a:pt x="248" y="74"/>
                  <a:pt x="248" y="74"/>
                </a:cubicBezTo>
                <a:cubicBezTo>
                  <a:pt x="248" y="72"/>
                  <a:pt x="246" y="70"/>
                  <a:pt x="244" y="70"/>
                </a:cubicBezTo>
                <a:cubicBezTo>
                  <a:pt x="241" y="70"/>
                  <a:pt x="240" y="72"/>
                  <a:pt x="240" y="74"/>
                </a:cubicBezTo>
                <a:cubicBezTo>
                  <a:pt x="240" y="77"/>
                  <a:pt x="240" y="77"/>
                  <a:pt x="240" y="77"/>
                </a:cubicBezTo>
                <a:cubicBezTo>
                  <a:pt x="240" y="79"/>
                  <a:pt x="241" y="81"/>
                  <a:pt x="244" y="81"/>
                </a:cubicBezTo>
                <a:cubicBezTo>
                  <a:pt x="246" y="81"/>
                  <a:pt x="248" y="79"/>
                  <a:pt x="248" y="77"/>
                </a:cubicBezTo>
                <a:close/>
                <a:moveTo>
                  <a:pt x="248" y="95"/>
                </a:moveTo>
                <a:cubicBezTo>
                  <a:pt x="248" y="92"/>
                  <a:pt x="248" y="92"/>
                  <a:pt x="248" y="92"/>
                </a:cubicBezTo>
                <a:cubicBezTo>
                  <a:pt x="248" y="90"/>
                  <a:pt x="246" y="88"/>
                  <a:pt x="244" y="88"/>
                </a:cubicBezTo>
                <a:cubicBezTo>
                  <a:pt x="241" y="88"/>
                  <a:pt x="240" y="90"/>
                  <a:pt x="240" y="92"/>
                </a:cubicBezTo>
                <a:cubicBezTo>
                  <a:pt x="240" y="95"/>
                  <a:pt x="240" y="95"/>
                  <a:pt x="240" y="95"/>
                </a:cubicBezTo>
                <a:cubicBezTo>
                  <a:pt x="240" y="97"/>
                  <a:pt x="241" y="99"/>
                  <a:pt x="244" y="99"/>
                </a:cubicBezTo>
                <a:cubicBezTo>
                  <a:pt x="246" y="99"/>
                  <a:pt x="248" y="97"/>
                  <a:pt x="248" y="95"/>
                </a:cubicBezTo>
                <a:close/>
                <a:moveTo>
                  <a:pt x="245" y="108"/>
                </a:moveTo>
                <a:cubicBezTo>
                  <a:pt x="244" y="108"/>
                  <a:pt x="244" y="108"/>
                  <a:pt x="244" y="108"/>
                </a:cubicBezTo>
                <a:cubicBezTo>
                  <a:pt x="244" y="112"/>
                  <a:pt x="244" y="112"/>
                  <a:pt x="244" y="112"/>
                </a:cubicBezTo>
                <a:cubicBezTo>
                  <a:pt x="248" y="112"/>
                  <a:pt x="248" y="112"/>
                  <a:pt x="248" y="112"/>
                </a:cubicBezTo>
                <a:cubicBezTo>
                  <a:pt x="248" y="110"/>
                  <a:pt x="248" y="110"/>
                  <a:pt x="248" y="110"/>
                </a:cubicBezTo>
                <a:cubicBezTo>
                  <a:pt x="248" y="108"/>
                  <a:pt x="246" y="106"/>
                  <a:pt x="244" y="106"/>
                </a:cubicBezTo>
                <a:cubicBezTo>
                  <a:pt x="241" y="106"/>
                  <a:pt x="240" y="108"/>
                  <a:pt x="240" y="110"/>
                </a:cubicBezTo>
                <a:cubicBezTo>
                  <a:pt x="240" y="112"/>
                  <a:pt x="240" y="112"/>
                  <a:pt x="240" y="112"/>
                </a:cubicBezTo>
                <a:cubicBezTo>
                  <a:pt x="240" y="113"/>
                  <a:pt x="240" y="114"/>
                  <a:pt x="241" y="114"/>
                </a:cubicBezTo>
                <a:cubicBezTo>
                  <a:pt x="241" y="115"/>
                  <a:pt x="242" y="116"/>
                  <a:pt x="244" y="116"/>
                </a:cubicBezTo>
                <a:cubicBezTo>
                  <a:pt x="245" y="116"/>
                  <a:pt x="245" y="116"/>
                  <a:pt x="245" y="116"/>
                </a:cubicBezTo>
                <a:cubicBezTo>
                  <a:pt x="248" y="116"/>
                  <a:pt x="249" y="114"/>
                  <a:pt x="249" y="112"/>
                </a:cubicBezTo>
                <a:cubicBezTo>
                  <a:pt x="249" y="109"/>
                  <a:pt x="248" y="108"/>
                  <a:pt x="245" y="108"/>
                </a:cubicBezTo>
                <a:close/>
                <a:moveTo>
                  <a:pt x="264" y="108"/>
                </a:moveTo>
                <a:cubicBezTo>
                  <a:pt x="261" y="108"/>
                  <a:pt x="261" y="108"/>
                  <a:pt x="261" y="108"/>
                </a:cubicBezTo>
                <a:cubicBezTo>
                  <a:pt x="258" y="108"/>
                  <a:pt x="257" y="109"/>
                  <a:pt x="257" y="112"/>
                </a:cubicBezTo>
                <a:cubicBezTo>
                  <a:pt x="257" y="114"/>
                  <a:pt x="258" y="116"/>
                  <a:pt x="261" y="116"/>
                </a:cubicBezTo>
                <a:cubicBezTo>
                  <a:pt x="264" y="116"/>
                  <a:pt x="264" y="116"/>
                  <a:pt x="264" y="116"/>
                </a:cubicBezTo>
                <a:cubicBezTo>
                  <a:pt x="266" y="116"/>
                  <a:pt x="268" y="114"/>
                  <a:pt x="268" y="112"/>
                </a:cubicBezTo>
                <a:cubicBezTo>
                  <a:pt x="268" y="109"/>
                  <a:pt x="266" y="108"/>
                  <a:pt x="264" y="108"/>
                </a:cubicBezTo>
                <a:close/>
                <a:moveTo>
                  <a:pt x="282" y="108"/>
                </a:moveTo>
                <a:cubicBezTo>
                  <a:pt x="279" y="108"/>
                  <a:pt x="279" y="108"/>
                  <a:pt x="279" y="108"/>
                </a:cubicBezTo>
                <a:cubicBezTo>
                  <a:pt x="277" y="108"/>
                  <a:pt x="275" y="109"/>
                  <a:pt x="275" y="112"/>
                </a:cubicBezTo>
                <a:cubicBezTo>
                  <a:pt x="275" y="114"/>
                  <a:pt x="277" y="116"/>
                  <a:pt x="279" y="116"/>
                </a:cubicBezTo>
                <a:cubicBezTo>
                  <a:pt x="282" y="116"/>
                  <a:pt x="282" y="116"/>
                  <a:pt x="282" y="116"/>
                </a:cubicBezTo>
                <a:cubicBezTo>
                  <a:pt x="284" y="116"/>
                  <a:pt x="286" y="114"/>
                  <a:pt x="286" y="112"/>
                </a:cubicBezTo>
                <a:cubicBezTo>
                  <a:pt x="286" y="109"/>
                  <a:pt x="284" y="108"/>
                  <a:pt x="282" y="108"/>
                </a:cubicBezTo>
                <a:close/>
                <a:moveTo>
                  <a:pt x="300" y="108"/>
                </a:moveTo>
                <a:cubicBezTo>
                  <a:pt x="297" y="108"/>
                  <a:pt x="297" y="108"/>
                  <a:pt x="297" y="108"/>
                </a:cubicBezTo>
                <a:cubicBezTo>
                  <a:pt x="295" y="108"/>
                  <a:pt x="293" y="109"/>
                  <a:pt x="293" y="112"/>
                </a:cubicBezTo>
                <a:cubicBezTo>
                  <a:pt x="293" y="114"/>
                  <a:pt x="295" y="116"/>
                  <a:pt x="297" y="116"/>
                </a:cubicBezTo>
                <a:cubicBezTo>
                  <a:pt x="300" y="116"/>
                  <a:pt x="300" y="116"/>
                  <a:pt x="300" y="116"/>
                </a:cubicBezTo>
                <a:cubicBezTo>
                  <a:pt x="302" y="116"/>
                  <a:pt x="304" y="114"/>
                  <a:pt x="304" y="112"/>
                </a:cubicBezTo>
                <a:cubicBezTo>
                  <a:pt x="304" y="109"/>
                  <a:pt x="302" y="108"/>
                  <a:pt x="300" y="108"/>
                </a:cubicBezTo>
                <a:close/>
                <a:moveTo>
                  <a:pt x="318" y="108"/>
                </a:moveTo>
                <a:cubicBezTo>
                  <a:pt x="315" y="108"/>
                  <a:pt x="315" y="108"/>
                  <a:pt x="315" y="108"/>
                </a:cubicBezTo>
                <a:cubicBezTo>
                  <a:pt x="313" y="108"/>
                  <a:pt x="311" y="109"/>
                  <a:pt x="311" y="112"/>
                </a:cubicBezTo>
                <a:cubicBezTo>
                  <a:pt x="311" y="114"/>
                  <a:pt x="313" y="116"/>
                  <a:pt x="315" y="116"/>
                </a:cubicBezTo>
                <a:cubicBezTo>
                  <a:pt x="318" y="116"/>
                  <a:pt x="318" y="116"/>
                  <a:pt x="318" y="116"/>
                </a:cubicBezTo>
                <a:cubicBezTo>
                  <a:pt x="321" y="116"/>
                  <a:pt x="322" y="114"/>
                  <a:pt x="322" y="112"/>
                </a:cubicBezTo>
                <a:cubicBezTo>
                  <a:pt x="322" y="109"/>
                  <a:pt x="321" y="108"/>
                  <a:pt x="318" y="108"/>
                </a:cubicBezTo>
                <a:close/>
                <a:moveTo>
                  <a:pt x="337" y="108"/>
                </a:moveTo>
                <a:cubicBezTo>
                  <a:pt x="334" y="108"/>
                  <a:pt x="334" y="108"/>
                  <a:pt x="334" y="108"/>
                </a:cubicBezTo>
                <a:cubicBezTo>
                  <a:pt x="331" y="108"/>
                  <a:pt x="330" y="109"/>
                  <a:pt x="330" y="112"/>
                </a:cubicBezTo>
                <a:cubicBezTo>
                  <a:pt x="330" y="114"/>
                  <a:pt x="331" y="116"/>
                  <a:pt x="334" y="116"/>
                </a:cubicBezTo>
                <a:cubicBezTo>
                  <a:pt x="337" y="116"/>
                  <a:pt x="337" y="116"/>
                  <a:pt x="337" y="116"/>
                </a:cubicBezTo>
                <a:cubicBezTo>
                  <a:pt x="339" y="116"/>
                  <a:pt x="341" y="114"/>
                  <a:pt x="341" y="112"/>
                </a:cubicBezTo>
                <a:cubicBezTo>
                  <a:pt x="341" y="109"/>
                  <a:pt x="339" y="108"/>
                  <a:pt x="337" y="108"/>
                </a:cubicBezTo>
                <a:close/>
                <a:moveTo>
                  <a:pt x="355" y="108"/>
                </a:moveTo>
                <a:cubicBezTo>
                  <a:pt x="352" y="108"/>
                  <a:pt x="352" y="108"/>
                  <a:pt x="352" y="108"/>
                </a:cubicBezTo>
                <a:cubicBezTo>
                  <a:pt x="350" y="108"/>
                  <a:pt x="348" y="109"/>
                  <a:pt x="348" y="112"/>
                </a:cubicBezTo>
                <a:cubicBezTo>
                  <a:pt x="348" y="114"/>
                  <a:pt x="350" y="116"/>
                  <a:pt x="352" y="116"/>
                </a:cubicBezTo>
                <a:cubicBezTo>
                  <a:pt x="355" y="116"/>
                  <a:pt x="355" y="116"/>
                  <a:pt x="355" y="116"/>
                </a:cubicBezTo>
                <a:cubicBezTo>
                  <a:pt x="357" y="116"/>
                  <a:pt x="359" y="114"/>
                  <a:pt x="359" y="112"/>
                </a:cubicBezTo>
                <a:cubicBezTo>
                  <a:pt x="359" y="109"/>
                  <a:pt x="357" y="108"/>
                  <a:pt x="355" y="108"/>
                </a:cubicBezTo>
                <a:close/>
                <a:moveTo>
                  <a:pt x="373" y="108"/>
                </a:moveTo>
                <a:cubicBezTo>
                  <a:pt x="370" y="108"/>
                  <a:pt x="370" y="108"/>
                  <a:pt x="370" y="108"/>
                </a:cubicBezTo>
                <a:cubicBezTo>
                  <a:pt x="368" y="108"/>
                  <a:pt x="366" y="109"/>
                  <a:pt x="366" y="112"/>
                </a:cubicBezTo>
                <a:cubicBezTo>
                  <a:pt x="366" y="114"/>
                  <a:pt x="368" y="116"/>
                  <a:pt x="370" y="116"/>
                </a:cubicBezTo>
                <a:cubicBezTo>
                  <a:pt x="373" y="116"/>
                  <a:pt x="373" y="116"/>
                  <a:pt x="373" y="116"/>
                </a:cubicBezTo>
                <a:cubicBezTo>
                  <a:pt x="375" y="116"/>
                  <a:pt x="377" y="114"/>
                  <a:pt x="377" y="112"/>
                </a:cubicBezTo>
                <a:cubicBezTo>
                  <a:pt x="377" y="109"/>
                  <a:pt x="375" y="108"/>
                  <a:pt x="373" y="108"/>
                </a:cubicBezTo>
                <a:close/>
                <a:moveTo>
                  <a:pt x="391" y="108"/>
                </a:moveTo>
                <a:cubicBezTo>
                  <a:pt x="388" y="108"/>
                  <a:pt x="388" y="108"/>
                  <a:pt x="388" y="108"/>
                </a:cubicBezTo>
                <a:cubicBezTo>
                  <a:pt x="386" y="108"/>
                  <a:pt x="384" y="109"/>
                  <a:pt x="384" y="112"/>
                </a:cubicBezTo>
                <a:cubicBezTo>
                  <a:pt x="384" y="114"/>
                  <a:pt x="386" y="116"/>
                  <a:pt x="388" y="116"/>
                </a:cubicBezTo>
                <a:cubicBezTo>
                  <a:pt x="391" y="116"/>
                  <a:pt x="391" y="116"/>
                  <a:pt x="391" y="116"/>
                </a:cubicBezTo>
                <a:cubicBezTo>
                  <a:pt x="393" y="116"/>
                  <a:pt x="395" y="114"/>
                  <a:pt x="395" y="112"/>
                </a:cubicBezTo>
                <a:cubicBezTo>
                  <a:pt x="395" y="109"/>
                  <a:pt x="393" y="108"/>
                  <a:pt x="391" y="10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1" name="Freeform 256">
            <a:extLst>
              <a:ext uri="{FF2B5EF4-FFF2-40B4-BE49-F238E27FC236}">
                <a16:creationId xmlns:a16="http://schemas.microsoft.com/office/drawing/2014/main" id="{57F105F0-8B3B-484D-8C7F-3ED51A59FD10}"/>
              </a:ext>
            </a:extLst>
          </p:cNvPr>
          <p:cNvSpPr>
            <a:spLocks/>
          </p:cNvSpPr>
          <p:nvPr/>
        </p:nvSpPr>
        <p:spPr bwMode="auto">
          <a:xfrm>
            <a:off x="10646197" y="5604455"/>
            <a:ext cx="456523" cy="175119"/>
          </a:xfrm>
          <a:custGeom>
            <a:avLst/>
            <a:gdLst>
              <a:gd name="T0" fmla="*/ 432 w 451"/>
              <a:gd name="T1" fmla="*/ 0 h 173"/>
              <a:gd name="T2" fmla="*/ 432 w 451"/>
              <a:gd name="T3" fmla="*/ 154 h 173"/>
              <a:gd name="T4" fmla="*/ 0 w 451"/>
              <a:gd name="T5" fmla="*/ 154 h 173"/>
              <a:gd name="T6" fmla="*/ 0 w 451"/>
              <a:gd name="T7" fmla="*/ 173 h 173"/>
              <a:gd name="T8" fmla="*/ 451 w 451"/>
              <a:gd name="T9" fmla="*/ 173 h 173"/>
              <a:gd name="T10" fmla="*/ 451 w 451"/>
              <a:gd name="T11" fmla="*/ 0 h 173"/>
              <a:gd name="T12" fmla="*/ 432 w 451"/>
              <a:gd name="T13" fmla="*/ 0 h 173"/>
              <a:gd name="T14" fmla="*/ 432 w 451"/>
              <a:gd name="T15" fmla="*/ 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1" h="173">
                <a:moveTo>
                  <a:pt x="432" y="0"/>
                </a:moveTo>
                <a:lnTo>
                  <a:pt x="432" y="154"/>
                </a:lnTo>
                <a:lnTo>
                  <a:pt x="0" y="154"/>
                </a:lnTo>
                <a:lnTo>
                  <a:pt x="0" y="173"/>
                </a:lnTo>
                <a:lnTo>
                  <a:pt x="451" y="173"/>
                </a:lnTo>
                <a:lnTo>
                  <a:pt x="451" y="0"/>
                </a:lnTo>
                <a:lnTo>
                  <a:pt x="432" y="0"/>
                </a:lnTo>
                <a:lnTo>
                  <a:pt x="432" y="0"/>
                </a:ln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2" name="Freeform 257">
            <a:extLst>
              <a:ext uri="{FF2B5EF4-FFF2-40B4-BE49-F238E27FC236}">
                <a16:creationId xmlns:a16="http://schemas.microsoft.com/office/drawing/2014/main" id="{75DE400A-10A6-49A4-BD4B-8CA5A9B47F32}"/>
              </a:ext>
            </a:extLst>
          </p:cNvPr>
          <p:cNvSpPr>
            <a:spLocks noEditPoints="1"/>
          </p:cNvSpPr>
          <p:nvPr/>
        </p:nvSpPr>
        <p:spPr bwMode="auto">
          <a:xfrm>
            <a:off x="10636075" y="5354430"/>
            <a:ext cx="1163071" cy="353274"/>
          </a:xfrm>
          <a:custGeom>
            <a:avLst/>
            <a:gdLst>
              <a:gd name="T0" fmla="*/ 484 w 484"/>
              <a:gd name="T1" fmla="*/ 143 h 147"/>
              <a:gd name="T2" fmla="*/ 472 w 484"/>
              <a:gd name="T3" fmla="*/ 143 h 147"/>
              <a:gd name="T4" fmla="*/ 457 w 484"/>
              <a:gd name="T5" fmla="*/ 147 h 147"/>
              <a:gd name="T6" fmla="*/ 453 w 484"/>
              <a:gd name="T7" fmla="*/ 139 h 147"/>
              <a:gd name="T8" fmla="*/ 429 w 484"/>
              <a:gd name="T9" fmla="*/ 147 h 147"/>
              <a:gd name="T10" fmla="*/ 433 w 484"/>
              <a:gd name="T11" fmla="*/ 139 h 147"/>
              <a:gd name="T12" fmla="*/ 429 w 484"/>
              <a:gd name="T13" fmla="*/ 147 h 147"/>
              <a:gd name="T14" fmla="*/ 414 w 484"/>
              <a:gd name="T15" fmla="*/ 143 h 147"/>
              <a:gd name="T16" fmla="*/ 402 w 484"/>
              <a:gd name="T17" fmla="*/ 143 h 147"/>
              <a:gd name="T18" fmla="*/ 386 w 484"/>
              <a:gd name="T19" fmla="*/ 147 h 147"/>
              <a:gd name="T20" fmla="*/ 382 w 484"/>
              <a:gd name="T21" fmla="*/ 139 h 147"/>
              <a:gd name="T22" fmla="*/ 359 w 484"/>
              <a:gd name="T23" fmla="*/ 147 h 147"/>
              <a:gd name="T24" fmla="*/ 363 w 484"/>
              <a:gd name="T25" fmla="*/ 139 h 147"/>
              <a:gd name="T26" fmla="*/ 359 w 484"/>
              <a:gd name="T27" fmla="*/ 147 h 147"/>
              <a:gd name="T28" fmla="*/ 344 w 484"/>
              <a:gd name="T29" fmla="*/ 142 h 147"/>
              <a:gd name="T30" fmla="*/ 344 w 484"/>
              <a:gd name="T31" fmla="*/ 130 h 147"/>
              <a:gd name="T32" fmla="*/ 340 w 484"/>
              <a:gd name="T33" fmla="*/ 115 h 147"/>
              <a:gd name="T34" fmla="*/ 348 w 484"/>
              <a:gd name="T35" fmla="*/ 111 h 147"/>
              <a:gd name="T36" fmla="*/ 340 w 484"/>
              <a:gd name="T37" fmla="*/ 87 h 147"/>
              <a:gd name="T38" fmla="*/ 348 w 484"/>
              <a:gd name="T39" fmla="*/ 91 h 147"/>
              <a:gd name="T40" fmla="*/ 340 w 484"/>
              <a:gd name="T41" fmla="*/ 87 h 147"/>
              <a:gd name="T42" fmla="*/ 344 w 484"/>
              <a:gd name="T43" fmla="*/ 72 h 147"/>
              <a:gd name="T44" fmla="*/ 344 w 484"/>
              <a:gd name="T45" fmla="*/ 60 h 147"/>
              <a:gd name="T46" fmla="*/ 340 w 484"/>
              <a:gd name="T47" fmla="*/ 44 h 147"/>
              <a:gd name="T48" fmla="*/ 348 w 484"/>
              <a:gd name="T49" fmla="*/ 40 h 147"/>
              <a:gd name="T50" fmla="*/ 340 w 484"/>
              <a:gd name="T51" fmla="*/ 17 h 147"/>
              <a:gd name="T52" fmla="*/ 348 w 484"/>
              <a:gd name="T53" fmla="*/ 21 h 147"/>
              <a:gd name="T54" fmla="*/ 340 w 484"/>
              <a:gd name="T55" fmla="*/ 17 h 147"/>
              <a:gd name="T56" fmla="*/ 341 w 484"/>
              <a:gd name="T57" fmla="*/ 4 h 147"/>
              <a:gd name="T58" fmla="*/ 330 w 484"/>
              <a:gd name="T59" fmla="*/ 4 h 147"/>
              <a:gd name="T60" fmla="*/ 314 w 484"/>
              <a:gd name="T61" fmla="*/ 8 h 147"/>
              <a:gd name="T62" fmla="*/ 310 w 484"/>
              <a:gd name="T63" fmla="*/ 0 h 147"/>
              <a:gd name="T64" fmla="*/ 286 w 484"/>
              <a:gd name="T65" fmla="*/ 8 h 147"/>
              <a:gd name="T66" fmla="*/ 290 w 484"/>
              <a:gd name="T67" fmla="*/ 0 h 147"/>
              <a:gd name="T68" fmla="*/ 286 w 484"/>
              <a:gd name="T69" fmla="*/ 8 h 147"/>
              <a:gd name="T70" fmla="*/ 271 w 484"/>
              <a:gd name="T71" fmla="*/ 4 h 147"/>
              <a:gd name="T72" fmla="*/ 259 w 484"/>
              <a:gd name="T73" fmla="*/ 4 h 147"/>
              <a:gd name="T74" fmla="*/ 243 w 484"/>
              <a:gd name="T75" fmla="*/ 8 h 147"/>
              <a:gd name="T76" fmla="*/ 239 w 484"/>
              <a:gd name="T77" fmla="*/ 0 h 147"/>
              <a:gd name="T78" fmla="*/ 216 w 484"/>
              <a:gd name="T79" fmla="*/ 8 h 147"/>
              <a:gd name="T80" fmla="*/ 220 w 484"/>
              <a:gd name="T81" fmla="*/ 0 h 147"/>
              <a:gd name="T82" fmla="*/ 216 w 484"/>
              <a:gd name="T83" fmla="*/ 8 h 147"/>
              <a:gd name="T84" fmla="*/ 200 w 484"/>
              <a:gd name="T85" fmla="*/ 4 h 147"/>
              <a:gd name="T86" fmla="*/ 188 w 484"/>
              <a:gd name="T87" fmla="*/ 4 h 147"/>
              <a:gd name="T88" fmla="*/ 173 w 484"/>
              <a:gd name="T89" fmla="*/ 8 h 147"/>
              <a:gd name="T90" fmla="*/ 169 w 484"/>
              <a:gd name="T91" fmla="*/ 0 h 147"/>
              <a:gd name="T92" fmla="*/ 145 w 484"/>
              <a:gd name="T93" fmla="*/ 8 h 147"/>
              <a:gd name="T94" fmla="*/ 149 w 484"/>
              <a:gd name="T95" fmla="*/ 0 h 147"/>
              <a:gd name="T96" fmla="*/ 145 w 484"/>
              <a:gd name="T97" fmla="*/ 8 h 147"/>
              <a:gd name="T98" fmla="*/ 130 w 484"/>
              <a:gd name="T99" fmla="*/ 4 h 147"/>
              <a:gd name="T100" fmla="*/ 118 w 484"/>
              <a:gd name="T101" fmla="*/ 4 h 147"/>
              <a:gd name="T102" fmla="*/ 102 w 484"/>
              <a:gd name="T103" fmla="*/ 8 h 147"/>
              <a:gd name="T104" fmla="*/ 98 w 484"/>
              <a:gd name="T105" fmla="*/ 0 h 147"/>
              <a:gd name="T106" fmla="*/ 75 w 484"/>
              <a:gd name="T107" fmla="*/ 8 h 147"/>
              <a:gd name="T108" fmla="*/ 79 w 484"/>
              <a:gd name="T109" fmla="*/ 0 h 147"/>
              <a:gd name="T110" fmla="*/ 75 w 484"/>
              <a:gd name="T111" fmla="*/ 8 h 147"/>
              <a:gd name="T112" fmla="*/ 59 w 484"/>
              <a:gd name="T113" fmla="*/ 4 h 147"/>
              <a:gd name="T114" fmla="*/ 47 w 484"/>
              <a:gd name="T115" fmla="*/ 4 h 147"/>
              <a:gd name="T116" fmla="*/ 32 w 484"/>
              <a:gd name="T117" fmla="*/ 8 h 147"/>
              <a:gd name="T118" fmla="*/ 28 w 484"/>
              <a:gd name="T119" fmla="*/ 0 h 147"/>
              <a:gd name="T120" fmla="*/ 4 w 484"/>
              <a:gd name="T121" fmla="*/ 8 h 147"/>
              <a:gd name="T122" fmla="*/ 8 w 484"/>
              <a:gd name="T123" fmla="*/ 0 h 147"/>
              <a:gd name="T124" fmla="*/ 4 w 484"/>
              <a:gd name="T125" fmla="*/ 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4" h="147">
                <a:moveTo>
                  <a:pt x="476" y="147"/>
                </a:moveTo>
                <a:cubicBezTo>
                  <a:pt x="480" y="147"/>
                  <a:pt x="480" y="147"/>
                  <a:pt x="480" y="147"/>
                </a:cubicBezTo>
                <a:cubicBezTo>
                  <a:pt x="482" y="147"/>
                  <a:pt x="484" y="145"/>
                  <a:pt x="484" y="143"/>
                </a:cubicBezTo>
                <a:cubicBezTo>
                  <a:pt x="484" y="141"/>
                  <a:pt x="482" y="139"/>
                  <a:pt x="480" y="139"/>
                </a:cubicBezTo>
                <a:cubicBezTo>
                  <a:pt x="476" y="139"/>
                  <a:pt x="476" y="139"/>
                  <a:pt x="476" y="139"/>
                </a:cubicBezTo>
                <a:cubicBezTo>
                  <a:pt x="474" y="139"/>
                  <a:pt x="472" y="141"/>
                  <a:pt x="472" y="143"/>
                </a:cubicBezTo>
                <a:cubicBezTo>
                  <a:pt x="472" y="145"/>
                  <a:pt x="474" y="147"/>
                  <a:pt x="476" y="147"/>
                </a:cubicBezTo>
                <a:close/>
                <a:moveTo>
                  <a:pt x="453" y="147"/>
                </a:moveTo>
                <a:cubicBezTo>
                  <a:pt x="457" y="147"/>
                  <a:pt x="457" y="147"/>
                  <a:pt x="457" y="147"/>
                </a:cubicBezTo>
                <a:cubicBezTo>
                  <a:pt x="459" y="147"/>
                  <a:pt x="461" y="145"/>
                  <a:pt x="461" y="143"/>
                </a:cubicBezTo>
                <a:cubicBezTo>
                  <a:pt x="461" y="141"/>
                  <a:pt x="459" y="139"/>
                  <a:pt x="457" y="139"/>
                </a:cubicBezTo>
                <a:cubicBezTo>
                  <a:pt x="453" y="139"/>
                  <a:pt x="453" y="139"/>
                  <a:pt x="453" y="139"/>
                </a:cubicBezTo>
                <a:cubicBezTo>
                  <a:pt x="450" y="139"/>
                  <a:pt x="449" y="141"/>
                  <a:pt x="449" y="143"/>
                </a:cubicBezTo>
                <a:cubicBezTo>
                  <a:pt x="449" y="145"/>
                  <a:pt x="450" y="147"/>
                  <a:pt x="453" y="147"/>
                </a:cubicBezTo>
                <a:close/>
                <a:moveTo>
                  <a:pt x="429" y="147"/>
                </a:moveTo>
                <a:cubicBezTo>
                  <a:pt x="433" y="147"/>
                  <a:pt x="433" y="147"/>
                  <a:pt x="433" y="147"/>
                </a:cubicBezTo>
                <a:cubicBezTo>
                  <a:pt x="435" y="147"/>
                  <a:pt x="437" y="145"/>
                  <a:pt x="437" y="143"/>
                </a:cubicBezTo>
                <a:cubicBezTo>
                  <a:pt x="437" y="141"/>
                  <a:pt x="435" y="139"/>
                  <a:pt x="433" y="139"/>
                </a:cubicBezTo>
                <a:cubicBezTo>
                  <a:pt x="429" y="139"/>
                  <a:pt x="429" y="139"/>
                  <a:pt x="429" y="139"/>
                </a:cubicBezTo>
                <a:cubicBezTo>
                  <a:pt x="427" y="139"/>
                  <a:pt x="425" y="141"/>
                  <a:pt x="425" y="143"/>
                </a:cubicBezTo>
                <a:cubicBezTo>
                  <a:pt x="425" y="145"/>
                  <a:pt x="427" y="147"/>
                  <a:pt x="429" y="147"/>
                </a:cubicBezTo>
                <a:close/>
                <a:moveTo>
                  <a:pt x="406" y="147"/>
                </a:moveTo>
                <a:cubicBezTo>
                  <a:pt x="410" y="147"/>
                  <a:pt x="410" y="147"/>
                  <a:pt x="410" y="147"/>
                </a:cubicBezTo>
                <a:cubicBezTo>
                  <a:pt x="412" y="147"/>
                  <a:pt x="414" y="145"/>
                  <a:pt x="414" y="143"/>
                </a:cubicBezTo>
                <a:cubicBezTo>
                  <a:pt x="414" y="141"/>
                  <a:pt x="412" y="139"/>
                  <a:pt x="410" y="139"/>
                </a:cubicBezTo>
                <a:cubicBezTo>
                  <a:pt x="406" y="139"/>
                  <a:pt x="406" y="139"/>
                  <a:pt x="406" y="139"/>
                </a:cubicBezTo>
                <a:cubicBezTo>
                  <a:pt x="403" y="139"/>
                  <a:pt x="402" y="141"/>
                  <a:pt x="402" y="143"/>
                </a:cubicBezTo>
                <a:cubicBezTo>
                  <a:pt x="402" y="145"/>
                  <a:pt x="403" y="147"/>
                  <a:pt x="406" y="147"/>
                </a:cubicBezTo>
                <a:close/>
                <a:moveTo>
                  <a:pt x="382" y="147"/>
                </a:moveTo>
                <a:cubicBezTo>
                  <a:pt x="386" y="147"/>
                  <a:pt x="386" y="147"/>
                  <a:pt x="386" y="147"/>
                </a:cubicBezTo>
                <a:cubicBezTo>
                  <a:pt x="388" y="147"/>
                  <a:pt x="390" y="145"/>
                  <a:pt x="390" y="143"/>
                </a:cubicBezTo>
                <a:cubicBezTo>
                  <a:pt x="390" y="141"/>
                  <a:pt x="388" y="139"/>
                  <a:pt x="386" y="139"/>
                </a:cubicBezTo>
                <a:cubicBezTo>
                  <a:pt x="382" y="139"/>
                  <a:pt x="382" y="139"/>
                  <a:pt x="382" y="139"/>
                </a:cubicBezTo>
                <a:cubicBezTo>
                  <a:pt x="380" y="139"/>
                  <a:pt x="378" y="141"/>
                  <a:pt x="378" y="143"/>
                </a:cubicBezTo>
                <a:cubicBezTo>
                  <a:pt x="378" y="145"/>
                  <a:pt x="380" y="147"/>
                  <a:pt x="382" y="147"/>
                </a:cubicBezTo>
                <a:close/>
                <a:moveTo>
                  <a:pt x="359" y="147"/>
                </a:moveTo>
                <a:cubicBezTo>
                  <a:pt x="363" y="147"/>
                  <a:pt x="363" y="147"/>
                  <a:pt x="363" y="147"/>
                </a:cubicBezTo>
                <a:cubicBezTo>
                  <a:pt x="365" y="147"/>
                  <a:pt x="367" y="145"/>
                  <a:pt x="367" y="143"/>
                </a:cubicBezTo>
                <a:cubicBezTo>
                  <a:pt x="367" y="141"/>
                  <a:pt x="365" y="139"/>
                  <a:pt x="363" y="139"/>
                </a:cubicBezTo>
                <a:cubicBezTo>
                  <a:pt x="359" y="139"/>
                  <a:pt x="359" y="139"/>
                  <a:pt x="359" y="139"/>
                </a:cubicBezTo>
                <a:cubicBezTo>
                  <a:pt x="356" y="139"/>
                  <a:pt x="355" y="141"/>
                  <a:pt x="355" y="143"/>
                </a:cubicBezTo>
                <a:cubicBezTo>
                  <a:pt x="355" y="145"/>
                  <a:pt x="356" y="147"/>
                  <a:pt x="359" y="147"/>
                </a:cubicBezTo>
                <a:close/>
                <a:moveTo>
                  <a:pt x="340" y="134"/>
                </a:moveTo>
                <a:cubicBezTo>
                  <a:pt x="340" y="138"/>
                  <a:pt x="340" y="138"/>
                  <a:pt x="340" y="138"/>
                </a:cubicBezTo>
                <a:cubicBezTo>
                  <a:pt x="340" y="140"/>
                  <a:pt x="342" y="142"/>
                  <a:pt x="344" y="142"/>
                </a:cubicBezTo>
                <a:cubicBezTo>
                  <a:pt x="346" y="142"/>
                  <a:pt x="348" y="140"/>
                  <a:pt x="348" y="138"/>
                </a:cubicBezTo>
                <a:cubicBezTo>
                  <a:pt x="348" y="134"/>
                  <a:pt x="348" y="134"/>
                  <a:pt x="348" y="134"/>
                </a:cubicBezTo>
                <a:cubicBezTo>
                  <a:pt x="348" y="132"/>
                  <a:pt x="346" y="130"/>
                  <a:pt x="344" y="130"/>
                </a:cubicBezTo>
                <a:cubicBezTo>
                  <a:pt x="342" y="130"/>
                  <a:pt x="340" y="132"/>
                  <a:pt x="340" y="134"/>
                </a:cubicBezTo>
                <a:close/>
                <a:moveTo>
                  <a:pt x="340" y="111"/>
                </a:moveTo>
                <a:cubicBezTo>
                  <a:pt x="340" y="115"/>
                  <a:pt x="340" y="115"/>
                  <a:pt x="340" y="115"/>
                </a:cubicBezTo>
                <a:cubicBezTo>
                  <a:pt x="340" y="117"/>
                  <a:pt x="342" y="119"/>
                  <a:pt x="344" y="119"/>
                </a:cubicBezTo>
                <a:cubicBezTo>
                  <a:pt x="346" y="119"/>
                  <a:pt x="348" y="117"/>
                  <a:pt x="348" y="115"/>
                </a:cubicBezTo>
                <a:cubicBezTo>
                  <a:pt x="348" y="111"/>
                  <a:pt x="348" y="111"/>
                  <a:pt x="348" y="111"/>
                </a:cubicBezTo>
                <a:cubicBezTo>
                  <a:pt x="348" y="109"/>
                  <a:pt x="346" y="107"/>
                  <a:pt x="344" y="107"/>
                </a:cubicBezTo>
                <a:cubicBezTo>
                  <a:pt x="342" y="107"/>
                  <a:pt x="340" y="109"/>
                  <a:pt x="340" y="111"/>
                </a:cubicBezTo>
                <a:close/>
                <a:moveTo>
                  <a:pt x="340" y="87"/>
                </a:moveTo>
                <a:cubicBezTo>
                  <a:pt x="340" y="91"/>
                  <a:pt x="340" y="91"/>
                  <a:pt x="340" y="91"/>
                </a:cubicBezTo>
                <a:cubicBezTo>
                  <a:pt x="340" y="93"/>
                  <a:pt x="342" y="95"/>
                  <a:pt x="344" y="95"/>
                </a:cubicBezTo>
                <a:cubicBezTo>
                  <a:pt x="346" y="95"/>
                  <a:pt x="348" y="93"/>
                  <a:pt x="348" y="91"/>
                </a:cubicBezTo>
                <a:cubicBezTo>
                  <a:pt x="348" y="87"/>
                  <a:pt x="348" y="87"/>
                  <a:pt x="348" y="87"/>
                </a:cubicBezTo>
                <a:cubicBezTo>
                  <a:pt x="348" y="85"/>
                  <a:pt x="346" y="83"/>
                  <a:pt x="344" y="83"/>
                </a:cubicBezTo>
                <a:cubicBezTo>
                  <a:pt x="342" y="83"/>
                  <a:pt x="340" y="85"/>
                  <a:pt x="340" y="87"/>
                </a:cubicBezTo>
                <a:close/>
                <a:moveTo>
                  <a:pt x="340" y="64"/>
                </a:moveTo>
                <a:cubicBezTo>
                  <a:pt x="340" y="68"/>
                  <a:pt x="340" y="68"/>
                  <a:pt x="340" y="68"/>
                </a:cubicBezTo>
                <a:cubicBezTo>
                  <a:pt x="340" y="70"/>
                  <a:pt x="342" y="72"/>
                  <a:pt x="344" y="72"/>
                </a:cubicBezTo>
                <a:cubicBezTo>
                  <a:pt x="346" y="72"/>
                  <a:pt x="348" y="70"/>
                  <a:pt x="348" y="68"/>
                </a:cubicBezTo>
                <a:cubicBezTo>
                  <a:pt x="348" y="64"/>
                  <a:pt x="348" y="64"/>
                  <a:pt x="348" y="64"/>
                </a:cubicBezTo>
                <a:cubicBezTo>
                  <a:pt x="348" y="61"/>
                  <a:pt x="346" y="60"/>
                  <a:pt x="344" y="60"/>
                </a:cubicBezTo>
                <a:cubicBezTo>
                  <a:pt x="342" y="60"/>
                  <a:pt x="340" y="61"/>
                  <a:pt x="340" y="64"/>
                </a:cubicBezTo>
                <a:close/>
                <a:moveTo>
                  <a:pt x="340" y="40"/>
                </a:moveTo>
                <a:cubicBezTo>
                  <a:pt x="340" y="44"/>
                  <a:pt x="340" y="44"/>
                  <a:pt x="340" y="44"/>
                </a:cubicBezTo>
                <a:cubicBezTo>
                  <a:pt x="340" y="46"/>
                  <a:pt x="342" y="48"/>
                  <a:pt x="344" y="48"/>
                </a:cubicBezTo>
                <a:cubicBezTo>
                  <a:pt x="346" y="48"/>
                  <a:pt x="348" y="46"/>
                  <a:pt x="348" y="44"/>
                </a:cubicBezTo>
                <a:cubicBezTo>
                  <a:pt x="348" y="40"/>
                  <a:pt x="348" y="40"/>
                  <a:pt x="348" y="40"/>
                </a:cubicBezTo>
                <a:cubicBezTo>
                  <a:pt x="348" y="38"/>
                  <a:pt x="346" y="36"/>
                  <a:pt x="344" y="36"/>
                </a:cubicBezTo>
                <a:cubicBezTo>
                  <a:pt x="342" y="36"/>
                  <a:pt x="340" y="38"/>
                  <a:pt x="340" y="40"/>
                </a:cubicBezTo>
                <a:close/>
                <a:moveTo>
                  <a:pt x="340" y="17"/>
                </a:moveTo>
                <a:cubicBezTo>
                  <a:pt x="340" y="21"/>
                  <a:pt x="340" y="21"/>
                  <a:pt x="340" y="21"/>
                </a:cubicBezTo>
                <a:cubicBezTo>
                  <a:pt x="340" y="23"/>
                  <a:pt x="342" y="25"/>
                  <a:pt x="344" y="25"/>
                </a:cubicBezTo>
                <a:cubicBezTo>
                  <a:pt x="346" y="25"/>
                  <a:pt x="348" y="23"/>
                  <a:pt x="348" y="21"/>
                </a:cubicBezTo>
                <a:cubicBezTo>
                  <a:pt x="348" y="17"/>
                  <a:pt x="348" y="17"/>
                  <a:pt x="348" y="17"/>
                </a:cubicBezTo>
                <a:cubicBezTo>
                  <a:pt x="348" y="14"/>
                  <a:pt x="346" y="13"/>
                  <a:pt x="344" y="13"/>
                </a:cubicBezTo>
                <a:cubicBezTo>
                  <a:pt x="342" y="13"/>
                  <a:pt x="340" y="14"/>
                  <a:pt x="340" y="17"/>
                </a:cubicBezTo>
                <a:close/>
                <a:moveTo>
                  <a:pt x="334" y="8"/>
                </a:moveTo>
                <a:cubicBezTo>
                  <a:pt x="337" y="8"/>
                  <a:pt x="337" y="8"/>
                  <a:pt x="337" y="8"/>
                </a:cubicBezTo>
                <a:cubicBezTo>
                  <a:pt x="340" y="8"/>
                  <a:pt x="341" y="6"/>
                  <a:pt x="341" y="4"/>
                </a:cubicBezTo>
                <a:cubicBezTo>
                  <a:pt x="341" y="2"/>
                  <a:pt x="340" y="0"/>
                  <a:pt x="337" y="0"/>
                </a:cubicBezTo>
                <a:cubicBezTo>
                  <a:pt x="334" y="0"/>
                  <a:pt x="334" y="0"/>
                  <a:pt x="334" y="0"/>
                </a:cubicBezTo>
                <a:cubicBezTo>
                  <a:pt x="331" y="0"/>
                  <a:pt x="330" y="2"/>
                  <a:pt x="330" y="4"/>
                </a:cubicBezTo>
                <a:cubicBezTo>
                  <a:pt x="330" y="6"/>
                  <a:pt x="331" y="8"/>
                  <a:pt x="334" y="8"/>
                </a:cubicBezTo>
                <a:close/>
                <a:moveTo>
                  <a:pt x="310" y="8"/>
                </a:moveTo>
                <a:cubicBezTo>
                  <a:pt x="314" y="8"/>
                  <a:pt x="314" y="8"/>
                  <a:pt x="314" y="8"/>
                </a:cubicBezTo>
                <a:cubicBezTo>
                  <a:pt x="316" y="8"/>
                  <a:pt x="318" y="6"/>
                  <a:pt x="318" y="4"/>
                </a:cubicBezTo>
                <a:cubicBezTo>
                  <a:pt x="318" y="2"/>
                  <a:pt x="316" y="0"/>
                  <a:pt x="314" y="0"/>
                </a:cubicBezTo>
                <a:cubicBezTo>
                  <a:pt x="310" y="0"/>
                  <a:pt x="310" y="0"/>
                  <a:pt x="310" y="0"/>
                </a:cubicBezTo>
                <a:cubicBezTo>
                  <a:pt x="308" y="0"/>
                  <a:pt x="306" y="2"/>
                  <a:pt x="306" y="4"/>
                </a:cubicBezTo>
                <a:cubicBezTo>
                  <a:pt x="306" y="6"/>
                  <a:pt x="308" y="8"/>
                  <a:pt x="310" y="8"/>
                </a:cubicBezTo>
                <a:close/>
                <a:moveTo>
                  <a:pt x="286" y="8"/>
                </a:moveTo>
                <a:cubicBezTo>
                  <a:pt x="290" y="8"/>
                  <a:pt x="290" y="8"/>
                  <a:pt x="290" y="8"/>
                </a:cubicBezTo>
                <a:cubicBezTo>
                  <a:pt x="293" y="8"/>
                  <a:pt x="294" y="6"/>
                  <a:pt x="294" y="4"/>
                </a:cubicBezTo>
                <a:cubicBezTo>
                  <a:pt x="294" y="2"/>
                  <a:pt x="293" y="0"/>
                  <a:pt x="290" y="0"/>
                </a:cubicBezTo>
                <a:cubicBezTo>
                  <a:pt x="286" y="0"/>
                  <a:pt x="286" y="0"/>
                  <a:pt x="286" y="0"/>
                </a:cubicBezTo>
                <a:cubicBezTo>
                  <a:pt x="284" y="0"/>
                  <a:pt x="282" y="2"/>
                  <a:pt x="282" y="4"/>
                </a:cubicBezTo>
                <a:cubicBezTo>
                  <a:pt x="282" y="6"/>
                  <a:pt x="284" y="8"/>
                  <a:pt x="286" y="8"/>
                </a:cubicBezTo>
                <a:close/>
                <a:moveTo>
                  <a:pt x="263" y="8"/>
                </a:moveTo>
                <a:cubicBezTo>
                  <a:pt x="267" y="8"/>
                  <a:pt x="267" y="8"/>
                  <a:pt x="267" y="8"/>
                </a:cubicBezTo>
                <a:cubicBezTo>
                  <a:pt x="269" y="8"/>
                  <a:pt x="271" y="6"/>
                  <a:pt x="271" y="4"/>
                </a:cubicBezTo>
                <a:cubicBezTo>
                  <a:pt x="271" y="2"/>
                  <a:pt x="269" y="0"/>
                  <a:pt x="267" y="0"/>
                </a:cubicBezTo>
                <a:cubicBezTo>
                  <a:pt x="263" y="0"/>
                  <a:pt x="263" y="0"/>
                  <a:pt x="263" y="0"/>
                </a:cubicBezTo>
                <a:cubicBezTo>
                  <a:pt x="261" y="0"/>
                  <a:pt x="259" y="2"/>
                  <a:pt x="259" y="4"/>
                </a:cubicBezTo>
                <a:cubicBezTo>
                  <a:pt x="259" y="6"/>
                  <a:pt x="261" y="8"/>
                  <a:pt x="263" y="8"/>
                </a:cubicBezTo>
                <a:close/>
                <a:moveTo>
                  <a:pt x="239" y="8"/>
                </a:moveTo>
                <a:cubicBezTo>
                  <a:pt x="243" y="8"/>
                  <a:pt x="243" y="8"/>
                  <a:pt x="243" y="8"/>
                </a:cubicBezTo>
                <a:cubicBezTo>
                  <a:pt x="246" y="8"/>
                  <a:pt x="247" y="6"/>
                  <a:pt x="247" y="4"/>
                </a:cubicBezTo>
                <a:cubicBezTo>
                  <a:pt x="247" y="2"/>
                  <a:pt x="246" y="0"/>
                  <a:pt x="243" y="0"/>
                </a:cubicBezTo>
                <a:cubicBezTo>
                  <a:pt x="239" y="0"/>
                  <a:pt x="239" y="0"/>
                  <a:pt x="239" y="0"/>
                </a:cubicBezTo>
                <a:cubicBezTo>
                  <a:pt x="237" y="0"/>
                  <a:pt x="235" y="2"/>
                  <a:pt x="235" y="4"/>
                </a:cubicBezTo>
                <a:cubicBezTo>
                  <a:pt x="235" y="6"/>
                  <a:pt x="237" y="8"/>
                  <a:pt x="239" y="8"/>
                </a:cubicBezTo>
                <a:close/>
                <a:moveTo>
                  <a:pt x="216" y="8"/>
                </a:moveTo>
                <a:cubicBezTo>
                  <a:pt x="220" y="8"/>
                  <a:pt x="220" y="8"/>
                  <a:pt x="220" y="8"/>
                </a:cubicBezTo>
                <a:cubicBezTo>
                  <a:pt x="222" y="8"/>
                  <a:pt x="224" y="6"/>
                  <a:pt x="224" y="4"/>
                </a:cubicBezTo>
                <a:cubicBezTo>
                  <a:pt x="224" y="2"/>
                  <a:pt x="222" y="0"/>
                  <a:pt x="220" y="0"/>
                </a:cubicBezTo>
                <a:cubicBezTo>
                  <a:pt x="216" y="0"/>
                  <a:pt x="216" y="0"/>
                  <a:pt x="216" y="0"/>
                </a:cubicBezTo>
                <a:cubicBezTo>
                  <a:pt x="214" y="0"/>
                  <a:pt x="212" y="2"/>
                  <a:pt x="212" y="4"/>
                </a:cubicBezTo>
                <a:cubicBezTo>
                  <a:pt x="212" y="6"/>
                  <a:pt x="214" y="8"/>
                  <a:pt x="216" y="8"/>
                </a:cubicBezTo>
                <a:close/>
                <a:moveTo>
                  <a:pt x="192" y="8"/>
                </a:moveTo>
                <a:cubicBezTo>
                  <a:pt x="196" y="8"/>
                  <a:pt x="196" y="8"/>
                  <a:pt x="196" y="8"/>
                </a:cubicBezTo>
                <a:cubicBezTo>
                  <a:pt x="199" y="8"/>
                  <a:pt x="200" y="6"/>
                  <a:pt x="200" y="4"/>
                </a:cubicBezTo>
                <a:cubicBezTo>
                  <a:pt x="200" y="2"/>
                  <a:pt x="199" y="0"/>
                  <a:pt x="196" y="0"/>
                </a:cubicBezTo>
                <a:cubicBezTo>
                  <a:pt x="192" y="0"/>
                  <a:pt x="192" y="0"/>
                  <a:pt x="192" y="0"/>
                </a:cubicBezTo>
                <a:cubicBezTo>
                  <a:pt x="190" y="0"/>
                  <a:pt x="188" y="2"/>
                  <a:pt x="188" y="4"/>
                </a:cubicBezTo>
                <a:cubicBezTo>
                  <a:pt x="188" y="6"/>
                  <a:pt x="190" y="8"/>
                  <a:pt x="192" y="8"/>
                </a:cubicBezTo>
                <a:close/>
                <a:moveTo>
                  <a:pt x="169" y="8"/>
                </a:moveTo>
                <a:cubicBezTo>
                  <a:pt x="173" y="8"/>
                  <a:pt x="173" y="8"/>
                  <a:pt x="173" y="8"/>
                </a:cubicBezTo>
                <a:cubicBezTo>
                  <a:pt x="175" y="8"/>
                  <a:pt x="177" y="6"/>
                  <a:pt x="177" y="4"/>
                </a:cubicBezTo>
                <a:cubicBezTo>
                  <a:pt x="177" y="2"/>
                  <a:pt x="175" y="0"/>
                  <a:pt x="173" y="0"/>
                </a:cubicBezTo>
                <a:cubicBezTo>
                  <a:pt x="169" y="0"/>
                  <a:pt x="169" y="0"/>
                  <a:pt x="169" y="0"/>
                </a:cubicBezTo>
                <a:cubicBezTo>
                  <a:pt x="167" y="0"/>
                  <a:pt x="165" y="2"/>
                  <a:pt x="165" y="4"/>
                </a:cubicBezTo>
                <a:cubicBezTo>
                  <a:pt x="165" y="6"/>
                  <a:pt x="167" y="8"/>
                  <a:pt x="169" y="8"/>
                </a:cubicBezTo>
                <a:close/>
                <a:moveTo>
                  <a:pt x="145" y="8"/>
                </a:moveTo>
                <a:cubicBezTo>
                  <a:pt x="149" y="8"/>
                  <a:pt x="149" y="8"/>
                  <a:pt x="149" y="8"/>
                </a:cubicBezTo>
                <a:cubicBezTo>
                  <a:pt x="152" y="8"/>
                  <a:pt x="153" y="6"/>
                  <a:pt x="153" y="4"/>
                </a:cubicBezTo>
                <a:cubicBezTo>
                  <a:pt x="153" y="2"/>
                  <a:pt x="152" y="0"/>
                  <a:pt x="149" y="0"/>
                </a:cubicBezTo>
                <a:cubicBezTo>
                  <a:pt x="145" y="0"/>
                  <a:pt x="145" y="0"/>
                  <a:pt x="145" y="0"/>
                </a:cubicBezTo>
                <a:cubicBezTo>
                  <a:pt x="143" y="0"/>
                  <a:pt x="141" y="2"/>
                  <a:pt x="141" y="4"/>
                </a:cubicBezTo>
                <a:cubicBezTo>
                  <a:pt x="141" y="6"/>
                  <a:pt x="143" y="8"/>
                  <a:pt x="145" y="8"/>
                </a:cubicBezTo>
                <a:close/>
                <a:moveTo>
                  <a:pt x="122" y="8"/>
                </a:moveTo>
                <a:cubicBezTo>
                  <a:pt x="126" y="8"/>
                  <a:pt x="126" y="8"/>
                  <a:pt x="126" y="8"/>
                </a:cubicBezTo>
                <a:cubicBezTo>
                  <a:pt x="128" y="8"/>
                  <a:pt x="130" y="6"/>
                  <a:pt x="130" y="4"/>
                </a:cubicBezTo>
                <a:cubicBezTo>
                  <a:pt x="130" y="2"/>
                  <a:pt x="128" y="0"/>
                  <a:pt x="126" y="0"/>
                </a:cubicBezTo>
                <a:cubicBezTo>
                  <a:pt x="122" y="0"/>
                  <a:pt x="122" y="0"/>
                  <a:pt x="122" y="0"/>
                </a:cubicBezTo>
                <a:cubicBezTo>
                  <a:pt x="120" y="0"/>
                  <a:pt x="118" y="2"/>
                  <a:pt x="118" y="4"/>
                </a:cubicBezTo>
                <a:cubicBezTo>
                  <a:pt x="118" y="6"/>
                  <a:pt x="120" y="8"/>
                  <a:pt x="122" y="8"/>
                </a:cubicBezTo>
                <a:close/>
                <a:moveTo>
                  <a:pt x="98" y="8"/>
                </a:moveTo>
                <a:cubicBezTo>
                  <a:pt x="102" y="8"/>
                  <a:pt x="102" y="8"/>
                  <a:pt x="102" y="8"/>
                </a:cubicBezTo>
                <a:cubicBezTo>
                  <a:pt x="105" y="8"/>
                  <a:pt x="106" y="6"/>
                  <a:pt x="106" y="4"/>
                </a:cubicBezTo>
                <a:cubicBezTo>
                  <a:pt x="106" y="2"/>
                  <a:pt x="105" y="0"/>
                  <a:pt x="102" y="0"/>
                </a:cubicBezTo>
                <a:cubicBezTo>
                  <a:pt x="98" y="0"/>
                  <a:pt x="98" y="0"/>
                  <a:pt x="98" y="0"/>
                </a:cubicBezTo>
                <a:cubicBezTo>
                  <a:pt x="96" y="0"/>
                  <a:pt x="94" y="2"/>
                  <a:pt x="94" y="4"/>
                </a:cubicBezTo>
                <a:cubicBezTo>
                  <a:pt x="94" y="6"/>
                  <a:pt x="96" y="8"/>
                  <a:pt x="98" y="8"/>
                </a:cubicBezTo>
                <a:close/>
                <a:moveTo>
                  <a:pt x="75" y="8"/>
                </a:moveTo>
                <a:cubicBezTo>
                  <a:pt x="79" y="8"/>
                  <a:pt x="79" y="8"/>
                  <a:pt x="79" y="8"/>
                </a:cubicBezTo>
                <a:cubicBezTo>
                  <a:pt x="81" y="8"/>
                  <a:pt x="83" y="6"/>
                  <a:pt x="83" y="4"/>
                </a:cubicBezTo>
                <a:cubicBezTo>
                  <a:pt x="83" y="2"/>
                  <a:pt x="81" y="0"/>
                  <a:pt x="79" y="0"/>
                </a:cubicBezTo>
                <a:cubicBezTo>
                  <a:pt x="75" y="0"/>
                  <a:pt x="75" y="0"/>
                  <a:pt x="75" y="0"/>
                </a:cubicBezTo>
                <a:cubicBezTo>
                  <a:pt x="73" y="0"/>
                  <a:pt x="71" y="2"/>
                  <a:pt x="71" y="4"/>
                </a:cubicBezTo>
                <a:cubicBezTo>
                  <a:pt x="71" y="6"/>
                  <a:pt x="73" y="8"/>
                  <a:pt x="75" y="8"/>
                </a:cubicBezTo>
                <a:close/>
                <a:moveTo>
                  <a:pt x="51" y="8"/>
                </a:moveTo>
                <a:cubicBezTo>
                  <a:pt x="55" y="8"/>
                  <a:pt x="55" y="8"/>
                  <a:pt x="55" y="8"/>
                </a:cubicBezTo>
                <a:cubicBezTo>
                  <a:pt x="58" y="8"/>
                  <a:pt x="59" y="6"/>
                  <a:pt x="59" y="4"/>
                </a:cubicBezTo>
                <a:cubicBezTo>
                  <a:pt x="59" y="2"/>
                  <a:pt x="58" y="0"/>
                  <a:pt x="55" y="0"/>
                </a:cubicBezTo>
                <a:cubicBezTo>
                  <a:pt x="51" y="0"/>
                  <a:pt x="51" y="0"/>
                  <a:pt x="51" y="0"/>
                </a:cubicBezTo>
                <a:cubicBezTo>
                  <a:pt x="49" y="0"/>
                  <a:pt x="47" y="2"/>
                  <a:pt x="47" y="4"/>
                </a:cubicBezTo>
                <a:cubicBezTo>
                  <a:pt x="47" y="6"/>
                  <a:pt x="49" y="8"/>
                  <a:pt x="51" y="8"/>
                </a:cubicBezTo>
                <a:close/>
                <a:moveTo>
                  <a:pt x="28" y="8"/>
                </a:moveTo>
                <a:cubicBezTo>
                  <a:pt x="32" y="8"/>
                  <a:pt x="32" y="8"/>
                  <a:pt x="32" y="8"/>
                </a:cubicBezTo>
                <a:cubicBezTo>
                  <a:pt x="34" y="8"/>
                  <a:pt x="36" y="6"/>
                  <a:pt x="36" y="4"/>
                </a:cubicBezTo>
                <a:cubicBezTo>
                  <a:pt x="36" y="2"/>
                  <a:pt x="34" y="0"/>
                  <a:pt x="32" y="0"/>
                </a:cubicBezTo>
                <a:cubicBezTo>
                  <a:pt x="28" y="0"/>
                  <a:pt x="28" y="0"/>
                  <a:pt x="28" y="0"/>
                </a:cubicBezTo>
                <a:cubicBezTo>
                  <a:pt x="26" y="0"/>
                  <a:pt x="24" y="2"/>
                  <a:pt x="24" y="4"/>
                </a:cubicBezTo>
                <a:cubicBezTo>
                  <a:pt x="24" y="6"/>
                  <a:pt x="26" y="8"/>
                  <a:pt x="28" y="8"/>
                </a:cubicBezTo>
                <a:close/>
                <a:moveTo>
                  <a:pt x="4" y="8"/>
                </a:moveTo>
                <a:cubicBezTo>
                  <a:pt x="8" y="8"/>
                  <a:pt x="8" y="8"/>
                  <a:pt x="8" y="8"/>
                </a:cubicBezTo>
                <a:cubicBezTo>
                  <a:pt x="11" y="8"/>
                  <a:pt x="12" y="6"/>
                  <a:pt x="12" y="4"/>
                </a:cubicBezTo>
                <a:cubicBezTo>
                  <a:pt x="12" y="2"/>
                  <a:pt x="11" y="0"/>
                  <a:pt x="8" y="0"/>
                </a:cubicBezTo>
                <a:cubicBezTo>
                  <a:pt x="4" y="0"/>
                  <a:pt x="4" y="0"/>
                  <a:pt x="4" y="0"/>
                </a:cubicBezTo>
                <a:cubicBezTo>
                  <a:pt x="2" y="0"/>
                  <a:pt x="0" y="2"/>
                  <a:pt x="0" y="4"/>
                </a:cubicBezTo>
                <a:cubicBezTo>
                  <a:pt x="0" y="6"/>
                  <a:pt x="2" y="8"/>
                  <a:pt x="4" y="8"/>
                </a:cubicBezTo>
                <a:close/>
              </a:path>
            </a:pathLst>
          </a:custGeom>
          <a:solidFill>
            <a:schemeClr val="tx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US"/>
          </a:p>
        </p:txBody>
      </p:sp>
      <p:sp>
        <p:nvSpPr>
          <p:cNvPr id="773" name="Freeform 258">
            <a:extLst>
              <a:ext uri="{FF2B5EF4-FFF2-40B4-BE49-F238E27FC236}">
                <a16:creationId xmlns:a16="http://schemas.microsoft.com/office/drawing/2014/main" id="{72EC22D0-BFA5-45A1-9249-50BD3D0221E7}"/>
              </a:ext>
            </a:extLst>
          </p:cNvPr>
          <p:cNvSpPr>
            <a:spLocks/>
          </p:cNvSpPr>
          <p:nvPr/>
        </p:nvSpPr>
        <p:spPr bwMode="auto">
          <a:xfrm>
            <a:off x="9260433" y="499699"/>
            <a:ext cx="2598435" cy="2481015"/>
          </a:xfrm>
          <a:custGeom>
            <a:avLst/>
            <a:gdLst>
              <a:gd name="T0" fmla="*/ 1082 w 1082"/>
              <a:gd name="T1" fmla="*/ 515 h 1033"/>
              <a:gd name="T2" fmla="*/ 930 w 1082"/>
              <a:gd name="T3" fmla="*/ 150 h 1033"/>
              <a:gd name="T4" fmla="*/ 564 w 1082"/>
              <a:gd name="T5" fmla="*/ 0 h 1033"/>
              <a:gd name="T6" fmla="*/ 200 w 1082"/>
              <a:gd name="T7" fmla="*/ 152 h 1033"/>
              <a:gd name="T8" fmla="*/ 202 w 1082"/>
              <a:gd name="T9" fmla="*/ 882 h 1033"/>
              <a:gd name="T10" fmla="*/ 569 w 1082"/>
              <a:gd name="T11" fmla="*/ 1032 h 1033"/>
              <a:gd name="T12" fmla="*/ 932 w 1082"/>
              <a:gd name="T13" fmla="*/ 880 h 1033"/>
              <a:gd name="T14" fmla="*/ 1082 w 1082"/>
              <a:gd name="T15" fmla="*/ 515 h 1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2" h="1033">
                <a:moveTo>
                  <a:pt x="1082" y="515"/>
                </a:moveTo>
                <a:cubicBezTo>
                  <a:pt x="1082" y="377"/>
                  <a:pt x="1028" y="247"/>
                  <a:pt x="930" y="150"/>
                </a:cubicBezTo>
                <a:cubicBezTo>
                  <a:pt x="832" y="53"/>
                  <a:pt x="702" y="0"/>
                  <a:pt x="564" y="0"/>
                </a:cubicBezTo>
                <a:cubicBezTo>
                  <a:pt x="426" y="1"/>
                  <a:pt x="297" y="55"/>
                  <a:pt x="200" y="152"/>
                </a:cubicBezTo>
                <a:cubicBezTo>
                  <a:pt x="0" y="354"/>
                  <a:pt x="0" y="681"/>
                  <a:pt x="202" y="882"/>
                </a:cubicBezTo>
                <a:cubicBezTo>
                  <a:pt x="300" y="979"/>
                  <a:pt x="430" y="1033"/>
                  <a:pt x="569" y="1032"/>
                </a:cubicBezTo>
                <a:cubicBezTo>
                  <a:pt x="706" y="1031"/>
                  <a:pt x="835" y="977"/>
                  <a:pt x="932" y="880"/>
                </a:cubicBezTo>
                <a:cubicBezTo>
                  <a:pt x="1029" y="783"/>
                  <a:pt x="1082" y="653"/>
                  <a:pt x="1082" y="5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4" name="Freeform 259">
            <a:extLst>
              <a:ext uri="{FF2B5EF4-FFF2-40B4-BE49-F238E27FC236}">
                <a16:creationId xmlns:a16="http://schemas.microsoft.com/office/drawing/2014/main" id="{1B104D8D-C911-4E3C-BA29-828AE8D8398E}"/>
              </a:ext>
            </a:extLst>
          </p:cNvPr>
          <p:cNvSpPr>
            <a:spLocks/>
          </p:cNvSpPr>
          <p:nvPr/>
        </p:nvSpPr>
        <p:spPr bwMode="auto">
          <a:xfrm>
            <a:off x="9365706" y="484515"/>
            <a:ext cx="2507333" cy="2508345"/>
          </a:xfrm>
          <a:custGeom>
            <a:avLst/>
            <a:gdLst>
              <a:gd name="T0" fmla="*/ 1038 w 1044"/>
              <a:gd name="T1" fmla="*/ 521 h 1044"/>
              <a:gd name="T2" fmla="*/ 1044 w 1044"/>
              <a:gd name="T3" fmla="*/ 521 h 1044"/>
              <a:gd name="T4" fmla="*/ 890 w 1044"/>
              <a:gd name="T5" fmla="*/ 152 h 1044"/>
              <a:gd name="T6" fmla="*/ 522 w 1044"/>
              <a:gd name="T7" fmla="*/ 0 h 1044"/>
              <a:gd name="T8" fmla="*/ 520 w 1044"/>
              <a:gd name="T9" fmla="*/ 0 h 1044"/>
              <a:gd name="T10" fmla="*/ 152 w 1044"/>
              <a:gd name="T11" fmla="*/ 154 h 1044"/>
              <a:gd name="T12" fmla="*/ 0 w 1044"/>
              <a:gd name="T13" fmla="*/ 522 h 1044"/>
              <a:gd name="T14" fmla="*/ 154 w 1044"/>
              <a:gd name="T15" fmla="*/ 892 h 1044"/>
              <a:gd name="T16" fmla="*/ 523 w 1044"/>
              <a:gd name="T17" fmla="*/ 1044 h 1044"/>
              <a:gd name="T18" fmla="*/ 525 w 1044"/>
              <a:gd name="T19" fmla="*/ 1044 h 1044"/>
              <a:gd name="T20" fmla="*/ 525 w 1044"/>
              <a:gd name="T21" fmla="*/ 1044 h 1044"/>
              <a:gd name="T22" fmla="*/ 892 w 1044"/>
              <a:gd name="T23" fmla="*/ 890 h 1044"/>
              <a:gd name="T24" fmla="*/ 1044 w 1044"/>
              <a:gd name="T25" fmla="*/ 522 h 1044"/>
              <a:gd name="T26" fmla="*/ 1044 w 1044"/>
              <a:gd name="T27" fmla="*/ 521 h 1044"/>
              <a:gd name="T28" fmla="*/ 1038 w 1044"/>
              <a:gd name="T29" fmla="*/ 521 h 1044"/>
              <a:gd name="T30" fmla="*/ 1032 w 1044"/>
              <a:gd name="T31" fmla="*/ 521 h 1044"/>
              <a:gd name="T32" fmla="*/ 1032 w 1044"/>
              <a:gd name="T33" fmla="*/ 522 h 1044"/>
              <a:gd name="T34" fmla="*/ 884 w 1044"/>
              <a:gd name="T35" fmla="*/ 882 h 1044"/>
              <a:gd name="T36" fmla="*/ 525 w 1044"/>
              <a:gd name="T37" fmla="*/ 1032 h 1044"/>
              <a:gd name="T38" fmla="*/ 525 w 1044"/>
              <a:gd name="T39" fmla="*/ 1032 h 1044"/>
              <a:gd name="T40" fmla="*/ 523 w 1044"/>
              <a:gd name="T41" fmla="*/ 1032 h 1044"/>
              <a:gd name="T42" fmla="*/ 162 w 1044"/>
              <a:gd name="T43" fmla="*/ 884 h 1044"/>
              <a:gd name="T44" fmla="*/ 12 w 1044"/>
              <a:gd name="T45" fmla="*/ 522 h 1044"/>
              <a:gd name="T46" fmla="*/ 161 w 1044"/>
              <a:gd name="T47" fmla="*/ 162 h 1044"/>
              <a:gd name="T48" fmla="*/ 520 w 1044"/>
              <a:gd name="T49" fmla="*/ 12 h 1044"/>
              <a:gd name="T50" fmla="*/ 522 w 1044"/>
              <a:gd name="T51" fmla="*/ 12 h 1044"/>
              <a:gd name="T52" fmla="*/ 882 w 1044"/>
              <a:gd name="T53" fmla="*/ 161 h 1044"/>
              <a:gd name="T54" fmla="*/ 1032 w 1044"/>
              <a:gd name="T55" fmla="*/ 521 h 1044"/>
              <a:gd name="T56" fmla="*/ 1038 w 1044"/>
              <a:gd name="T57" fmla="*/ 521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44" h="1044">
                <a:moveTo>
                  <a:pt x="1038" y="521"/>
                </a:moveTo>
                <a:cubicBezTo>
                  <a:pt x="1044" y="521"/>
                  <a:pt x="1044" y="521"/>
                  <a:pt x="1044" y="521"/>
                </a:cubicBezTo>
                <a:cubicBezTo>
                  <a:pt x="1044" y="381"/>
                  <a:pt x="989" y="250"/>
                  <a:pt x="890" y="152"/>
                </a:cubicBezTo>
                <a:cubicBezTo>
                  <a:pt x="792" y="54"/>
                  <a:pt x="661" y="0"/>
                  <a:pt x="522" y="0"/>
                </a:cubicBezTo>
                <a:cubicBezTo>
                  <a:pt x="522" y="0"/>
                  <a:pt x="521" y="0"/>
                  <a:pt x="520" y="0"/>
                </a:cubicBezTo>
                <a:cubicBezTo>
                  <a:pt x="381" y="1"/>
                  <a:pt x="250" y="55"/>
                  <a:pt x="152" y="154"/>
                </a:cubicBezTo>
                <a:cubicBezTo>
                  <a:pt x="51" y="256"/>
                  <a:pt x="0" y="389"/>
                  <a:pt x="0" y="522"/>
                </a:cubicBezTo>
                <a:cubicBezTo>
                  <a:pt x="0" y="656"/>
                  <a:pt x="52" y="790"/>
                  <a:pt x="154" y="892"/>
                </a:cubicBezTo>
                <a:cubicBezTo>
                  <a:pt x="252" y="990"/>
                  <a:pt x="383" y="1044"/>
                  <a:pt x="523" y="1044"/>
                </a:cubicBezTo>
                <a:cubicBezTo>
                  <a:pt x="523" y="1044"/>
                  <a:pt x="524" y="1044"/>
                  <a:pt x="525" y="1044"/>
                </a:cubicBezTo>
                <a:cubicBezTo>
                  <a:pt x="525" y="1044"/>
                  <a:pt x="525" y="1044"/>
                  <a:pt x="525" y="1044"/>
                </a:cubicBezTo>
                <a:cubicBezTo>
                  <a:pt x="664" y="1043"/>
                  <a:pt x="794" y="989"/>
                  <a:pt x="892" y="890"/>
                </a:cubicBezTo>
                <a:cubicBezTo>
                  <a:pt x="990" y="792"/>
                  <a:pt x="1044" y="661"/>
                  <a:pt x="1044" y="522"/>
                </a:cubicBezTo>
                <a:cubicBezTo>
                  <a:pt x="1044" y="522"/>
                  <a:pt x="1044" y="521"/>
                  <a:pt x="1044" y="521"/>
                </a:cubicBezTo>
                <a:cubicBezTo>
                  <a:pt x="1038" y="521"/>
                  <a:pt x="1038" y="521"/>
                  <a:pt x="1038" y="521"/>
                </a:cubicBezTo>
                <a:cubicBezTo>
                  <a:pt x="1032" y="521"/>
                  <a:pt x="1032" y="521"/>
                  <a:pt x="1032" y="521"/>
                </a:cubicBezTo>
                <a:cubicBezTo>
                  <a:pt x="1032" y="521"/>
                  <a:pt x="1032" y="522"/>
                  <a:pt x="1032" y="522"/>
                </a:cubicBezTo>
                <a:cubicBezTo>
                  <a:pt x="1032" y="658"/>
                  <a:pt x="979" y="786"/>
                  <a:pt x="884" y="882"/>
                </a:cubicBezTo>
                <a:cubicBezTo>
                  <a:pt x="788" y="978"/>
                  <a:pt x="661" y="1031"/>
                  <a:pt x="525" y="1032"/>
                </a:cubicBezTo>
                <a:cubicBezTo>
                  <a:pt x="525" y="1032"/>
                  <a:pt x="525" y="1032"/>
                  <a:pt x="525" y="1032"/>
                </a:cubicBezTo>
                <a:cubicBezTo>
                  <a:pt x="524" y="1032"/>
                  <a:pt x="523" y="1032"/>
                  <a:pt x="523" y="1032"/>
                </a:cubicBezTo>
                <a:cubicBezTo>
                  <a:pt x="387" y="1032"/>
                  <a:pt x="259" y="979"/>
                  <a:pt x="162" y="884"/>
                </a:cubicBezTo>
                <a:cubicBezTo>
                  <a:pt x="62" y="784"/>
                  <a:pt x="12" y="653"/>
                  <a:pt x="12" y="522"/>
                </a:cubicBezTo>
                <a:cubicBezTo>
                  <a:pt x="12" y="392"/>
                  <a:pt x="62" y="262"/>
                  <a:pt x="161" y="162"/>
                </a:cubicBezTo>
                <a:cubicBezTo>
                  <a:pt x="256" y="66"/>
                  <a:pt x="384" y="13"/>
                  <a:pt x="520" y="12"/>
                </a:cubicBezTo>
                <a:cubicBezTo>
                  <a:pt x="521" y="12"/>
                  <a:pt x="522" y="12"/>
                  <a:pt x="522" y="12"/>
                </a:cubicBezTo>
                <a:cubicBezTo>
                  <a:pt x="658" y="12"/>
                  <a:pt x="786" y="65"/>
                  <a:pt x="882" y="161"/>
                </a:cubicBezTo>
                <a:cubicBezTo>
                  <a:pt x="978" y="257"/>
                  <a:pt x="1032" y="385"/>
                  <a:pt x="1032" y="521"/>
                </a:cubicBezTo>
                <a:lnTo>
                  <a:pt x="1038" y="521"/>
                </a:lnTo>
                <a:close/>
              </a:path>
            </a:pathLst>
          </a:custGeom>
          <a:solidFill>
            <a:srgbClr val="A3D0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260">
            <a:extLst>
              <a:ext uri="{FF2B5EF4-FFF2-40B4-BE49-F238E27FC236}">
                <a16:creationId xmlns:a16="http://schemas.microsoft.com/office/drawing/2014/main" id="{81748F99-B7B1-4213-9595-87AA8FA89AA0}"/>
              </a:ext>
            </a:extLst>
          </p:cNvPr>
          <p:cNvSpPr>
            <a:spLocks/>
          </p:cNvSpPr>
          <p:nvPr/>
        </p:nvSpPr>
        <p:spPr bwMode="auto">
          <a:xfrm>
            <a:off x="9591437" y="701136"/>
            <a:ext cx="2073080" cy="2073080"/>
          </a:xfrm>
          <a:custGeom>
            <a:avLst/>
            <a:gdLst>
              <a:gd name="T0" fmla="*/ 733 w 863"/>
              <a:gd name="T1" fmla="*/ 731 h 863"/>
              <a:gd name="T2" fmla="*/ 729 w 863"/>
              <a:gd name="T3" fmla="*/ 727 h 863"/>
              <a:gd name="T4" fmla="*/ 432 w 863"/>
              <a:gd name="T5" fmla="*/ 851 h 863"/>
              <a:gd name="T6" fmla="*/ 136 w 863"/>
              <a:gd name="T7" fmla="*/ 728 h 863"/>
              <a:gd name="T8" fmla="*/ 12 w 863"/>
              <a:gd name="T9" fmla="*/ 431 h 863"/>
              <a:gd name="T10" fmla="*/ 135 w 863"/>
              <a:gd name="T11" fmla="*/ 135 h 863"/>
              <a:gd name="T12" fmla="*/ 432 w 863"/>
              <a:gd name="T13" fmla="*/ 12 h 863"/>
              <a:gd name="T14" fmla="*/ 728 w 863"/>
              <a:gd name="T15" fmla="*/ 134 h 863"/>
              <a:gd name="T16" fmla="*/ 851 w 863"/>
              <a:gd name="T17" fmla="*/ 431 h 863"/>
              <a:gd name="T18" fmla="*/ 729 w 863"/>
              <a:gd name="T19" fmla="*/ 727 h 863"/>
              <a:gd name="T20" fmla="*/ 733 w 863"/>
              <a:gd name="T21" fmla="*/ 731 h 863"/>
              <a:gd name="T22" fmla="*/ 738 w 863"/>
              <a:gd name="T23" fmla="*/ 736 h 863"/>
              <a:gd name="T24" fmla="*/ 863 w 863"/>
              <a:gd name="T25" fmla="*/ 431 h 863"/>
              <a:gd name="T26" fmla="*/ 736 w 863"/>
              <a:gd name="T27" fmla="*/ 126 h 863"/>
              <a:gd name="T28" fmla="*/ 432 w 863"/>
              <a:gd name="T29" fmla="*/ 0 h 863"/>
              <a:gd name="T30" fmla="*/ 126 w 863"/>
              <a:gd name="T31" fmla="*/ 127 h 863"/>
              <a:gd name="T32" fmla="*/ 0 w 863"/>
              <a:gd name="T33" fmla="*/ 431 h 863"/>
              <a:gd name="T34" fmla="*/ 127 w 863"/>
              <a:gd name="T35" fmla="*/ 737 h 863"/>
              <a:gd name="T36" fmla="*/ 432 w 863"/>
              <a:gd name="T37" fmla="*/ 863 h 863"/>
              <a:gd name="T38" fmla="*/ 738 w 863"/>
              <a:gd name="T39" fmla="*/ 736 h 863"/>
              <a:gd name="T40" fmla="*/ 733 w 863"/>
              <a:gd name="T41" fmla="*/ 731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3" h="863">
                <a:moveTo>
                  <a:pt x="733" y="731"/>
                </a:moveTo>
                <a:cubicBezTo>
                  <a:pt x="729" y="727"/>
                  <a:pt x="729" y="727"/>
                  <a:pt x="729" y="727"/>
                </a:cubicBezTo>
                <a:cubicBezTo>
                  <a:pt x="647" y="809"/>
                  <a:pt x="539" y="851"/>
                  <a:pt x="432" y="851"/>
                </a:cubicBezTo>
                <a:cubicBezTo>
                  <a:pt x="325" y="851"/>
                  <a:pt x="218" y="810"/>
                  <a:pt x="136" y="728"/>
                </a:cubicBezTo>
                <a:cubicBezTo>
                  <a:pt x="54" y="647"/>
                  <a:pt x="12" y="539"/>
                  <a:pt x="12" y="431"/>
                </a:cubicBezTo>
                <a:cubicBezTo>
                  <a:pt x="12" y="324"/>
                  <a:pt x="53" y="217"/>
                  <a:pt x="135" y="135"/>
                </a:cubicBezTo>
                <a:cubicBezTo>
                  <a:pt x="216" y="53"/>
                  <a:pt x="324" y="12"/>
                  <a:pt x="432" y="12"/>
                </a:cubicBezTo>
                <a:cubicBezTo>
                  <a:pt x="539" y="12"/>
                  <a:pt x="646" y="53"/>
                  <a:pt x="728" y="134"/>
                </a:cubicBezTo>
                <a:cubicBezTo>
                  <a:pt x="810" y="216"/>
                  <a:pt x="851" y="324"/>
                  <a:pt x="851" y="431"/>
                </a:cubicBezTo>
                <a:cubicBezTo>
                  <a:pt x="851" y="538"/>
                  <a:pt x="811" y="645"/>
                  <a:pt x="729" y="727"/>
                </a:cubicBezTo>
                <a:cubicBezTo>
                  <a:pt x="733" y="731"/>
                  <a:pt x="733" y="731"/>
                  <a:pt x="733" y="731"/>
                </a:cubicBezTo>
                <a:cubicBezTo>
                  <a:pt x="738" y="736"/>
                  <a:pt x="738" y="736"/>
                  <a:pt x="738" y="736"/>
                </a:cubicBezTo>
                <a:cubicBezTo>
                  <a:pt x="821" y="652"/>
                  <a:pt x="863" y="541"/>
                  <a:pt x="863" y="431"/>
                </a:cubicBezTo>
                <a:cubicBezTo>
                  <a:pt x="863" y="321"/>
                  <a:pt x="821" y="210"/>
                  <a:pt x="736" y="126"/>
                </a:cubicBezTo>
                <a:cubicBezTo>
                  <a:pt x="652" y="42"/>
                  <a:pt x="542" y="0"/>
                  <a:pt x="432" y="0"/>
                </a:cubicBezTo>
                <a:cubicBezTo>
                  <a:pt x="321" y="0"/>
                  <a:pt x="210" y="42"/>
                  <a:pt x="126" y="127"/>
                </a:cubicBezTo>
                <a:cubicBezTo>
                  <a:pt x="42" y="211"/>
                  <a:pt x="0" y="321"/>
                  <a:pt x="0" y="431"/>
                </a:cubicBezTo>
                <a:cubicBezTo>
                  <a:pt x="0" y="542"/>
                  <a:pt x="43" y="653"/>
                  <a:pt x="127" y="737"/>
                </a:cubicBezTo>
                <a:cubicBezTo>
                  <a:pt x="212" y="821"/>
                  <a:pt x="322" y="863"/>
                  <a:pt x="432" y="863"/>
                </a:cubicBezTo>
                <a:cubicBezTo>
                  <a:pt x="543" y="863"/>
                  <a:pt x="653" y="820"/>
                  <a:pt x="738" y="736"/>
                </a:cubicBezTo>
                <a:lnTo>
                  <a:pt x="733" y="73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776" name="Freeform 261">
            <a:extLst>
              <a:ext uri="{FF2B5EF4-FFF2-40B4-BE49-F238E27FC236}">
                <a16:creationId xmlns:a16="http://schemas.microsoft.com/office/drawing/2014/main" id="{BD60239A-4A6F-403E-9142-CB07D3A02437}"/>
              </a:ext>
            </a:extLst>
          </p:cNvPr>
          <p:cNvSpPr>
            <a:spLocks/>
          </p:cNvSpPr>
          <p:nvPr/>
        </p:nvSpPr>
        <p:spPr bwMode="auto">
          <a:xfrm>
            <a:off x="9843486" y="2089937"/>
            <a:ext cx="704523" cy="504098"/>
          </a:xfrm>
          <a:custGeom>
            <a:avLst/>
            <a:gdLst>
              <a:gd name="T0" fmla="*/ 7 w 293"/>
              <a:gd name="T1" fmla="*/ 6 h 210"/>
              <a:gd name="T2" fmla="*/ 1 w 293"/>
              <a:gd name="T3" fmla="*/ 9 h 210"/>
              <a:gd name="T4" fmla="*/ 286 w 293"/>
              <a:gd name="T5" fmla="*/ 209 h 210"/>
              <a:gd name="T6" fmla="*/ 292 w 293"/>
              <a:gd name="T7" fmla="*/ 204 h 210"/>
              <a:gd name="T8" fmla="*/ 287 w 293"/>
              <a:gd name="T9" fmla="*/ 197 h 210"/>
              <a:gd name="T10" fmla="*/ 12 w 293"/>
              <a:gd name="T11" fmla="*/ 4 h 210"/>
              <a:gd name="T12" fmla="*/ 4 w 293"/>
              <a:gd name="T13" fmla="*/ 1 h 210"/>
              <a:gd name="T14" fmla="*/ 1 w 293"/>
              <a:gd name="T15" fmla="*/ 9 h 210"/>
              <a:gd name="T16" fmla="*/ 7 w 293"/>
              <a:gd name="T17" fmla="*/ 6 h 210"/>
              <a:gd name="T18" fmla="*/ 1 w 293"/>
              <a:gd name="T19" fmla="*/ 9 h 210"/>
              <a:gd name="T20" fmla="*/ 286 w 293"/>
              <a:gd name="T21" fmla="*/ 209 h 210"/>
              <a:gd name="T22" fmla="*/ 290 w 293"/>
              <a:gd name="T23" fmla="*/ 208 h 210"/>
              <a:gd name="T24" fmla="*/ 292 w 293"/>
              <a:gd name="T25" fmla="*/ 204 h 210"/>
              <a:gd name="T26" fmla="*/ 291 w 293"/>
              <a:gd name="T27" fmla="*/ 199 h 210"/>
              <a:gd name="T28" fmla="*/ 287 w 293"/>
              <a:gd name="T29" fmla="*/ 197 h 210"/>
              <a:gd name="T30" fmla="*/ 12 w 293"/>
              <a:gd name="T31" fmla="*/ 4 h 210"/>
              <a:gd name="T32" fmla="*/ 9 w 293"/>
              <a:gd name="T33" fmla="*/ 1 h 210"/>
              <a:gd name="T34" fmla="*/ 4 w 293"/>
              <a:gd name="T35" fmla="*/ 1 h 210"/>
              <a:gd name="T36" fmla="*/ 1 w 293"/>
              <a:gd name="T37" fmla="*/ 4 h 210"/>
              <a:gd name="T38" fmla="*/ 1 w 293"/>
              <a:gd name="T39" fmla="*/ 9 h 210"/>
              <a:gd name="T40" fmla="*/ 7 w 293"/>
              <a:gd name="T41" fmla="*/ 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3" h="210">
                <a:moveTo>
                  <a:pt x="7" y="6"/>
                </a:moveTo>
                <a:cubicBezTo>
                  <a:pt x="1" y="9"/>
                  <a:pt x="1" y="9"/>
                  <a:pt x="1" y="9"/>
                </a:cubicBezTo>
                <a:cubicBezTo>
                  <a:pt x="55" y="122"/>
                  <a:pt x="161" y="197"/>
                  <a:pt x="286" y="209"/>
                </a:cubicBezTo>
                <a:cubicBezTo>
                  <a:pt x="289" y="210"/>
                  <a:pt x="292" y="207"/>
                  <a:pt x="292" y="204"/>
                </a:cubicBezTo>
                <a:cubicBezTo>
                  <a:pt x="293" y="201"/>
                  <a:pt x="290" y="198"/>
                  <a:pt x="287" y="197"/>
                </a:cubicBezTo>
                <a:cubicBezTo>
                  <a:pt x="166" y="185"/>
                  <a:pt x="63" y="109"/>
                  <a:pt x="12" y="4"/>
                </a:cubicBezTo>
                <a:cubicBezTo>
                  <a:pt x="11" y="1"/>
                  <a:pt x="7" y="0"/>
                  <a:pt x="4" y="1"/>
                </a:cubicBezTo>
                <a:cubicBezTo>
                  <a:pt x="1" y="2"/>
                  <a:pt x="0" y="6"/>
                  <a:pt x="1" y="9"/>
                </a:cubicBezTo>
                <a:cubicBezTo>
                  <a:pt x="7" y="6"/>
                  <a:pt x="7" y="6"/>
                  <a:pt x="7" y="6"/>
                </a:cubicBezTo>
                <a:cubicBezTo>
                  <a:pt x="1" y="9"/>
                  <a:pt x="1" y="9"/>
                  <a:pt x="1" y="9"/>
                </a:cubicBezTo>
                <a:cubicBezTo>
                  <a:pt x="54" y="118"/>
                  <a:pt x="160" y="196"/>
                  <a:pt x="286" y="209"/>
                </a:cubicBezTo>
                <a:cubicBezTo>
                  <a:pt x="287" y="209"/>
                  <a:pt x="289" y="209"/>
                  <a:pt x="290" y="208"/>
                </a:cubicBezTo>
                <a:cubicBezTo>
                  <a:pt x="292" y="207"/>
                  <a:pt x="292" y="205"/>
                  <a:pt x="292" y="204"/>
                </a:cubicBezTo>
                <a:cubicBezTo>
                  <a:pt x="293" y="202"/>
                  <a:pt x="292" y="201"/>
                  <a:pt x="291" y="199"/>
                </a:cubicBezTo>
                <a:cubicBezTo>
                  <a:pt x="290" y="198"/>
                  <a:pt x="289" y="197"/>
                  <a:pt x="287" y="197"/>
                </a:cubicBezTo>
                <a:cubicBezTo>
                  <a:pt x="166" y="185"/>
                  <a:pt x="64" y="113"/>
                  <a:pt x="12" y="4"/>
                </a:cubicBezTo>
                <a:cubicBezTo>
                  <a:pt x="12" y="2"/>
                  <a:pt x="10" y="1"/>
                  <a:pt x="9" y="1"/>
                </a:cubicBezTo>
                <a:cubicBezTo>
                  <a:pt x="7" y="0"/>
                  <a:pt x="6" y="0"/>
                  <a:pt x="4" y="1"/>
                </a:cubicBezTo>
                <a:cubicBezTo>
                  <a:pt x="3" y="2"/>
                  <a:pt x="2" y="3"/>
                  <a:pt x="1" y="4"/>
                </a:cubicBezTo>
                <a:cubicBezTo>
                  <a:pt x="1" y="6"/>
                  <a:pt x="1" y="8"/>
                  <a:pt x="1" y="9"/>
                </a:cubicBezTo>
                <a:lnTo>
                  <a:pt x="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262">
            <a:extLst>
              <a:ext uri="{FF2B5EF4-FFF2-40B4-BE49-F238E27FC236}">
                <a16:creationId xmlns:a16="http://schemas.microsoft.com/office/drawing/2014/main" id="{2F182249-DDCA-4DFF-9C03-278DF557A9D2}"/>
              </a:ext>
            </a:extLst>
          </p:cNvPr>
          <p:cNvSpPr>
            <a:spLocks/>
          </p:cNvSpPr>
          <p:nvPr/>
        </p:nvSpPr>
        <p:spPr bwMode="auto">
          <a:xfrm>
            <a:off x="11169529" y="1186001"/>
            <a:ext cx="307723" cy="610384"/>
          </a:xfrm>
          <a:custGeom>
            <a:avLst/>
            <a:gdLst>
              <a:gd name="T0" fmla="*/ 42 w 128"/>
              <a:gd name="T1" fmla="*/ 7 h 254"/>
              <a:gd name="T2" fmla="*/ 37 w 128"/>
              <a:gd name="T3" fmla="*/ 11 h 254"/>
              <a:gd name="T4" fmla="*/ 50 w 128"/>
              <a:gd name="T5" fmla="*/ 27 h 254"/>
              <a:gd name="T6" fmla="*/ 55 w 128"/>
              <a:gd name="T7" fmla="*/ 24 h 254"/>
              <a:gd name="T8" fmla="*/ 52 w 128"/>
              <a:gd name="T9" fmla="*/ 19 h 254"/>
              <a:gd name="T10" fmla="*/ 3 w 128"/>
              <a:gd name="T11" fmla="*/ 54 h 254"/>
              <a:gd name="T12" fmla="*/ 1 w 128"/>
              <a:gd name="T13" fmla="*/ 58 h 254"/>
              <a:gd name="T14" fmla="*/ 2 w 128"/>
              <a:gd name="T15" fmla="*/ 63 h 254"/>
              <a:gd name="T16" fmla="*/ 56 w 128"/>
              <a:gd name="T17" fmla="*/ 230 h 254"/>
              <a:gd name="T18" fmla="*/ 62 w 128"/>
              <a:gd name="T19" fmla="*/ 236 h 254"/>
              <a:gd name="T20" fmla="*/ 122 w 128"/>
              <a:gd name="T21" fmla="*/ 236 h 254"/>
              <a:gd name="T22" fmla="*/ 122 w 128"/>
              <a:gd name="T23" fmla="*/ 230 h 254"/>
              <a:gd name="T24" fmla="*/ 116 w 128"/>
              <a:gd name="T25" fmla="*/ 230 h 254"/>
              <a:gd name="T26" fmla="*/ 116 w 128"/>
              <a:gd name="T27" fmla="*/ 230 h 254"/>
              <a:gd name="T28" fmla="*/ 116 w 128"/>
              <a:gd name="T29" fmla="*/ 248 h 254"/>
              <a:gd name="T30" fmla="*/ 121 w 128"/>
              <a:gd name="T31" fmla="*/ 254 h 254"/>
              <a:gd name="T32" fmla="*/ 128 w 128"/>
              <a:gd name="T33" fmla="*/ 248 h 254"/>
              <a:gd name="T34" fmla="*/ 128 w 128"/>
              <a:gd name="T35" fmla="*/ 230 h 254"/>
              <a:gd name="T36" fmla="*/ 47 w 128"/>
              <a:gd name="T37" fmla="*/ 3 h 254"/>
              <a:gd name="T38" fmla="*/ 38 w 128"/>
              <a:gd name="T39" fmla="*/ 2 h 254"/>
              <a:gd name="T40" fmla="*/ 37 w 128"/>
              <a:gd name="T41" fmla="*/ 11 h 254"/>
              <a:gd name="T42" fmla="*/ 42 w 128"/>
              <a:gd name="T43" fmla="*/ 7 h 254"/>
              <a:gd name="T44" fmla="*/ 37 w 128"/>
              <a:gd name="T45" fmla="*/ 11 h 254"/>
              <a:gd name="T46" fmla="*/ 116 w 128"/>
              <a:gd name="T47" fmla="*/ 230 h 254"/>
              <a:gd name="T48" fmla="*/ 116 w 128"/>
              <a:gd name="T49" fmla="*/ 248 h 254"/>
              <a:gd name="T50" fmla="*/ 117 w 128"/>
              <a:gd name="T51" fmla="*/ 252 h 254"/>
              <a:gd name="T52" fmla="*/ 121 w 128"/>
              <a:gd name="T53" fmla="*/ 254 h 254"/>
              <a:gd name="T54" fmla="*/ 126 w 128"/>
              <a:gd name="T55" fmla="*/ 252 h 254"/>
              <a:gd name="T56" fmla="*/ 128 w 128"/>
              <a:gd name="T57" fmla="*/ 248 h 254"/>
              <a:gd name="T58" fmla="*/ 128 w 128"/>
              <a:gd name="T59" fmla="*/ 230 h 254"/>
              <a:gd name="T60" fmla="*/ 128 w 128"/>
              <a:gd name="T61" fmla="*/ 230 h 254"/>
              <a:gd name="T62" fmla="*/ 127 w 128"/>
              <a:gd name="T63" fmla="*/ 226 h 254"/>
              <a:gd name="T64" fmla="*/ 122 w 128"/>
              <a:gd name="T65" fmla="*/ 224 h 254"/>
              <a:gd name="T66" fmla="*/ 62 w 128"/>
              <a:gd name="T67" fmla="*/ 224 h 254"/>
              <a:gd name="T68" fmla="*/ 62 w 128"/>
              <a:gd name="T69" fmla="*/ 230 h 254"/>
              <a:gd name="T70" fmla="*/ 68 w 128"/>
              <a:gd name="T71" fmla="*/ 230 h 254"/>
              <a:gd name="T72" fmla="*/ 11 w 128"/>
              <a:gd name="T73" fmla="*/ 56 h 254"/>
              <a:gd name="T74" fmla="*/ 6 w 128"/>
              <a:gd name="T75" fmla="*/ 59 h 254"/>
              <a:gd name="T76" fmla="*/ 10 w 128"/>
              <a:gd name="T77" fmla="*/ 64 h 254"/>
              <a:gd name="T78" fmla="*/ 59 w 128"/>
              <a:gd name="T79" fmla="*/ 29 h 254"/>
              <a:gd name="T80" fmla="*/ 60 w 128"/>
              <a:gd name="T81" fmla="*/ 20 h 254"/>
              <a:gd name="T82" fmla="*/ 47 w 128"/>
              <a:gd name="T83" fmla="*/ 3 h 254"/>
              <a:gd name="T84" fmla="*/ 43 w 128"/>
              <a:gd name="T85" fmla="*/ 1 h 254"/>
              <a:gd name="T86" fmla="*/ 38 w 128"/>
              <a:gd name="T87" fmla="*/ 2 h 254"/>
              <a:gd name="T88" fmla="*/ 36 w 128"/>
              <a:gd name="T89" fmla="*/ 6 h 254"/>
              <a:gd name="T90" fmla="*/ 37 w 128"/>
              <a:gd name="T91" fmla="*/ 11 h 254"/>
              <a:gd name="T92" fmla="*/ 42 w 128"/>
              <a:gd name="T93" fmla="*/ 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254">
                <a:moveTo>
                  <a:pt x="42" y="7"/>
                </a:moveTo>
                <a:cubicBezTo>
                  <a:pt x="37" y="11"/>
                  <a:pt x="37" y="11"/>
                  <a:pt x="37" y="11"/>
                </a:cubicBezTo>
                <a:cubicBezTo>
                  <a:pt x="42" y="16"/>
                  <a:pt x="46" y="22"/>
                  <a:pt x="50" y="27"/>
                </a:cubicBezTo>
                <a:cubicBezTo>
                  <a:pt x="55" y="24"/>
                  <a:pt x="55" y="24"/>
                  <a:pt x="55" y="24"/>
                </a:cubicBezTo>
                <a:cubicBezTo>
                  <a:pt x="52" y="19"/>
                  <a:pt x="52" y="19"/>
                  <a:pt x="52" y="19"/>
                </a:cubicBezTo>
                <a:cubicBezTo>
                  <a:pt x="3" y="54"/>
                  <a:pt x="3" y="54"/>
                  <a:pt x="3" y="54"/>
                </a:cubicBezTo>
                <a:cubicBezTo>
                  <a:pt x="2" y="55"/>
                  <a:pt x="1" y="57"/>
                  <a:pt x="1" y="58"/>
                </a:cubicBezTo>
                <a:cubicBezTo>
                  <a:pt x="0" y="60"/>
                  <a:pt x="1" y="61"/>
                  <a:pt x="2" y="63"/>
                </a:cubicBezTo>
                <a:cubicBezTo>
                  <a:pt x="36" y="110"/>
                  <a:pt x="56" y="168"/>
                  <a:pt x="56" y="230"/>
                </a:cubicBezTo>
                <a:cubicBezTo>
                  <a:pt x="56" y="233"/>
                  <a:pt x="59" y="236"/>
                  <a:pt x="62" y="236"/>
                </a:cubicBezTo>
                <a:cubicBezTo>
                  <a:pt x="122" y="236"/>
                  <a:pt x="122" y="236"/>
                  <a:pt x="122" y="236"/>
                </a:cubicBezTo>
                <a:cubicBezTo>
                  <a:pt x="122" y="230"/>
                  <a:pt x="122" y="230"/>
                  <a:pt x="122" y="230"/>
                </a:cubicBezTo>
                <a:cubicBezTo>
                  <a:pt x="116" y="230"/>
                  <a:pt x="116" y="230"/>
                  <a:pt x="116" y="230"/>
                </a:cubicBezTo>
                <a:cubicBezTo>
                  <a:pt x="116" y="230"/>
                  <a:pt x="116" y="230"/>
                  <a:pt x="116" y="230"/>
                </a:cubicBezTo>
                <a:cubicBezTo>
                  <a:pt x="116" y="236"/>
                  <a:pt x="116" y="242"/>
                  <a:pt x="116" y="248"/>
                </a:cubicBezTo>
                <a:cubicBezTo>
                  <a:pt x="116" y="251"/>
                  <a:pt x="118" y="254"/>
                  <a:pt x="121" y="254"/>
                </a:cubicBezTo>
                <a:cubicBezTo>
                  <a:pt x="125" y="254"/>
                  <a:pt x="128" y="252"/>
                  <a:pt x="128" y="248"/>
                </a:cubicBezTo>
                <a:cubicBezTo>
                  <a:pt x="128" y="242"/>
                  <a:pt x="128" y="236"/>
                  <a:pt x="128" y="230"/>
                </a:cubicBezTo>
                <a:cubicBezTo>
                  <a:pt x="128" y="144"/>
                  <a:pt x="98" y="65"/>
                  <a:pt x="47" y="3"/>
                </a:cubicBezTo>
                <a:cubicBezTo>
                  <a:pt x="45" y="0"/>
                  <a:pt x="41" y="0"/>
                  <a:pt x="38" y="2"/>
                </a:cubicBezTo>
                <a:cubicBezTo>
                  <a:pt x="36" y="4"/>
                  <a:pt x="35" y="8"/>
                  <a:pt x="37" y="11"/>
                </a:cubicBezTo>
                <a:cubicBezTo>
                  <a:pt x="42" y="7"/>
                  <a:pt x="42" y="7"/>
                  <a:pt x="42" y="7"/>
                </a:cubicBezTo>
                <a:cubicBezTo>
                  <a:pt x="37" y="11"/>
                  <a:pt x="37" y="11"/>
                  <a:pt x="37" y="11"/>
                </a:cubicBezTo>
                <a:cubicBezTo>
                  <a:pt x="87" y="70"/>
                  <a:pt x="116" y="147"/>
                  <a:pt x="116" y="230"/>
                </a:cubicBezTo>
                <a:cubicBezTo>
                  <a:pt x="116" y="236"/>
                  <a:pt x="116" y="242"/>
                  <a:pt x="116" y="248"/>
                </a:cubicBezTo>
                <a:cubicBezTo>
                  <a:pt x="116" y="249"/>
                  <a:pt x="116" y="251"/>
                  <a:pt x="117" y="252"/>
                </a:cubicBezTo>
                <a:cubicBezTo>
                  <a:pt x="118" y="253"/>
                  <a:pt x="120" y="254"/>
                  <a:pt x="121" y="254"/>
                </a:cubicBezTo>
                <a:cubicBezTo>
                  <a:pt x="123" y="254"/>
                  <a:pt x="125" y="253"/>
                  <a:pt x="126" y="252"/>
                </a:cubicBezTo>
                <a:cubicBezTo>
                  <a:pt x="127" y="251"/>
                  <a:pt x="128" y="250"/>
                  <a:pt x="128" y="248"/>
                </a:cubicBezTo>
                <a:cubicBezTo>
                  <a:pt x="128" y="242"/>
                  <a:pt x="128" y="236"/>
                  <a:pt x="128" y="230"/>
                </a:cubicBezTo>
                <a:cubicBezTo>
                  <a:pt x="128" y="230"/>
                  <a:pt x="128" y="230"/>
                  <a:pt x="128" y="230"/>
                </a:cubicBezTo>
                <a:cubicBezTo>
                  <a:pt x="128" y="229"/>
                  <a:pt x="128" y="227"/>
                  <a:pt x="127" y="226"/>
                </a:cubicBezTo>
                <a:cubicBezTo>
                  <a:pt x="125" y="225"/>
                  <a:pt x="124" y="224"/>
                  <a:pt x="122" y="224"/>
                </a:cubicBezTo>
                <a:cubicBezTo>
                  <a:pt x="62" y="224"/>
                  <a:pt x="62" y="224"/>
                  <a:pt x="62" y="224"/>
                </a:cubicBezTo>
                <a:cubicBezTo>
                  <a:pt x="62" y="230"/>
                  <a:pt x="62" y="230"/>
                  <a:pt x="62" y="230"/>
                </a:cubicBezTo>
                <a:cubicBezTo>
                  <a:pt x="68" y="230"/>
                  <a:pt x="68" y="230"/>
                  <a:pt x="68" y="230"/>
                </a:cubicBezTo>
                <a:cubicBezTo>
                  <a:pt x="68" y="165"/>
                  <a:pt x="47" y="105"/>
                  <a:pt x="11" y="56"/>
                </a:cubicBezTo>
                <a:cubicBezTo>
                  <a:pt x="6" y="59"/>
                  <a:pt x="6" y="59"/>
                  <a:pt x="6" y="59"/>
                </a:cubicBezTo>
                <a:cubicBezTo>
                  <a:pt x="10" y="64"/>
                  <a:pt x="10" y="64"/>
                  <a:pt x="10" y="64"/>
                </a:cubicBezTo>
                <a:cubicBezTo>
                  <a:pt x="59" y="29"/>
                  <a:pt x="59" y="29"/>
                  <a:pt x="59" y="29"/>
                </a:cubicBezTo>
                <a:cubicBezTo>
                  <a:pt x="61" y="27"/>
                  <a:pt x="62" y="23"/>
                  <a:pt x="60" y="20"/>
                </a:cubicBezTo>
                <a:cubicBezTo>
                  <a:pt x="56" y="14"/>
                  <a:pt x="51" y="9"/>
                  <a:pt x="47" y="3"/>
                </a:cubicBezTo>
                <a:cubicBezTo>
                  <a:pt x="46" y="2"/>
                  <a:pt x="44" y="1"/>
                  <a:pt x="43" y="1"/>
                </a:cubicBezTo>
                <a:cubicBezTo>
                  <a:pt x="41" y="1"/>
                  <a:pt x="40" y="1"/>
                  <a:pt x="38" y="2"/>
                </a:cubicBezTo>
                <a:cubicBezTo>
                  <a:pt x="37" y="3"/>
                  <a:pt x="36" y="5"/>
                  <a:pt x="36" y="6"/>
                </a:cubicBezTo>
                <a:cubicBezTo>
                  <a:pt x="36" y="8"/>
                  <a:pt x="36" y="9"/>
                  <a:pt x="37" y="11"/>
                </a:cubicBezTo>
                <a:lnTo>
                  <a:pt x="42" y="7"/>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263">
            <a:extLst>
              <a:ext uri="{FF2B5EF4-FFF2-40B4-BE49-F238E27FC236}">
                <a16:creationId xmlns:a16="http://schemas.microsoft.com/office/drawing/2014/main" id="{ADFABB3E-E44A-4193-B315-7C248000EF61}"/>
              </a:ext>
            </a:extLst>
          </p:cNvPr>
          <p:cNvSpPr>
            <a:spLocks/>
          </p:cNvSpPr>
          <p:nvPr/>
        </p:nvSpPr>
        <p:spPr bwMode="auto">
          <a:xfrm>
            <a:off x="9762507" y="921805"/>
            <a:ext cx="1368557" cy="1674255"/>
          </a:xfrm>
          <a:custGeom>
            <a:avLst/>
            <a:gdLst>
              <a:gd name="T0" fmla="*/ 357 w 570"/>
              <a:gd name="T1" fmla="*/ 625 h 697"/>
              <a:gd name="T2" fmla="*/ 72 w 570"/>
              <a:gd name="T3" fmla="*/ 340 h 697"/>
              <a:gd name="T4" fmla="*/ 273 w 570"/>
              <a:gd name="T5" fmla="*/ 66 h 697"/>
              <a:gd name="T6" fmla="*/ 254 w 570"/>
              <a:gd name="T7" fmla="*/ 4 h 697"/>
              <a:gd name="T8" fmla="*/ 244 w 570"/>
              <a:gd name="T9" fmla="*/ 2 h 697"/>
              <a:gd name="T10" fmla="*/ 231 w 570"/>
              <a:gd name="T11" fmla="*/ 6 h 697"/>
              <a:gd name="T12" fmla="*/ 227 w 570"/>
              <a:gd name="T13" fmla="*/ 8 h 697"/>
              <a:gd name="T14" fmla="*/ 0 w 570"/>
              <a:gd name="T15" fmla="*/ 326 h 697"/>
              <a:gd name="T16" fmla="*/ 0 w 570"/>
              <a:gd name="T17" fmla="*/ 336 h 697"/>
              <a:gd name="T18" fmla="*/ 0 w 570"/>
              <a:gd name="T19" fmla="*/ 340 h 697"/>
              <a:gd name="T20" fmla="*/ 6 w 570"/>
              <a:gd name="T21" fmla="*/ 341 h 697"/>
              <a:gd name="T22" fmla="*/ 1 w 570"/>
              <a:gd name="T23" fmla="*/ 355 h 697"/>
              <a:gd name="T24" fmla="*/ 2 w 570"/>
              <a:gd name="T25" fmla="*/ 371 h 697"/>
              <a:gd name="T26" fmla="*/ 2 w 570"/>
              <a:gd name="T27" fmla="*/ 378 h 697"/>
              <a:gd name="T28" fmla="*/ 3 w 570"/>
              <a:gd name="T29" fmla="*/ 385 h 697"/>
              <a:gd name="T30" fmla="*/ 5 w 570"/>
              <a:gd name="T31" fmla="*/ 397 h 697"/>
              <a:gd name="T32" fmla="*/ 11 w 570"/>
              <a:gd name="T33" fmla="*/ 397 h 697"/>
              <a:gd name="T34" fmla="*/ 31 w 570"/>
              <a:gd name="T35" fmla="*/ 485 h 697"/>
              <a:gd name="T36" fmla="*/ 35 w 570"/>
              <a:gd name="T37" fmla="*/ 495 h 697"/>
              <a:gd name="T38" fmla="*/ 35 w 570"/>
              <a:gd name="T39" fmla="*/ 495 h 697"/>
              <a:gd name="T40" fmla="*/ 320 w 570"/>
              <a:gd name="T41" fmla="*/ 695 h 697"/>
              <a:gd name="T42" fmla="*/ 322 w 570"/>
              <a:gd name="T43" fmla="*/ 695 h 697"/>
              <a:gd name="T44" fmla="*/ 335 w 570"/>
              <a:gd name="T45" fmla="*/ 696 h 697"/>
              <a:gd name="T46" fmla="*/ 341 w 570"/>
              <a:gd name="T47" fmla="*/ 697 h 697"/>
              <a:gd name="T48" fmla="*/ 350 w 570"/>
              <a:gd name="T49" fmla="*/ 697 h 697"/>
              <a:gd name="T50" fmla="*/ 357 w 570"/>
              <a:gd name="T51" fmla="*/ 697 h 697"/>
              <a:gd name="T52" fmla="*/ 568 w 570"/>
              <a:gd name="T53" fmla="*/ 621 h 697"/>
              <a:gd name="T54" fmla="*/ 529 w 570"/>
              <a:gd name="T55" fmla="*/ 569 h 697"/>
              <a:gd name="T56" fmla="*/ 357 w 570"/>
              <a:gd name="T57" fmla="*/ 625 h 697"/>
              <a:gd name="T58" fmla="*/ 357 w 570"/>
              <a:gd name="T59" fmla="*/ 637 h 697"/>
              <a:gd name="T60" fmla="*/ 528 w 570"/>
              <a:gd name="T61" fmla="*/ 575 h 697"/>
              <a:gd name="T62" fmla="*/ 559 w 570"/>
              <a:gd name="T63" fmla="*/ 628 h 697"/>
              <a:gd name="T64" fmla="*/ 560 w 570"/>
              <a:gd name="T65" fmla="*/ 619 h 697"/>
              <a:gd name="T66" fmla="*/ 350 w 570"/>
              <a:gd name="T67" fmla="*/ 685 h 697"/>
              <a:gd name="T68" fmla="*/ 342 w 570"/>
              <a:gd name="T69" fmla="*/ 685 h 697"/>
              <a:gd name="T70" fmla="*/ 335 w 570"/>
              <a:gd name="T71" fmla="*/ 684 h 697"/>
              <a:gd name="T72" fmla="*/ 323 w 570"/>
              <a:gd name="T73" fmla="*/ 683 h 697"/>
              <a:gd name="T74" fmla="*/ 321 w 570"/>
              <a:gd name="T75" fmla="*/ 683 h 697"/>
              <a:gd name="T76" fmla="*/ 321 w 570"/>
              <a:gd name="T77" fmla="*/ 683 h 697"/>
              <a:gd name="T78" fmla="*/ 41 w 570"/>
              <a:gd name="T79" fmla="*/ 492 h 697"/>
              <a:gd name="T80" fmla="*/ 46 w 570"/>
              <a:gd name="T81" fmla="*/ 490 h 697"/>
              <a:gd name="T82" fmla="*/ 42 w 570"/>
              <a:gd name="T83" fmla="*/ 480 h 697"/>
              <a:gd name="T84" fmla="*/ 17 w 570"/>
              <a:gd name="T85" fmla="*/ 396 h 697"/>
              <a:gd name="T86" fmla="*/ 17 w 570"/>
              <a:gd name="T87" fmla="*/ 395 h 697"/>
              <a:gd name="T88" fmla="*/ 17 w 570"/>
              <a:gd name="T89" fmla="*/ 395 h 697"/>
              <a:gd name="T90" fmla="*/ 15 w 570"/>
              <a:gd name="T91" fmla="*/ 383 h 697"/>
              <a:gd name="T92" fmla="*/ 14 w 570"/>
              <a:gd name="T93" fmla="*/ 370 h 697"/>
              <a:gd name="T94" fmla="*/ 13 w 570"/>
              <a:gd name="T95" fmla="*/ 359 h 697"/>
              <a:gd name="T96" fmla="*/ 12 w 570"/>
              <a:gd name="T97" fmla="*/ 341 h 697"/>
              <a:gd name="T98" fmla="*/ 12 w 570"/>
              <a:gd name="T99" fmla="*/ 340 h 697"/>
              <a:gd name="T100" fmla="*/ 12 w 570"/>
              <a:gd name="T101" fmla="*/ 340 h 697"/>
              <a:gd name="T102" fmla="*/ 12 w 570"/>
              <a:gd name="T103" fmla="*/ 336 h 697"/>
              <a:gd name="T104" fmla="*/ 232 w 570"/>
              <a:gd name="T105" fmla="*/ 19 h 697"/>
              <a:gd name="T106" fmla="*/ 235 w 570"/>
              <a:gd name="T107" fmla="*/ 17 h 697"/>
              <a:gd name="T108" fmla="*/ 248 w 570"/>
              <a:gd name="T109" fmla="*/ 13 h 697"/>
              <a:gd name="T110" fmla="*/ 248 w 570"/>
              <a:gd name="T111" fmla="*/ 13 h 697"/>
              <a:gd name="T112" fmla="*/ 249 w 570"/>
              <a:gd name="T113" fmla="*/ 6 h 697"/>
              <a:gd name="T114" fmla="*/ 262 w 570"/>
              <a:gd name="T115" fmla="*/ 65 h 697"/>
              <a:gd name="T116" fmla="*/ 266 w 570"/>
              <a:gd name="T117" fmla="*/ 58 h 697"/>
              <a:gd name="T118" fmla="*/ 357 w 570"/>
              <a:gd name="T119" fmla="*/ 63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697">
                <a:moveTo>
                  <a:pt x="357" y="631"/>
                </a:moveTo>
                <a:cubicBezTo>
                  <a:pt x="357" y="625"/>
                  <a:pt x="357" y="625"/>
                  <a:pt x="357" y="625"/>
                </a:cubicBezTo>
                <a:cubicBezTo>
                  <a:pt x="279" y="625"/>
                  <a:pt x="207" y="593"/>
                  <a:pt x="156" y="541"/>
                </a:cubicBezTo>
                <a:cubicBezTo>
                  <a:pt x="104" y="490"/>
                  <a:pt x="72" y="419"/>
                  <a:pt x="72" y="340"/>
                </a:cubicBezTo>
                <a:cubicBezTo>
                  <a:pt x="72" y="214"/>
                  <a:pt x="155" y="106"/>
                  <a:pt x="269" y="69"/>
                </a:cubicBezTo>
                <a:cubicBezTo>
                  <a:pt x="271" y="69"/>
                  <a:pt x="272" y="68"/>
                  <a:pt x="273" y="66"/>
                </a:cubicBezTo>
                <a:cubicBezTo>
                  <a:pt x="273" y="65"/>
                  <a:pt x="274" y="63"/>
                  <a:pt x="273" y="62"/>
                </a:cubicBezTo>
                <a:cubicBezTo>
                  <a:pt x="254" y="4"/>
                  <a:pt x="254" y="4"/>
                  <a:pt x="254" y="4"/>
                </a:cubicBezTo>
                <a:cubicBezTo>
                  <a:pt x="253" y="1"/>
                  <a:pt x="250" y="0"/>
                  <a:pt x="247" y="1"/>
                </a:cubicBezTo>
                <a:cubicBezTo>
                  <a:pt x="246" y="1"/>
                  <a:pt x="245" y="1"/>
                  <a:pt x="244" y="2"/>
                </a:cubicBezTo>
                <a:cubicBezTo>
                  <a:pt x="244" y="2"/>
                  <a:pt x="244" y="2"/>
                  <a:pt x="244" y="2"/>
                </a:cubicBezTo>
                <a:cubicBezTo>
                  <a:pt x="240" y="3"/>
                  <a:pt x="235" y="5"/>
                  <a:pt x="231" y="6"/>
                </a:cubicBezTo>
                <a:cubicBezTo>
                  <a:pt x="231" y="6"/>
                  <a:pt x="231" y="6"/>
                  <a:pt x="231" y="6"/>
                </a:cubicBezTo>
                <a:cubicBezTo>
                  <a:pt x="230" y="7"/>
                  <a:pt x="228" y="7"/>
                  <a:pt x="227" y="8"/>
                </a:cubicBezTo>
                <a:cubicBezTo>
                  <a:pt x="227" y="8"/>
                  <a:pt x="227" y="8"/>
                  <a:pt x="227" y="8"/>
                </a:cubicBezTo>
                <a:cubicBezTo>
                  <a:pt x="93" y="59"/>
                  <a:pt x="6" y="181"/>
                  <a:pt x="0" y="326"/>
                </a:cubicBezTo>
                <a:cubicBezTo>
                  <a:pt x="0" y="329"/>
                  <a:pt x="0" y="332"/>
                  <a:pt x="0" y="336"/>
                </a:cubicBezTo>
                <a:cubicBezTo>
                  <a:pt x="0" y="336"/>
                  <a:pt x="0" y="336"/>
                  <a:pt x="0" y="336"/>
                </a:cubicBezTo>
                <a:cubicBezTo>
                  <a:pt x="0" y="337"/>
                  <a:pt x="0" y="338"/>
                  <a:pt x="0" y="340"/>
                </a:cubicBezTo>
                <a:cubicBezTo>
                  <a:pt x="0" y="340"/>
                  <a:pt x="0" y="340"/>
                  <a:pt x="0" y="340"/>
                </a:cubicBezTo>
                <a:cubicBezTo>
                  <a:pt x="0" y="341"/>
                  <a:pt x="0" y="341"/>
                  <a:pt x="0" y="341"/>
                </a:cubicBezTo>
                <a:cubicBezTo>
                  <a:pt x="6" y="341"/>
                  <a:pt x="6" y="341"/>
                  <a:pt x="6" y="341"/>
                </a:cubicBezTo>
                <a:cubicBezTo>
                  <a:pt x="0" y="341"/>
                  <a:pt x="0" y="341"/>
                  <a:pt x="0" y="341"/>
                </a:cubicBezTo>
                <a:cubicBezTo>
                  <a:pt x="0" y="346"/>
                  <a:pt x="0" y="351"/>
                  <a:pt x="1" y="355"/>
                </a:cubicBezTo>
                <a:cubicBezTo>
                  <a:pt x="1" y="357"/>
                  <a:pt x="1" y="358"/>
                  <a:pt x="1" y="360"/>
                </a:cubicBezTo>
                <a:cubicBezTo>
                  <a:pt x="1" y="363"/>
                  <a:pt x="1" y="367"/>
                  <a:pt x="2" y="371"/>
                </a:cubicBezTo>
                <a:cubicBezTo>
                  <a:pt x="2" y="371"/>
                  <a:pt x="2" y="371"/>
                  <a:pt x="2" y="371"/>
                </a:cubicBezTo>
                <a:cubicBezTo>
                  <a:pt x="2" y="373"/>
                  <a:pt x="2" y="376"/>
                  <a:pt x="2" y="378"/>
                </a:cubicBezTo>
                <a:cubicBezTo>
                  <a:pt x="3" y="381"/>
                  <a:pt x="3" y="383"/>
                  <a:pt x="3" y="385"/>
                </a:cubicBezTo>
                <a:cubicBezTo>
                  <a:pt x="3" y="385"/>
                  <a:pt x="3" y="385"/>
                  <a:pt x="3" y="385"/>
                </a:cubicBezTo>
                <a:cubicBezTo>
                  <a:pt x="4" y="389"/>
                  <a:pt x="4" y="393"/>
                  <a:pt x="5" y="397"/>
                </a:cubicBezTo>
                <a:cubicBezTo>
                  <a:pt x="5" y="397"/>
                  <a:pt x="5" y="397"/>
                  <a:pt x="5" y="397"/>
                </a:cubicBezTo>
                <a:cubicBezTo>
                  <a:pt x="5" y="398"/>
                  <a:pt x="5" y="398"/>
                  <a:pt x="5" y="398"/>
                </a:cubicBezTo>
                <a:cubicBezTo>
                  <a:pt x="11" y="397"/>
                  <a:pt x="11" y="397"/>
                  <a:pt x="11" y="397"/>
                </a:cubicBezTo>
                <a:cubicBezTo>
                  <a:pt x="5" y="398"/>
                  <a:pt x="5" y="398"/>
                  <a:pt x="5" y="398"/>
                </a:cubicBezTo>
                <a:cubicBezTo>
                  <a:pt x="10" y="428"/>
                  <a:pt x="19" y="457"/>
                  <a:pt x="31" y="485"/>
                </a:cubicBezTo>
                <a:cubicBezTo>
                  <a:pt x="31" y="485"/>
                  <a:pt x="31" y="485"/>
                  <a:pt x="31" y="485"/>
                </a:cubicBezTo>
                <a:cubicBezTo>
                  <a:pt x="32" y="488"/>
                  <a:pt x="34" y="491"/>
                  <a:pt x="35" y="495"/>
                </a:cubicBezTo>
                <a:cubicBezTo>
                  <a:pt x="35" y="495"/>
                  <a:pt x="35" y="495"/>
                  <a:pt x="35" y="495"/>
                </a:cubicBezTo>
                <a:cubicBezTo>
                  <a:pt x="35" y="495"/>
                  <a:pt x="35" y="495"/>
                  <a:pt x="35" y="495"/>
                </a:cubicBezTo>
                <a:cubicBezTo>
                  <a:pt x="35" y="495"/>
                  <a:pt x="35" y="495"/>
                  <a:pt x="35" y="495"/>
                </a:cubicBezTo>
                <a:cubicBezTo>
                  <a:pt x="88" y="604"/>
                  <a:pt x="194" y="682"/>
                  <a:pt x="320" y="695"/>
                </a:cubicBezTo>
                <a:cubicBezTo>
                  <a:pt x="320" y="695"/>
                  <a:pt x="320" y="695"/>
                  <a:pt x="320" y="695"/>
                </a:cubicBezTo>
                <a:cubicBezTo>
                  <a:pt x="321" y="695"/>
                  <a:pt x="321" y="695"/>
                  <a:pt x="322" y="695"/>
                </a:cubicBezTo>
                <a:cubicBezTo>
                  <a:pt x="322" y="695"/>
                  <a:pt x="322" y="695"/>
                  <a:pt x="322" y="695"/>
                </a:cubicBezTo>
                <a:cubicBezTo>
                  <a:pt x="326" y="696"/>
                  <a:pt x="331" y="696"/>
                  <a:pt x="335" y="696"/>
                </a:cubicBezTo>
                <a:cubicBezTo>
                  <a:pt x="335" y="696"/>
                  <a:pt x="335" y="696"/>
                  <a:pt x="335" y="696"/>
                </a:cubicBezTo>
                <a:cubicBezTo>
                  <a:pt x="337" y="697"/>
                  <a:pt x="339" y="697"/>
                  <a:pt x="341" y="697"/>
                </a:cubicBezTo>
                <a:cubicBezTo>
                  <a:pt x="341" y="697"/>
                  <a:pt x="341" y="697"/>
                  <a:pt x="341" y="697"/>
                </a:cubicBezTo>
                <a:cubicBezTo>
                  <a:pt x="344" y="697"/>
                  <a:pt x="347" y="697"/>
                  <a:pt x="350" y="697"/>
                </a:cubicBezTo>
                <a:cubicBezTo>
                  <a:pt x="350" y="697"/>
                  <a:pt x="350" y="697"/>
                  <a:pt x="350" y="697"/>
                </a:cubicBezTo>
                <a:cubicBezTo>
                  <a:pt x="352" y="697"/>
                  <a:pt x="355" y="697"/>
                  <a:pt x="357" y="697"/>
                </a:cubicBezTo>
                <a:cubicBezTo>
                  <a:pt x="436" y="697"/>
                  <a:pt x="508" y="672"/>
                  <a:pt x="567" y="629"/>
                </a:cubicBezTo>
                <a:cubicBezTo>
                  <a:pt x="570" y="627"/>
                  <a:pt x="570" y="623"/>
                  <a:pt x="568" y="621"/>
                </a:cubicBezTo>
                <a:cubicBezTo>
                  <a:pt x="533" y="572"/>
                  <a:pt x="533" y="572"/>
                  <a:pt x="533" y="572"/>
                </a:cubicBezTo>
                <a:cubicBezTo>
                  <a:pt x="532" y="571"/>
                  <a:pt x="531" y="570"/>
                  <a:pt x="529" y="569"/>
                </a:cubicBezTo>
                <a:cubicBezTo>
                  <a:pt x="527" y="569"/>
                  <a:pt x="526" y="570"/>
                  <a:pt x="525" y="570"/>
                </a:cubicBezTo>
                <a:cubicBezTo>
                  <a:pt x="478" y="605"/>
                  <a:pt x="420" y="625"/>
                  <a:pt x="357" y="625"/>
                </a:cubicBezTo>
                <a:cubicBezTo>
                  <a:pt x="357" y="631"/>
                  <a:pt x="357" y="631"/>
                  <a:pt x="357" y="631"/>
                </a:cubicBezTo>
                <a:cubicBezTo>
                  <a:pt x="357" y="637"/>
                  <a:pt x="357" y="637"/>
                  <a:pt x="357" y="637"/>
                </a:cubicBezTo>
                <a:cubicBezTo>
                  <a:pt x="422" y="637"/>
                  <a:pt x="483" y="616"/>
                  <a:pt x="532" y="580"/>
                </a:cubicBezTo>
                <a:cubicBezTo>
                  <a:pt x="528" y="575"/>
                  <a:pt x="528" y="575"/>
                  <a:pt x="528" y="575"/>
                </a:cubicBezTo>
                <a:cubicBezTo>
                  <a:pt x="523" y="579"/>
                  <a:pt x="523" y="579"/>
                  <a:pt x="523" y="579"/>
                </a:cubicBezTo>
                <a:cubicBezTo>
                  <a:pt x="559" y="628"/>
                  <a:pt x="559" y="628"/>
                  <a:pt x="559" y="628"/>
                </a:cubicBezTo>
                <a:cubicBezTo>
                  <a:pt x="564" y="624"/>
                  <a:pt x="564" y="624"/>
                  <a:pt x="564" y="624"/>
                </a:cubicBezTo>
                <a:cubicBezTo>
                  <a:pt x="560" y="619"/>
                  <a:pt x="560" y="619"/>
                  <a:pt x="560" y="619"/>
                </a:cubicBezTo>
                <a:cubicBezTo>
                  <a:pt x="503" y="661"/>
                  <a:pt x="433" y="685"/>
                  <a:pt x="357" y="685"/>
                </a:cubicBezTo>
                <a:cubicBezTo>
                  <a:pt x="355" y="685"/>
                  <a:pt x="353" y="685"/>
                  <a:pt x="350" y="685"/>
                </a:cubicBezTo>
                <a:cubicBezTo>
                  <a:pt x="350" y="685"/>
                  <a:pt x="350" y="685"/>
                  <a:pt x="350" y="685"/>
                </a:cubicBezTo>
                <a:cubicBezTo>
                  <a:pt x="347" y="685"/>
                  <a:pt x="344" y="685"/>
                  <a:pt x="342" y="685"/>
                </a:cubicBezTo>
                <a:cubicBezTo>
                  <a:pt x="342" y="685"/>
                  <a:pt x="342" y="685"/>
                  <a:pt x="342" y="685"/>
                </a:cubicBezTo>
                <a:cubicBezTo>
                  <a:pt x="340" y="685"/>
                  <a:pt x="338" y="685"/>
                  <a:pt x="335" y="684"/>
                </a:cubicBezTo>
                <a:cubicBezTo>
                  <a:pt x="335" y="684"/>
                  <a:pt x="335" y="684"/>
                  <a:pt x="335" y="684"/>
                </a:cubicBezTo>
                <a:cubicBezTo>
                  <a:pt x="331" y="684"/>
                  <a:pt x="327" y="684"/>
                  <a:pt x="323" y="683"/>
                </a:cubicBezTo>
                <a:cubicBezTo>
                  <a:pt x="323" y="683"/>
                  <a:pt x="323" y="683"/>
                  <a:pt x="323" y="683"/>
                </a:cubicBezTo>
                <a:cubicBezTo>
                  <a:pt x="322" y="683"/>
                  <a:pt x="322" y="683"/>
                  <a:pt x="321" y="683"/>
                </a:cubicBezTo>
                <a:cubicBezTo>
                  <a:pt x="321" y="689"/>
                  <a:pt x="321" y="689"/>
                  <a:pt x="321" y="689"/>
                </a:cubicBezTo>
                <a:cubicBezTo>
                  <a:pt x="321" y="683"/>
                  <a:pt x="321" y="683"/>
                  <a:pt x="321" y="683"/>
                </a:cubicBezTo>
                <a:cubicBezTo>
                  <a:pt x="200" y="671"/>
                  <a:pt x="97" y="595"/>
                  <a:pt x="46" y="490"/>
                </a:cubicBezTo>
                <a:cubicBezTo>
                  <a:pt x="41" y="492"/>
                  <a:pt x="41" y="492"/>
                  <a:pt x="41" y="492"/>
                </a:cubicBezTo>
                <a:cubicBezTo>
                  <a:pt x="46" y="490"/>
                  <a:pt x="46" y="490"/>
                  <a:pt x="46" y="490"/>
                </a:cubicBezTo>
                <a:cubicBezTo>
                  <a:pt x="46" y="490"/>
                  <a:pt x="46" y="490"/>
                  <a:pt x="46" y="490"/>
                </a:cubicBezTo>
                <a:cubicBezTo>
                  <a:pt x="46" y="490"/>
                  <a:pt x="46" y="490"/>
                  <a:pt x="46" y="490"/>
                </a:cubicBezTo>
                <a:cubicBezTo>
                  <a:pt x="45" y="486"/>
                  <a:pt x="43" y="483"/>
                  <a:pt x="42" y="480"/>
                </a:cubicBezTo>
                <a:cubicBezTo>
                  <a:pt x="42" y="480"/>
                  <a:pt x="42" y="480"/>
                  <a:pt x="42" y="480"/>
                </a:cubicBezTo>
                <a:cubicBezTo>
                  <a:pt x="30" y="453"/>
                  <a:pt x="22" y="425"/>
                  <a:pt x="17" y="396"/>
                </a:cubicBezTo>
                <a:cubicBezTo>
                  <a:pt x="17" y="396"/>
                  <a:pt x="17" y="396"/>
                  <a:pt x="17" y="396"/>
                </a:cubicBezTo>
                <a:cubicBezTo>
                  <a:pt x="17" y="395"/>
                  <a:pt x="17" y="395"/>
                  <a:pt x="17" y="395"/>
                </a:cubicBezTo>
                <a:cubicBezTo>
                  <a:pt x="11" y="396"/>
                  <a:pt x="11" y="396"/>
                  <a:pt x="11" y="396"/>
                </a:cubicBezTo>
                <a:cubicBezTo>
                  <a:pt x="17" y="395"/>
                  <a:pt x="17" y="395"/>
                  <a:pt x="17" y="395"/>
                </a:cubicBezTo>
                <a:cubicBezTo>
                  <a:pt x="16" y="391"/>
                  <a:pt x="15" y="387"/>
                  <a:pt x="15" y="383"/>
                </a:cubicBezTo>
                <a:cubicBezTo>
                  <a:pt x="15" y="383"/>
                  <a:pt x="15" y="383"/>
                  <a:pt x="15" y="383"/>
                </a:cubicBezTo>
                <a:cubicBezTo>
                  <a:pt x="15" y="381"/>
                  <a:pt x="14" y="379"/>
                  <a:pt x="14" y="377"/>
                </a:cubicBezTo>
                <a:cubicBezTo>
                  <a:pt x="14" y="375"/>
                  <a:pt x="14" y="372"/>
                  <a:pt x="14" y="370"/>
                </a:cubicBezTo>
                <a:cubicBezTo>
                  <a:pt x="14" y="370"/>
                  <a:pt x="14" y="370"/>
                  <a:pt x="14" y="370"/>
                </a:cubicBezTo>
                <a:cubicBezTo>
                  <a:pt x="13" y="366"/>
                  <a:pt x="13" y="362"/>
                  <a:pt x="13" y="359"/>
                </a:cubicBezTo>
                <a:cubicBezTo>
                  <a:pt x="13" y="358"/>
                  <a:pt x="13" y="356"/>
                  <a:pt x="13" y="355"/>
                </a:cubicBezTo>
                <a:cubicBezTo>
                  <a:pt x="12" y="350"/>
                  <a:pt x="12" y="346"/>
                  <a:pt x="12" y="341"/>
                </a:cubicBezTo>
                <a:cubicBezTo>
                  <a:pt x="12" y="341"/>
                  <a:pt x="12" y="341"/>
                  <a:pt x="12" y="341"/>
                </a:cubicBezTo>
                <a:cubicBezTo>
                  <a:pt x="12" y="340"/>
                  <a:pt x="12" y="340"/>
                  <a:pt x="12" y="340"/>
                </a:cubicBezTo>
                <a:cubicBezTo>
                  <a:pt x="6" y="340"/>
                  <a:pt x="6" y="340"/>
                  <a:pt x="6" y="340"/>
                </a:cubicBezTo>
                <a:cubicBezTo>
                  <a:pt x="12" y="340"/>
                  <a:pt x="12" y="340"/>
                  <a:pt x="12" y="340"/>
                </a:cubicBezTo>
                <a:cubicBezTo>
                  <a:pt x="12" y="339"/>
                  <a:pt x="12" y="337"/>
                  <a:pt x="12" y="336"/>
                </a:cubicBezTo>
                <a:cubicBezTo>
                  <a:pt x="12" y="336"/>
                  <a:pt x="12" y="336"/>
                  <a:pt x="12" y="336"/>
                </a:cubicBezTo>
                <a:cubicBezTo>
                  <a:pt x="12" y="332"/>
                  <a:pt x="12" y="329"/>
                  <a:pt x="12" y="326"/>
                </a:cubicBezTo>
                <a:cubicBezTo>
                  <a:pt x="18" y="186"/>
                  <a:pt x="102" y="69"/>
                  <a:pt x="232" y="19"/>
                </a:cubicBezTo>
                <a:cubicBezTo>
                  <a:pt x="232" y="19"/>
                  <a:pt x="232" y="19"/>
                  <a:pt x="232" y="19"/>
                </a:cubicBezTo>
                <a:cubicBezTo>
                  <a:pt x="233" y="18"/>
                  <a:pt x="234" y="18"/>
                  <a:pt x="235" y="17"/>
                </a:cubicBezTo>
                <a:cubicBezTo>
                  <a:pt x="235" y="17"/>
                  <a:pt x="235" y="17"/>
                  <a:pt x="235" y="17"/>
                </a:cubicBezTo>
                <a:cubicBezTo>
                  <a:pt x="239" y="16"/>
                  <a:pt x="244" y="14"/>
                  <a:pt x="248" y="13"/>
                </a:cubicBezTo>
                <a:cubicBezTo>
                  <a:pt x="246" y="7"/>
                  <a:pt x="246" y="7"/>
                  <a:pt x="246" y="7"/>
                </a:cubicBezTo>
                <a:cubicBezTo>
                  <a:pt x="248" y="13"/>
                  <a:pt x="248" y="13"/>
                  <a:pt x="248" y="13"/>
                </a:cubicBezTo>
                <a:cubicBezTo>
                  <a:pt x="249" y="13"/>
                  <a:pt x="250" y="12"/>
                  <a:pt x="251" y="12"/>
                </a:cubicBezTo>
                <a:cubicBezTo>
                  <a:pt x="249" y="6"/>
                  <a:pt x="249" y="6"/>
                  <a:pt x="249" y="6"/>
                </a:cubicBezTo>
                <a:cubicBezTo>
                  <a:pt x="243" y="8"/>
                  <a:pt x="243" y="8"/>
                  <a:pt x="243" y="8"/>
                </a:cubicBezTo>
                <a:cubicBezTo>
                  <a:pt x="262" y="65"/>
                  <a:pt x="262" y="65"/>
                  <a:pt x="262" y="65"/>
                </a:cubicBezTo>
                <a:cubicBezTo>
                  <a:pt x="267" y="64"/>
                  <a:pt x="267" y="64"/>
                  <a:pt x="267" y="64"/>
                </a:cubicBezTo>
                <a:cubicBezTo>
                  <a:pt x="266" y="58"/>
                  <a:pt x="266" y="58"/>
                  <a:pt x="266" y="58"/>
                </a:cubicBezTo>
                <a:cubicBezTo>
                  <a:pt x="147" y="97"/>
                  <a:pt x="61" y="208"/>
                  <a:pt x="60" y="340"/>
                </a:cubicBezTo>
                <a:cubicBezTo>
                  <a:pt x="60" y="504"/>
                  <a:pt x="193" y="637"/>
                  <a:pt x="357" y="637"/>
                </a:cubicBezTo>
                <a:lnTo>
                  <a:pt x="357" y="631"/>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264">
            <a:extLst>
              <a:ext uri="{FF2B5EF4-FFF2-40B4-BE49-F238E27FC236}">
                <a16:creationId xmlns:a16="http://schemas.microsoft.com/office/drawing/2014/main" id="{F4BDB1C7-1D73-4C34-A06E-600A1D0537FD}"/>
              </a:ext>
            </a:extLst>
          </p:cNvPr>
          <p:cNvSpPr>
            <a:spLocks/>
          </p:cNvSpPr>
          <p:nvPr/>
        </p:nvSpPr>
        <p:spPr bwMode="auto">
          <a:xfrm>
            <a:off x="10336450" y="881315"/>
            <a:ext cx="981879" cy="463609"/>
          </a:xfrm>
          <a:custGeom>
            <a:avLst/>
            <a:gdLst>
              <a:gd name="T0" fmla="*/ 389 w 409"/>
              <a:gd name="T1" fmla="*/ 134 h 193"/>
              <a:gd name="T2" fmla="*/ 394 w 409"/>
              <a:gd name="T3" fmla="*/ 130 h 193"/>
              <a:gd name="T4" fmla="*/ 137 w 409"/>
              <a:gd name="T5" fmla="*/ 1 h 193"/>
              <a:gd name="T6" fmla="*/ 137 w 409"/>
              <a:gd name="T7" fmla="*/ 1 h 193"/>
              <a:gd name="T8" fmla="*/ 118 w 409"/>
              <a:gd name="T9" fmla="*/ 0 h 193"/>
              <a:gd name="T10" fmla="*/ 118 w 409"/>
              <a:gd name="T11" fmla="*/ 0 h 193"/>
              <a:gd name="T12" fmla="*/ 118 w 409"/>
              <a:gd name="T13" fmla="*/ 0 h 193"/>
              <a:gd name="T14" fmla="*/ 8 w 409"/>
              <a:gd name="T15" fmla="*/ 18 h 193"/>
              <a:gd name="T16" fmla="*/ 8 w 409"/>
              <a:gd name="T17" fmla="*/ 18 h 193"/>
              <a:gd name="T18" fmla="*/ 5 w 409"/>
              <a:gd name="T19" fmla="*/ 19 h 193"/>
              <a:gd name="T20" fmla="*/ 1 w 409"/>
              <a:gd name="T21" fmla="*/ 26 h 193"/>
              <a:gd name="T22" fmla="*/ 9 w 409"/>
              <a:gd name="T23" fmla="*/ 30 h 193"/>
              <a:gd name="T24" fmla="*/ 12 w 409"/>
              <a:gd name="T25" fmla="*/ 29 h 193"/>
              <a:gd name="T26" fmla="*/ 10 w 409"/>
              <a:gd name="T27" fmla="*/ 23 h 193"/>
              <a:gd name="T28" fmla="*/ 4 w 409"/>
              <a:gd name="T29" fmla="*/ 25 h 193"/>
              <a:gd name="T30" fmla="*/ 23 w 409"/>
              <a:gd name="T31" fmla="*/ 82 h 193"/>
              <a:gd name="T32" fmla="*/ 30 w 409"/>
              <a:gd name="T33" fmla="*/ 86 h 193"/>
              <a:gd name="T34" fmla="*/ 118 w 409"/>
              <a:gd name="T35" fmla="*/ 72 h 193"/>
              <a:gd name="T36" fmla="*/ 118 w 409"/>
              <a:gd name="T37" fmla="*/ 72 h 193"/>
              <a:gd name="T38" fmla="*/ 349 w 409"/>
              <a:gd name="T39" fmla="*/ 190 h 193"/>
              <a:gd name="T40" fmla="*/ 357 w 409"/>
              <a:gd name="T41" fmla="*/ 191 h 193"/>
              <a:gd name="T42" fmla="*/ 406 w 409"/>
              <a:gd name="T43" fmla="*/ 156 h 193"/>
              <a:gd name="T44" fmla="*/ 407 w 409"/>
              <a:gd name="T45" fmla="*/ 147 h 193"/>
              <a:gd name="T46" fmla="*/ 394 w 409"/>
              <a:gd name="T47" fmla="*/ 130 h 193"/>
              <a:gd name="T48" fmla="*/ 389 w 409"/>
              <a:gd name="T49" fmla="*/ 134 h 193"/>
              <a:gd name="T50" fmla="*/ 384 w 409"/>
              <a:gd name="T51" fmla="*/ 138 h 193"/>
              <a:gd name="T52" fmla="*/ 397 w 409"/>
              <a:gd name="T53" fmla="*/ 154 h 193"/>
              <a:gd name="T54" fmla="*/ 402 w 409"/>
              <a:gd name="T55" fmla="*/ 151 h 193"/>
              <a:gd name="T56" fmla="*/ 399 w 409"/>
              <a:gd name="T57" fmla="*/ 146 h 193"/>
              <a:gd name="T58" fmla="*/ 350 w 409"/>
              <a:gd name="T59" fmla="*/ 181 h 193"/>
              <a:gd name="T60" fmla="*/ 353 w 409"/>
              <a:gd name="T61" fmla="*/ 186 h 193"/>
              <a:gd name="T62" fmla="*/ 358 w 409"/>
              <a:gd name="T63" fmla="*/ 183 h 193"/>
              <a:gd name="T64" fmla="*/ 118 w 409"/>
              <a:gd name="T65" fmla="*/ 60 h 193"/>
              <a:gd name="T66" fmla="*/ 118 w 409"/>
              <a:gd name="T67" fmla="*/ 60 h 193"/>
              <a:gd name="T68" fmla="*/ 27 w 409"/>
              <a:gd name="T69" fmla="*/ 75 h 193"/>
              <a:gd name="T70" fmla="*/ 28 w 409"/>
              <a:gd name="T71" fmla="*/ 81 h 193"/>
              <a:gd name="T72" fmla="*/ 34 w 409"/>
              <a:gd name="T73" fmla="*/ 79 h 193"/>
              <a:gd name="T74" fmla="*/ 15 w 409"/>
              <a:gd name="T75" fmla="*/ 21 h 193"/>
              <a:gd name="T76" fmla="*/ 8 w 409"/>
              <a:gd name="T77" fmla="*/ 18 h 193"/>
              <a:gd name="T78" fmla="*/ 5 w 409"/>
              <a:gd name="T79" fmla="*/ 19 h 193"/>
              <a:gd name="T80" fmla="*/ 2 w 409"/>
              <a:gd name="T81" fmla="*/ 22 h 193"/>
              <a:gd name="T82" fmla="*/ 1 w 409"/>
              <a:gd name="T83" fmla="*/ 26 h 193"/>
              <a:gd name="T84" fmla="*/ 4 w 409"/>
              <a:gd name="T85" fmla="*/ 30 h 193"/>
              <a:gd name="T86" fmla="*/ 9 w 409"/>
              <a:gd name="T87" fmla="*/ 30 h 193"/>
              <a:gd name="T88" fmla="*/ 12 w 409"/>
              <a:gd name="T89" fmla="*/ 29 h 193"/>
              <a:gd name="T90" fmla="*/ 12 w 409"/>
              <a:gd name="T91" fmla="*/ 29 h 193"/>
              <a:gd name="T92" fmla="*/ 118 w 409"/>
              <a:gd name="T93" fmla="*/ 12 h 193"/>
              <a:gd name="T94" fmla="*/ 118 w 409"/>
              <a:gd name="T95" fmla="*/ 12 h 193"/>
              <a:gd name="T96" fmla="*/ 118 w 409"/>
              <a:gd name="T97" fmla="*/ 12 h 193"/>
              <a:gd name="T98" fmla="*/ 137 w 409"/>
              <a:gd name="T99" fmla="*/ 13 h 193"/>
              <a:gd name="T100" fmla="*/ 137 w 409"/>
              <a:gd name="T101" fmla="*/ 13 h 193"/>
              <a:gd name="T102" fmla="*/ 384 w 409"/>
              <a:gd name="T103" fmla="*/ 138 h 193"/>
              <a:gd name="T104" fmla="*/ 389 w 409"/>
              <a:gd name="T105" fmla="*/ 13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9" h="193">
                <a:moveTo>
                  <a:pt x="389" y="134"/>
                </a:moveTo>
                <a:cubicBezTo>
                  <a:pt x="394" y="130"/>
                  <a:pt x="394" y="130"/>
                  <a:pt x="394" y="130"/>
                </a:cubicBezTo>
                <a:cubicBezTo>
                  <a:pt x="329" y="50"/>
                  <a:pt x="240" y="6"/>
                  <a:pt x="137" y="1"/>
                </a:cubicBezTo>
                <a:cubicBezTo>
                  <a:pt x="137" y="1"/>
                  <a:pt x="137" y="1"/>
                  <a:pt x="137" y="1"/>
                </a:cubicBezTo>
                <a:cubicBezTo>
                  <a:pt x="131" y="0"/>
                  <a:pt x="125" y="0"/>
                  <a:pt x="118" y="0"/>
                </a:cubicBezTo>
                <a:cubicBezTo>
                  <a:pt x="118" y="0"/>
                  <a:pt x="118" y="0"/>
                  <a:pt x="118" y="0"/>
                </a:cubicBezTo>
                <a:cubicBezTo>
                  <a:pt x="118" y="0"/>
                  <a:pt x="118" y="0"/>
                  <a:pt x="118" y="0"/>
                </a:cubicBezTo>
                <a:cubicBezTo>
                  <a:pt x="79" y="0"/>
                  <a:pt x="45" y="5"/>
                  <a:pt x="8" y="18"/>
                </a:cubicBezTo>
                <a:cubicBezTo>
                  <a:pt x="8" y="18"/>
                  <a:pt x="8" y="18"/>
                  <a:pt x="8" y="18"/>
                </a:cubicBezTo>
                <a:cubicBezTo>
                  <a:pt x="7" y="18"/>
                  <a:pt x="6" y="18"/>
                  <a:pt x="5" y="19"/>
                </a:cubicBezTo>
                <a:cubicBezTo>
                  <a:pt x="2" y="20"/>
                  <a:pt x="0" y="23"/>
                  <a:pt x="1" y="26"/>
                </a:cubicBezTo>
                <a:cubicBezTo>
                  <a:pt x="2" y="29"/>
                  <a:pt x="6" y="31"/>
                  <a:pt x="9" y="30"/>
                </a:cubicBezTo>
                <a:cubicBezTo>
                  <a:pt x="10" y="30"/>
                  <a:pt x="11" y="29"/>
                  <a:pt x="12" y="29"/>
                </a:cubicBezTo>
                <a:cubicBezTo>
                  <a:pt x="10" y="23"/>
                  <a:pt x="10" y="23"/>
                  <a:pt x="10" y="23"/>
                </a:cubicBezTo>
                <a:cubicBezTo>
                  <a:pt x="4" y="25"/>
                  <a:pt x="4" y="25"/>
                  <a:pt x="4" y="25"/>
                </a:cubicBezTo>
                <a:cubicBezTo>
                  <a:pt x="23" y="82"/>
                  <a:pt x="23" y="82"/>
                  <a:pt x="23" y="82"/>
                </a:cubicBezTo>
                <a:cubicBezTo>
                  <a:pt x="24" y="86"/>
                  <a:pt x="27" y="87"/>
                  <a:pt x="30" y="86"/>
                </a:cubicBezTo>
                <a:cubicBezTo>
                  <a:pt x="58" y="77"/>
                  <a:pt x="88" y="72"/>
                  <a:pt x="118" y="72"/>
                </a:cubicBezTo>
                <a:cubicBezTo>
                  <a:pt x="118" y="72"/>
                  <a:pt x="118" y="72"/>
                  <a:pt x="118" y="72"/>
                </a:cubicBezTo>
                <a:cubicBezTo>
                  <a:pt x="213" y="72"/>
                  <a:pt x="297" y="119"/>
                  <a:pt x="349" y="190"/>
                </a:cubicBezTo>
                <a:cubicBezTo>
                  <a:pt x="351" y="192"/>
                  <a:pt x="354" y="193"/>
                  <a:pt x="357" y="191"/>
                </a:cubicBezTo>
                <a:cubicBezTo>
                  <a:pt x="406" y="156"/>
                  <a:pt x="406" y="156"/>
                  <a:pt x="406" y="156"/>
                </a:cubicBezTo>
                <a:cubicBezTo>
                  <a:pt x="408" y="154"/>
                  <a:pt x="409" y="150"/>
                  <a:pt x="407" y="147"/>
                </a:cubicBezTo>
                <a:cubicBezTo>
                  <a:pt x="403" y="141"/>
                  <a:pt x="398" y="136"/>
                  <a:pt x="394" y="130"/>
                </a:cubicBezTo>
                <a:cubicBezTo>
                  <a:pt x="389" y="134"/>
                  <a:pt x="389" y="134"/>
                  <a:pt x="389" y="134"/>
                </a:cubicBezTo>
                <a:cubicBezTo>
                  <a:pt x="384" y="138"/>
                  <a:pt x="384" y="138"/>
                  <a:pt x="384" y="138"/>
                </a:cubicBezTo>
                <a:cubicBezTo>
                  <a:pt x="389" y="143"/>
                  <a:pt x="393" y="149"/>
                  <a:pt x="397" y="154"/>
                </a:cubicBezTo>
                <a:cubicBezTo>
                  <a:pt x="402" y="151"/>
                  <a:pt x="402" y="151"/>
                  <a:pt x="402" y="151"/>
                </a:cubicBezTo>
                <a:cubicBezTo>
                  <a:pt x="399" y="146"/>
                  <a:pt x="399" y="146"/>
                  <a:pt x="399" y="146"/>
                </a:cubicBezTo>
                <a:cubicBezTo>
                  <a:pt x="350" y="181"/>
                  <a:pt x="350" y="181"/>
                  <a:pt x="350" y="181"/>
                </a:cubicBezTo>
                <a:cubicBezTo>
                  <a:pt x="353" y="186"/>
                  <a:pt x="353" y="186"/>
                  <a:pt x="353" y="186"/>
                </a:cubicBezTo>
                <a:cubicBezTo>
                  <a:pt x="358" y="183"/>
                  <a:pt x="358" y="183"/>
                  <a:pt x="358" y="183"/>
                </a:cubicBezTo>
                <a:cubicBezTo>
                  <a:pt x="304" y="109"/>
                  <a:pt x="217" y="60"/>
                  <a:pt x="118" y="60"/>
                </a:cubicBezTo>
                <a:cubicBezTo>
                  <a:pt x="118" y="60"/>
                  <a:pt x="118" y="60"/>
                  <a:pt x="118" y="60"/>
                </a:cubicBezTo>
                <a:cubicBezTo>
                  <a:pt x="86" y="60"/>
                  <a:pt x="55" y="65"/>
                  <a:pt x="27" y="75"/>
                </a:cubicBezTo>
                <a:cubicBezTo>
                  <a:pt x="28" y="81"/>
                  <a:pt x="28" y="81"/>
                  <a:pt x="28" y="81"/>
                </a:cubicBezTo>
                <a:cubicBezTo>
                  <a:pt x="34" y="79"/>
                  <a:pt x="34" y="79"/>
                  <a:pt x="34" y="79"/>
                </a:cubicBezTo>
                <a:cubicBezTo>
                  <a:pt x="15" y="21"/>
                  <a:pt x="15" y="21"/>
                  <a:pt x="15" y="21"/>
                </a:cubicBezTo>
                <a:cubicBezTo>
                  <a:pt x="14" y="18"/>
                  <a:pt x="11" y="17"/>
                  <a:pt x="8" y="18"/>
                </a:cubicBezTo>
                <a:cubicBezTo>
                  <a:pt x="7" y="18"/>
                  <a:pt x="6" y="18"/>
                  <a:pt x="5" y="19"/>
                </a:cubicBezTo>
                <a:cubicBezTo>
                  <a:pt x="4" y="19"/>
                  <a:pt x="2" y="20"/>
                  <a:pt x="2" y="22"/>
                </a:cubicBezTo>
                <a:cubicBezTo>
                  <a:pt x="1" y="23"/>
                  <a:pt x="1" y="25"/>
                  <a:pt x="1" y="26"/>
                </a:cubicBezTo>
                <a:cubicBezTo>
                  <a:pt x="2" y="28"/>
                  <a:pt x="3" y="29"/>
                  <a:pt x="4" y="30"/>
                </a:cubicBezTo>
                <a:cubicBezTo>
                  <a:pt x="6" y="30"/>
                  <a:pt x="7" y="30"/>
                  <a:pt x="9" y="30"/>
                </a:cubicBezTo>
                <a:cubicBezTo>
                  <a:pt x="10" y="30"/>
                  <a:pt x="11" y="29"/>
                  <a:pt x="12" y="29"/>
                </a:cubicBezTo>
                <a:cubicBezTo>
                  <a:pt x="12" y="29"/>
                  <a:pt x="12" y="29"/>
                  <a:pt x="12" y="29"/>
                </a:cubicBezTo>
                <a:cubicBezTo>
                  <a:pt x="48" y="17"/>
                  <a:pt x="80" y="12"/>
                  <a:pt x="118" y="12"/>
                </a:cubicBezTo>
                <a:cubicBezTo>
                  <a:pt x="118" y="12"/>
                  <a:pt x="118" y="12"/>
                  <a:pt x="118" y="12"/>
                </a:cubicBezTo>
                <a:cubicBezTo>
                  <a:pt x="118" y="12"/>
                  <a:pt x="118" y="12"/>
                  <a:pt x="118" y="12"/>
                </a:cubicBezTo>
                <a:cubicBezTo>
                  <a:pt x="125" y="12"/>
                  <a:pt x="131" y="12"/>
                  <a:pt x="137" y="13"/>
                </a:cubicBezTo>
                <a:cubicBezTo>
                  <a:pt x="137" y="13"/>
                  <a:pt x="137" y="13"/>
                  <a:pt x="137" y="13"/>
                </a:cubicBezTo>
                <a:cubicBezTo>
                  <a:pt x="236" y="17"/>
                  <a:pt x="322" y="60"/>
                  <a:pt x="384" y="138"/>
                </a:cubicBezTo>
                <a:lnTo>
                  <a:pt x="389" y="134"/>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265">
            <a:extLst>
              <a:ext uri="{FF2B5EF4-FFF2-40B4-BE49-F238E27FC236}">
                <a16:creationId xmlns:a16="http://schemas.microsoft.com/office/drawing/2014/main" id="{7E32FB4A-11ED-4922-B4A7-983356903E44}"/>
              </a:ext>
            </a:extLst>
          </p:cNvPr>
          <p:cNvSpPr>
            <a:spLocks/>
          </p:cNvSpPr>
          <p:nvPr/>
        </p:nvSpPr>
        <p:spPr bwMode="auto">
          <a:xfrm>
            <a:off x="11013643" y="1724516"/>
            <a:ext cx="463609" cy="710597"/>
          </a:xfrm>
          <a:custGeom>
            <a:avLst/>
            <a:gdLst>
              <a:gd name="T0" fmla="*/ 187 w 193"/>
              <a:gd name="T1" fmla="*/ 0 h 296"/>
              <a:gd name="T2" fmla="*/ 123 w 193"/>
              <a:gd name="T3" fmla="*/ 2 h 296"/>
              <a:gd name="T4" fmla="*/ 121 w 193"/>
              <a:gd name="T5" fmla="*/ 6 h 296"/>
              <a:gd name="T6" fmla="*/ 4 w 193"/>
              <a:gd name="T7" fmla="*/ 236 h 296"/>
              <a:gd name="T8" fmla="*/ 38 w 193"/>
              <a:gd name="T9" fmla="*/ 294 h 296"/>
              <a:gd name="T10" fmla="*/ 46 w 193"/>
              <a:gd name="T11" fmla="*/ 295 h 296"/>
              <a:gd name="T12" fmla="*/ 43 w 193"/>
              <a:gd name="T13" fmla="*/ 290 h 296"/>
              <a:gd name="T14" fmla="*/ 63 w 193"/>
              <a:gd name="T15" fmla="*/ 282 h 296"/>
              <a:gd name="T16" fmla="*/ 191 w 193"/>
              <a:gd name="T17" fmla="*/ 43 h 296"/>
              <a:gd name="T18" fmla="*/ 191 w 193"/>
              <a:gd name="T19" fmla="*/ 43 h 296"/>
              <a:gd name="T20" fmla="*/ 192 w 193"/>
              <a:gd name="T21" fmla="*/ 41 h 296"/>
              <a:gd name="T22" fmla="*/ 193 w 193"/>
              <a:gd name="T23" fmla="*/ 26 h 296"/>
              <a:gd name="T24" fmla="*/ 193 w 193"/>
              <a:gd name="T25" fmla="*/ 25 h 296"/>
              <a:gd name="T26" fmla="*/ 193 w 193"/>
              <a:gd name="T27" fmla="*/ 24 h 296"/>
              <a:gd name="T28" fmla="*/ 193 w 193"/>
              <a:gd name="T29" fmla="*/ 6 h 296"/>
              <a:gd name="T30" fmla="*/ 187 w 193"/>
              <a:gd name="T31" fmla="*/ 0 h 296"/>
              <a:gd name="T32" fmla="*/ 181 w 193"/>
              <a:gd name="T33" fmla="*/ 6 h 296"/>
              <a:gd name="T34" fmla="*/ 181 w 193"/>
              <a:gd name="T35" fmla="*/ 24 h 296"/>
              <a:gd name="T36" fmla="*/ 181 w 193"/>
              <a:gd name="T37" fmla="*/ 25 h 296"/>
              <a:gd name="T38" fmla="*/ 181 w 193"/>
              <a:gd name="T39" fmla="*/ 26 h 296"/>
              <a:gd name="T40" fmla="*/ 181 w 193"/>
              <a:gd name="T41" fmla="*/ 25 h 296"/>
              <a:gd name="T42" fmla="*/ 180 w 193"/>
              <a:gd name="T43" fmla="*/ 40 h 296"/>
              <a:gd name="T44" fmla="*/ 179 w 193"/>
              <a:gd name="T45" fmla="*/ 42 h 296"/>
              <a:gd name="T46" fmla="*/ 55 w 193"/>
              <a:gd name="T47" fmla="*/ 273 h 296"/>
              <a:gd name="T48" fmla="*/ 39 w 193"/>
              <a:gd name="T49" fmla="*/ 285 h 296"/>
              <a:gd name="T50" fmla="*/ 43 w 193"/>
              <a:gd name="T51" fmla="*/ 290 h 296"/>
              <a:gd name="T52" fmla="*/ 12 w 193"/>
              <a:gd name="T53" fmla="*/ 238 h 296"/>
              <a:gd name="T54" fmla="*/ 11 w 193"/>
              <a:gd name="T55" fmla="*/ 246 h 296"/>
              <a:gd name="T56" fmla="*/ 133 w 193"/>
              <a:gd name="T57" fmla="*/ 6 h 296"/>
              <a:gd name="T58" fmla="*/ 127 w 193"/>
              <a:gd name="T59" fmla="*/ 6 h 296"/>
              <a:gd name="T60" fmla="*/ 187 w 193"/>
              <a:gd name="T61" fmla="*/ 12 h 296"/>
              <a:gd name="T62" fmla="*/ 181 w 193"/>
              <a:gd name="T63" fmla="*/ 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3" h="296">
                <a:moveTo>
                  <a:pt x="187" y="6"/>
                </a:moveTo>
                <a:cubicBezTo>
                  <a:pt x="187" y="0"/>
                  <a:pt x="187" y="0"/>
                  <a:pt x="187" y="0"/>
                </a:cubicBezTo>
                <a:cubicBezTo>
                  <a:pt x="127" y="0"/>
                  <a:pt x="127" y="0"/>
                  <a:pt x="127" y="0"/>
                </a:cubicBezTo>
                <a:cubicBezTo>
                  <a:pt x="125" y="0"/>
                  <a:pt x="124" y="1"/>
                  <a:pt x="123" y="2"/>
                </a:cubicBezTo>
                <a:cubicBezTo>
                  <a:pt x="122" y="3"/>
                  <a:pt x="121" y="5"/>
                  <a:pt x="121" y="6"/>
                </a:cubicBezTo>
                <a:cubicBezTo>
                  <a:pt x="121" y="6"/>
                  <a:pt x="121" y="6"/>
                  <a:pt x="121" y="6"/>
                </a:cubicBezTo>
                <a:cubicBezTo>
                  <a:pt x="121" y="65"/>
                  <a:pt x="103" y="120"/>
                  <a:pt x="72" y="166"/>
                </a:cubicBezTo>
                <a:cubicBezTo>
                  <a:pt x="53" y="193"/>
                  <a:pt x="30" y="217"/>
                  <a:pt x="4" y="236"/>
                </a:cubicBezTo>
                <a:cubicBezTo>
                  <a:pt x="1" y="238"/>
                  <a:pt x="0" y="242"/>
                  <a:pt x="2" y="245"/>
                </a:cubicBezTo>
                <a:cubicBezTo>
                  <a:pt x="38" y="294"/>
                  <a:pt x="38" y="294"/>
                  <a:pt x="38" y="294"/>
                </a:cubicBezTo>
                <a:cubicBezTo>
                  <a:pt x="39" y="295"/>
                  <a:pt x="40" y="296"/>
                  <a:pt x="42" y="296"/>
                </a:cubicBezTo>
                <a:cubicBezTo>
                  <a:pt x="43" y="296"/>
                  <a:pt x="45" y="296"/>
                  <a:pt x="46" y="295"/>
                </a:cubicBezTo>
                <a:cubicBezTo>
                  <a:pt x="46" y="295"/>
                  <a:pt x="46" y="295"/>
                  <a:pt x="46" y="295"/>
                </a:cubicBezTo>
                <a:cubicBezTo>
                  <a:pt x="43" y="290"/>
                  <a:pt x="43" y="290"/>
                  <a:pt x="43" y="290"/>
                </a:cubicBezTo>
                <a:cubicBezTo>
                  <a:pt x="46" y="295"/>
                  <a:pt x="46" y="295"/>
                  <a:pt x="46" y="295"/>
                </a:cubicBezTo>
                <a:cubicBezTo>
                  <a:pt x="52" y="291"/>
                  <a:pt x="57" y="287"/>
                  <a:pt x="63" y="282"/>
                </a:cubicBezTo>
                <a:cubicBezTo>
                  <a:pt x="63" y="282"/>
                  <a:pt x="63" y="282"/>
                  <a:pt x="63" y="282"/>
                </a:cubicBezTo>
                <a:cubicBezTo>
                  <a:pt x="138" y="221"/>
                  <a:pt x="182" y="138"/>
                  <a:pt x="191" y="43"/>
                </a:cubicBezTo>
                <a:cubicBezTo>
                  <a:pt x="185" y="42"/>
                  <a:pt x="185" y="42"/>
                  <a:pt x="185" y="42"/>
                </a:cubicBezTo>
                <a:cubicBezTo>
                  <a:pt x="191" y="43"/>
                  <a:pt x="191" y="43"/>
                  <a:pt x="191" y="43"/>
                </a:cubicBezTo>
                <a:cubicBezTo>
                  <a:pt x="191" y="42"/>
                  <a:pt x="192" y="41"/>
                  <a:pt x="192" y="41"/>
                </a:cubicBezTo>
                <a:cubicBezTo>
                  <a:pt x="192" y="41"/>
                  <a:pt x="192" y="41"/>
                  <a:pt x="192" y="41"/>
                </a:cubicBezTo>
                <a:cubicBezTo>
                  <a:pt x="192" y="36"/>
                  <a:pt x="192" y="31"/>
                  <a:pt x="193" y="26"/>
                </a:cubicBezTo>
                <a:cubicBezTo>
                  <a:pt x="193" y="26"/>
                  <a:pt x="193" y="26"/>
                  <a:pt x="193" y="26"/>
                </a:cubicBezTo>
                <a:cubicBezTo>
                  <a:pt x="193" y="25"/>
                  <a:pt x="193" y="25"/>
                  <a:pt x="193" y="25"/>
                </a:cubicBezTo>
                <a:cubicBezTo>
                  <a:pt x="193" y="25"/>
                  <a:pt x="193" y="25"/>
                  <a:pt x="193" y="25"/>
                </a:cubicBezTo>
                <a:cubicBezTo>
                  <a:pt x="193" y="24"/>
                  <a:pt x="193" y="24"/>
                  <a:pt x="193" y="24"/>
                </a:cubicBezTo>
                <a:cubicBezTo>
                  <a:pt x="193" y="24"/>
                  <a:pt x="193" y="24"/>
                  <a:pt x="193" y="24"/>
                </a:cubicBezTo>
                <a:cubicBezTo>
                  <a:pt x="193" y="18"/>
                  <a:pt x="193" y="12"/>
                  <a:pt x="193" y="6"/>
                </a:cubicBezTo>
                <a:cubicBezTo>
                  <a:pt x="193" y="6"/>
                  <a:pt x="193" y="6"/>
                  <a:pt x="193" y="6"/>
                </a:cubicBezTo>
                <a:cubicBezTo>
                  <a:pt x="193" y="5"/>
                  <a:pt x="193" y="3"/>
                  <a:pt x="192" y="2"/>
                </a:cubicBezTo>
                <a:cubicBezTo>
                  <a:pt x="190" y="1"/>
                  <a:pt x="189" y="0"/>
                  <a:pt x="187" y="0"/>
                </a:cubicBezTo>
                <a:cubicBezTo>
                  <a:pt x="187" y="6"/>
                  <a:pt x="187" y="6"/>
                  <a:pt x="187" y="6"/>
                </a:cubicBezTo>
                <a:cubicBezTo>
                  <a:pt x="181" y="6"/>
                  <a:pt x="181" y="6"/>
                  <a:pt x="181" y="6"/>
                </a:cubicBezTo>
                <a:cubicBezTo>
                  <a:pt x="181" y="6"/>
                  <a:pt x="181" y="6"/>
                  <a:pt x="181" y="6"/>
                </a:cubicBezTo>
                <a:cubicBezTo>
                  <a:pt x="181" y="12"/>
                  <a:pt x="181" y="18"/>
                  <a:pt x="181" y="24"/>
                </a:cubicBezTo>
                <a:cubicBezTo>
                  <a:pt x="181" y="24"/>
                  <a:pt x="181" y="24"/>
                  <a:pt x="181" y="24"/>
                </a:cubicBezTo>
                <a:cubicBezTo>
                  <a:pt x="181" y="25"/>
                  <a:pt x="181" y="25"/>
                  <a:pt x="181" y="25"/>
                </a:cubicBezTo>
                <a:cubicBezTo>
                  <a:pt x="181" y="25"/>
                  <a:pt x="181" y="25"/>
                  <a:pt x="181" y="25"/>
                </a:cubicBezTo>
                <a:cubicBezTo>
                  <a:pt x="181" y="26"/>
                  <a:pt x="181" y="26"/>
                  <a:pt x="181" y="26"/>
                </a:cubicBezTo>
                <a:cubicBezTo>
                  <a:pt x="187" y="26"/>
                  <a:pt x="187" y="26"/>
                  <a:pt x="187" y="26"/>
                </a:cubicBezTo>
                <a:cubicBezTo>
                  <a:pt x="181" y="25"/>
                  <a:pt x="181" y="25"/>
                  <a:pt x="181" y="25"/>
                </a:cubicBezTo>
                <a:cubicBezTo>
                  <a:pt x="180" y="30"/>
                  <a:pt x="180" y="35"/>
                  <a:pt x="180" y="40"/>
                </a:cubicBezTo>
                <a:cubicBezTo>
                  <a:pt x="180" y="40"/>
                  <a:pt x="180" y="40"/>
                  <a:pt x="180" y="40"/>
                </a:cubicBezTo>
                <a:cubicBezTo>
                  <a:pt x="180" y="40"/>
                  <a:pt x="180" y="41"/>
                  <a:pt x="179" y="42"/>
                </a:cubicBezTo>
                <a:cubicBezTo>
                  <a:pt x="179" y="42"/>
                  <a:pt x="179" y="42"/>
                  <a:pt x="179" y="42"/>
                </a:cubicBezTo>
                <a:cubicBezTo>
                  <a:pt x="171" y="134"/>
                  <a:pt x="128" y="214"/>
                  <a:pt x="55" y="273"/>
                </a:cubicBezTo>
                <a:cubicBezTo>
                  <a:pt x="55" y="273"/>
                  <a:pt x="55" y="273"/>
                  <a:pt x="55" y="273"/>
                </a:cubicBezTo>
                <a:cubicBezTo>
                  <a:pt x="50" y="277"/>
                  <a:pt x="45" y="281"/>
                  <a:pt x="39" y="285"/>
                </a:cubicBezTo>
                <a:cubicBezTo>
                  <a:pt x="39" y="285"/>
                  <a:pt x="39" y="285"/>
                  <a:pt x="39" y="285"/>
                </a:cubicBezTo>
                <a:cubicBezTo>
                  <a:pt x="39" y="285"/>
                  <a:pt x="39" y="285"/>
                  <a:pt x="39" y="285"/>
                </a:cubicBezTo>
                <a:cubicBezTo>
                  <a:pt x="43" y="290"/>
                  <a:pt x="43" y="290"/>
                  <a:pt x="43" y="290"/>
                </a:cubicBezTo>
                <a:cubicBezTo>
                  <a:pt x="47" y="287"/>
                  <a:pt x="47" y="287"/>
                  <a:pt x="47" y="287"/>
                </a:cubicBezTo>
                <a:cubicBezTo>
                  <a:pt x="12" y="238"/>
                  <a:pt x="12" y="238"/>
                  <a:pt x="12" y="238"/>
                </a:cubicBezTo>
                <a:cubicBezTo>
                  <a:pt x="7" y="241"/>
                  <a:pt x="7" y="241"/>
                  <a:pt x="7" y="241"/>
                </a:cubicBezTo>
                <a:cubicBezTo>
                  <a:pt x="11" y="246"/>
                  <a:pt x="11" y="246"/>
                  <a:pt x="11" y="246"/>
                </a:cubicBezTo>
                <a:cubicBezTo>
                  <a:pt x="38" y="226"/>
                  <a:pt x="63" y="201"/>
                  <a:pt x="82" y="173"/>
                </a:cubicBezTo>
                <a:cubicBezTo>
                  <a:pt x="114" y="125"/>
                  <a:pt x="133" y="68"/>
                  <a:pt x="133" y="6"/>
                </a:cubicBezTo>
                <a:cubicBezTo>
                  <a:pt x="133" y="6"/>
                  <a:pt x="133" y="6"/>
                  <a:pt x="133" y="6"/>
                </a:cubicBezTo>
                <a:cubicBezTo>
                  <a:pt x="127" y="6"/>
                  <a:pt x="127" y="6"/>
                  <a:pt x="127" y="6"/>
                </a:cubicBezTo>
                <a:cubicBezTo>
                  <a:pt x="127" y="12"/>
                  <a:pt x="127" y="12"/>
                  <a:pt x="127" y="12"/>
                </a:cubicBezTo>
                <a:cubicBezTo>
                  <a:pt x="187" y="12"/>
                  <a:pt x="187" y="12"/>
                  <a:pt x="187" y="12"/>
                </a:cubicBezTo>
                <a:cubicBezTo>
                  <a:pt x="187" y="6"/>
                  <a:pt x="187" y="6"/>
                  <a:pt x="187" y="6"/>
                </a:cubicBezTo>
                <a:cubicBezTo>
                  <a:pt x="181" y="6"/>
                  <a:pt x="181" y="6"/>
                  <a:pt x="181" y="6"/>
                </a:cubicBezTo>
                <a:lnTo>
                  <a:pt x="187" y="6"/>
                </a:lnTo>
                <a:close/>
              </a:path>
            </a:pathLst>
          </a:custGeom>
          <a:solidFill>
            <a:srgbClr val="00A2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266">
            <a:extLst>
              <a:ext uri="{FF2B5EF4-FFF2-40B4-BE49-F238E27FC236}">
                <a16:creationId xmlns:a16="http://schemas.microsoft.com/office/drawing/2014/main" id="{FFB9E088-6785-499B-90C0-388D09EF662C}"/>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267">
            <a:extLst>
              <a:ext uri="{FF2B5EF4-FFF2-40B4-BE49-F238E27FC236}">
                <a16:creationId xmlns:a16="http://schemas.microsoft.com/office/drawing/2014/main" id="{418E21CB-E518-456F-87AD-C7449B673758}"/>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268">
            <a:extLst>
              <a:ext uri="{FF2B5EF4-FFF2-40B4-BE49-F238E27FC236}">
                <a16:creationId xmlns:a16="http://schemas.microsoft.com/office/drawing/2014/main" id="{6E18843E-3873-45EA-A857-16007227646C}"/>
              </a:ext>
            </a:extLst>
          </p:cNvPr>
          <p:cNvSpPr>
            <a:spLocks/>
          </p:cNvSpPr>
          <p:nvPr/>
        </p:nvSpPr>
        <p:spPr bwMode="auto">
          <a:xfrm>
            <a:off x="10000385" y="1296336"/>
            <a:ext cx="1241014" cy="884703"/>
          </a:xfrm>
          <a:custGeom>
            <a:avLst/>
            <a:gdLst>
              <a:gd name="T0" fmla="*/ 258 w 517"/>
              <a:gd name="T1" fmla="*/ 6 h 368"/>
              <a:gd name="T2" fmla="*/ 258 w 517"/>
              <a:gd name="T3" fmla="*/ 0 h 368"/>
              <a:gd name="T4" fmla="*/ 107 w 517"/>
              <a:gd name="T5" fmla="*/ 50 h 368"/>
              <a:gd name="T6" fmla="*/ 1 w 517"/>
              <a:gd name="T7" fmla="*/ 182 h 368"/>
              <a:gd name="T8" fmla="*/ 1 w 517"/>
              <a:gd name="T9" fmla="*/ 187 h 368"/>
              <a:gd name="T10" fmla="*/ 107 w 517"/>
              <a:gd name="T11" fmla="*/ 318 h 368"/>
              <a:gd name="T12" fmla="*/ 258 w 517"/>
              <a:gd name="T13" fmla="*/ 368 h 368"/>
              <a:gd name="T14" fmla="*/ 410 w 517"/>
              <a:gd name="T15" fmla="*/ 318 h 368"/>
              <a:gd name="T16" fmla="*/ 516 w 517"/>
              <a:gd name="T17" fmla="*/ 187 h 368"/>
              <a:gd name="T18" fmla="*/ 516 w 517"/>
              <a:gd name="T19" fmla="*/ 182 h 368"/>
              <a:gd name="T20" fmla="*/ 410 w 517"/>
              <a:gd name="T21" fmla="*/ 50 h 368"/>
              <a:gd name="T22" fmla="*/ 258 w 517"/>
              <a:gd name="T23" fmla="*/ 0 h 368"/>
              <a:gd name="T24" fmla="*/ 258 w 517"/>
              <a:gd name="T25" fmla="*/ 6 h 368"/>
              <a:gd name="T26" fmla="*/ 258 w 517"/>
              <a:gd name="T27" fmla="*/ 12 h 368"/>
              <a:gd name="T28" fmla="*/ 403 w 517"/>
              <a:gd name="T29" fmla="*/ 60 h 368"/>
              <a:gd name="T30" fmla="*/ 505 w 517"/>
              <a:gd name="T31" fmla="*/ 187 h 368"/>
              <a:gd name="T32" fmla="*/ 510 w 517"/>
              <a:gd name="T33" fmla="*/ 184 h 368"/>
              <a:gd name="T34" fmla="*/ 505 w 517"/>
              <a:gd name="T35" fmla="*/ 182 h 368"/>
              <a:gd name="T36" fmla="*/ 403 w 517"/>
              <a:gd name="T37" fmla="*/ 308 h 368"/>
              <a:gd name="T38" fmla="*/ 258 w 517"/>
              <a:gd name="T39" fmla="*/ 356 h 368"/>
              <a:gd name="T40" fmla="*/ 114 w 517"/>
              <a:gd name="T41" fmla="*/ 308 h 368"/>
              <a:gd name="T42" fmla="*/ 12 w 517"/>
              <a:gd name="T43" fmla="*/ 182 h 368"/>
              <a:gd name="T44" fmla="*/ 6 w 517"/>
              <a:gd name="T45" fmla="*/ 184 h 368"/>
              <a:gd name="T46" fmla="*/ 12 w 517"/>
              <a:gd name="T47" fmla="*/ 187 h 368"/>
              <a:gd name="T48" fmla="*/ 114 w 517"/>
              <a:gd name="T49" fmla="*/ 60 h 368"/>
              <a:gd name="T50" fmla="*/ 258 w 517"/>
              <a:gd name="T51" fmla="*/ 12 h 368"/>
              <a:gd name="T52" fmla="*/ 258 w 517"/>
              <a:gd name="T53" fmla="*/ 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368">
                <a:moveTo>
                  <a:pt x="258" y="6"/>
                </a:moveTo>
                <a:cubicBezTo>
                  <a:pt x="258" y="0"/>
                  <a:pt x="258" y="0"/>
                  <a:pt x="258" y="0"/>
                </a:cubicBezTo>
                <a:cubicBezTo>
                  <a:pt x="203" y="0"/>
                  <a:pt x="151" y="18"/>
                  <a:pt x="107" y="50"/>
                </a:cubicBezTo>
                <a:cubicBezTo>
                  <a:pt x="62" y="82"/>
                  <a:pt x="26" y="128"/>
                  <a:pt x="1" y="182"/>
                </a:cubicBezTo>
                <a:cubicBezTo>
                  <a:pt x="0" y="183"/>
                  <a:pt x="0" y="185"/>
                  <a:pt x="1" y="187"/>
                </a:cubicBezTo>
                <a:cubicBezTo>
                  <a:pt x="26" y="241"/>
                  <a:pt x="62" y="286"/>
                  <a:pt x="107" y="318"/>
                </a:cubicBezTo>
                <a:cubicBezTo>
                  <a:pt x="151" y="350"/>
                  <a:pt x="203" y="368"/>
                  <a:pt x="258" y="368"/>
                </a:cubicBezTo>
                <a:cubicBezTo>
                  <a:pt x="314" y="368"/>
                  <a:pt x="366" y="350"/>
                  <a:pt x="410" y="318"/>
                </a:cubicBezTo>
                <a:cubicBezTo>
                  <a:pt x="454" y="286"/>
                  <a:pt x="491" y="241"/>
                  <a:pt x="516" y="187"/>
                </a:cubicBezTo>
                <a:cubicBezTo>
                  <a:pt x="517" y="185"/>
                  <a:pt x="517" y="183"/>
                  <a:pt x="516" y="182"/>
                </a:cubicBezTo>
                <a:cubicBezTo>
                  <a:pt x="491" y="128"/>
                  <a:pt x="454" y="82"/>
                  <a:pt x="410" y="50"/>
                </a:cubicBezTo>
                <a:cubicBezTo>
                  <a:pt x="366" y="18"/>
                  <a:pt x="314" y="0"/>
                  <a:pt x="258" y="0"/>
                </a:cubicBezTo>
                <a:cubicBezTo>
                  <a:pt x="258" y="6"/>
                  <a:pt x="258" y="6"/>
                  <a:pt x="258" y="6"/>
                </a:cubicBezTo>
                <a:cubicBezTo>
                  <a:pt x="258" y="12"/>
                  <a:pt x="258" y="12"/>
                  <a:pt x="258" y="12"/>
                </a:cubicBezTo>
                <a:cubicBezTo>
                  <a:pt x="311" y="12"/>
                  <a:pt x="360" y="30"/>
                  <a:pt x="403" y="60"/>
                </a:cubicBezTo>
                <a:cubicBezTo>
                  <a:pt x="445" y="91"/>
                  <a:pt x="481" y="134"/>
                  <a:pt x="505" y="187"/>
                </a:cubicBezTo>
                <a:cubicBezTo>
                  <a:pt x="510" y="184"/>
                  <a:pt x="510" y="184"/>
                  <a:pt x="510" y="184"/>
                </a:cubicBezTo>
                <a:cubicBezTo>
                  <a:pt x="505" y="182"/>
                  <a:pt x="505" y="182"/>
                  <a:pt x="505" y="182"/>
                </a:cubicBezTo>
                <a:cubicBezTo>
                  <a:pt x="481" y="234"/>
                  <a:pt x="445" y="278"/>
                  <a:pt x="403" y="308"/>
                </a:cubicBezTo>
                <a:cubicBezTo>
                  <a:pt x="360" y="339"/>
                  <a:pt x="311" y="356"/>
                  <a:pt x="258" y="356"/>
                </a:cubicBezTo>
                <a:cubicBezTo>
                  <a:pt x="205" y="356"/>
                  <a:pt x="156" y="339"/>
                  <a:pt x="114" y="308"/>
                </a:cubicBezTo>
                <a:cubicBezTo>
                  <a:pt x="71" y="278"/>
                  <a:pt x="36" y="234"/>
                  <a:pt x="12" y="182"/>
                </a:cubicBezTo>
                <a:cubicBezTo>
                  <a:pt x="6" y="184"/>
                  <a:pt x="6" y="184"/>
                  <a:pt x="6" y="184"/>
                </a:cubicBezTo>
                <a:cubicBezTo>
                  <a:pt x="12" y="187"/>
                  <a:pt x="12" y="187"/>
                  <a:pt x="12" y="187"/>
                </a:cubicBezTo>
                <a:cubicBezTo>
                  <a:pt x="36" y="134"/>
                  <a:pt x="71" y="91"/>
                  <a:pt x="114" y="60"/>
                </a:cubicBezTo>
                <a:cubicBezTo>
                  <a:pt x="156" y="30"/>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69">
            <a:extLst>
              <a:ext uri="{FF2B5EF4-FFF2-40B4-BE49-F238E27FC236}">
                <a16:creationId xmlns:a16="http://schemas.microsoft.com/office/drawing/2014/main" id="{0C1C1F3E-EBD0-43B2-8204-4F096AB2C327}"/>
              </a:ext>
            </a:extLst>
          </p:cNvPr>
          <p:cNvSpPr>
            <a:spLocks/>
          </p:cNvSpPr>
          <p:nvPr/>
        </p:nvSpPr>
        <p:spPr bwMode="auto">
          <a:xfrm>
            <a:off x="10000385" y="1491700"/>
            <a:ext cx="1241014" cy="494988"/>
          </a:xfrm>
          <a:custGeom>
            <a:avLst/>
            <a:gdLst>
              <a:gd name="T0" fmla="*/ 258 w 517"/>
              <a:gd name="T1" fmla="*/ 6 h 206"/>
              <a:gd name="T2" fmla="*/ 258 w 517"/>
              <a:gd name="T3" fmla="*/ 0 h 206"/>
              <a:gd name="T4" fmla="*/ 108 w 517"/>
              <a:gd name="T5" fmla="*/ 27 h 206"/>
              <a:gd name="T6" fmla="*/ 2 w 517"/>
              <a:gd name="T7" fmla="*/ 99 h 206"/>
              <a:gd name="T8" fmla="*/ 2 w 517"/>
              <a:gd name="T9" fmla="*/ 107 h 206"/>
              <a:gd name="T10" fmla="*/ 108 w 517"/>
              <a:gd name="T11" fmla="*/ 179 h 206"/>
              <a:gd name="T12" fmla="*/ 258 w 517"/>
              <a:gd name="T13" fmla="*/ 206 h 206"/>
              <a:gd name="T14" fmla="*/ 409 w 517"/>
              <a:gd name="T15" fmla="*/ 179 h 206"/>
              <a:gd name="T16" fmla="*/ 515 w 517"/>
              <a:gd name="T17" fmla="*/ 107 h 206"/>
              <a:gd name="T18" fmla="*/ 515 w 517"/>
              <a:gd name="T19" fmla="*/ 99 h 206"/>
              <a:gd name="T20" fmla="*/ 409 w 517"/>
              <a:gd name="T21" fmla="*/ 27 h 206"/>
              <a:gd name="T22" fmla="*/ 258 w 517"/>
              <a:gd name="T23" fmla="*/ 0 h 206"/>
              <a:gd name="T24" fmla="*/ 258 w 517"/>
              <a:gd name="T25" fmla="*/ 6 h 206"/>
              <a:gd name="T26" fmla="*/ 258 w 517"/>
              <a:gd name="T27" fmla="*/ 12 h 206"/>
              <a:gd name="T28" fmla="*/ 404 w 517"/>
              <a:gd name="T29" fmla="*/ 38 h 206"/>
              <a:gd name="T30" fmla="*/ 506 w 517"/>
              <a:gd name="T31" fmla="*/ 107 h 206"/>
              <a:gd name="T32" fmla="*/ 510 w 517"/>
              <a:gd name="T33" fmla="*/ 103 h 206"/>
              <a:gd name="T34" fmla="*/ 506 w 517"/>
              <a:gd name="T35" fmla="*/ 99 h 206"/>
              <a:gd name="T36" fmla="*/ 404 w 517"/>
              <a:gd name="T37" fmla="*/ 168 h 206"/>
              <a:gd name="T38" fmla="*/ 258 w 517"/>
              <a:gd name="T39" fmla="*/ 194 h 206"/>
              <a:gd name="T40" fmla="*/ 112 w 517"/>
              <a:gd name="T41" fmla="*/ 168 h 206"/>
              <a:gd name="T42" fmla="*/ 11 w 517"/>
              <a:gd name="T43" fmla="*/ 99 h 206"/>
              <a:gd name="T44" fmla="*/ 6 w 517"/>
              <a:gd name="T45" fmla="*/ 103 h 206"/>
              <a:gd name="T46" fmla="*/ 11 w 517"/>
              <a:gd name="T47" fmla="*/ 107 h 206"/>
              <a:gd name="T48" fmla="*/ 112 w 517"/>
              <a:gd name="T49" fmla="*/ 38 h 206"/>
              <a:gd name="T50" fmla="*/ 258 w 517"/>
              <a:gd name="T51" fmla="*/ 12 h 206"/>
              <a:gd name="T52" fmla="*/ 258 w 517"/>
              <a:gd name="T53" fmla="*/ 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7" h="206">
                <a:moveTo>
                  <a:pt x="258" y="6"/>
                </a:moveTo>
                <a:cubicBezTo>
                  <a:pt x="258" y="0"/>
                  <a:pt x="258" y="0"/>
                  <a:pt x="258" y="0"/>
                </a:cubicBezTo>
                <a:cubicBezTo>
                  <a:pt x="203" y="0"/>
                  <a:pt x="152" y="10"/>
                  <a:pt x="108" y="27"/>
                </a:cubicBezTo>
                <a:cubicBezTo>
                  <a:pt x="64" y="45"/>
                  <a:pt x="27" y="69"/>
                  <a:pt x="2" y="99"/>
                </a:cubicBezTo>
                <a:cubicBezTo>
                  <a:pt x="0" y="101"/>
                  <a:pt x="0" y="105"/>
                  <a:pt x="2" y="107"/>
                </a:cubicBezTo>
                <a:cubicBezTo>
                  <a:pt x="27" y="137"/>
                  <a:pt x="64" y="162"/>
                  <a:pt x="108" y="179"/>
                </a:cubicBezTo>
                <a:cubicBezTo>
                  <a:pt x="152" y="196"/>
                  <a:pt x="203" y="206"/>
                  <a:pt x="258" y="206"/>
                </a:cubicBezTo>
                <a:cubicBezTo>
                  <a:pt x="313" y="206"/>
                  <a:pt x="364" y="196"/>
                  <a:pt x="409" y="179"/>
                </a:cubicBezTo>
                <a:cubicBezTo>
                  <a:pt x="453" y="162"/>
                  <a:pt x="489" y="137"/>
                  <a:pt x="515" y="107"/>
                </a:cubicBezTo>
                <a:cubicBezTo>
                  <a:pt x="517" y="105"/>
                  <a:pt x="517" y="101"/>
                  <a:pt x="515" y="99"/>
                </a:cubicBezTo>
                <a:cubicBezTo>
                  <a:pt x="489" y="69"/>
                  <a:pt x="453" y="45"/>
                  <a:pt x="409" y="27"/>
                </a:cubicBezTo>
                <a:cubicBezTo>
                  <a:pt x="364" y="10"/>
                  <a:pt x="313" y="0"/>
                  <a:pt x="258" y="0"/>
                </a:cubicBezTo>
                <a:cubicBezTo>
                  <a:pt x="258" y="6"/>
                  <a:pt x="258" y="6"/>
                  <a:pt x="258" y="6"/>
                </a:cubicBezTo>
                <a:cubicBezTo>
                  <a:pt x="258" y="12"/>
                  <a:pt x="258" y="12"/>
                  <a:pt x="258" y="12"/>
                </a:cubicBezTo>
                <a:cubicBezTo>
                  <a:pt x="312" y="12"/>
                  <a:pt x="362" y="22"/>
                  <a:pt x="404" y="38"/>
                </a:cubicBezTo>
                <a:cubicBezTo>
                  <a:pt x="447" y="55"/>
                  <a:pt x="482" y="79"/>
                  <a:pt x="506" y="107"/>
                </a:cubicBezTo>
                <a:cubicBezTo>
                  <a:pt x="510" y="103"/>
                  <a:pt x="510" y="103"/>
                  <a:pt x="510" y="103"/>
                </a:cubicBezTo>
                <a:cubicBezTo>
                  <a:pt x="506" y="99"/>
                  <a:pt x="506" y="99"/>
                  <a:pt x="506" y="99"/>
                </a:cubicBezTo>
                <a:cubicBezTo>
                  <a:pt x="482" y="127"/>
                  <a:pt x="447" y="151"/>
                  <a:pt x="404" y="168"/>
                </a:cubicBezTo>
                <a:cubicBezTo>
                  <a:pt x="362" y="185"/>
                  <a:pt x="312" y="194"/>
                  <a:pt x="258" y="194"/>
                </a:cubicBezTo>
                <a:cubicBezTo>
                  <a:pt x="205" y="194"/>
                  <a:pt x="155" y="185"/>
                  <a:pt x="112" y="168"/>
                </a:cubicBezTo>
                <a:cubicBezTo>
                  <a:pt x="70" y="151"/>
                  <a:pt x="35" y="127"/>
                  <a:pt x="11" y="99"/>
                </a:cubicBezTo>
                <a:cubicBezTo>
                  <a:pt x="6" y="103"/>
                  <a:pt x="6" y="103"/>
                  <a:pt x="6" y="103"/>
                </a:cubicBezTo>
                <a:cubicBezTo>
                  <a:pt x="11" y="107"/>
                  <a:pt x="11" y="107"/>
                  <a:pt x="11" y="107"/>
                </a:cubicBezTo>
                <a:cubicBezTo>
                  <a:pt x="35" y="79"/>
                  <a:pt x="70" y="55"/>
                  <a:pt x="112" y="38"/>
                </a:cubicBezTo>
                <a:cubicBezTo>
                  <a:pt x="155" y="22"/>
                  <a:pt x="205" y="12"/>
                  <a:pt x="258" y="12"/>
                </a:cubicBezTo>
                <a:lnTo>
                  <a:pt x="258" y="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85" name="Freeform 270">
            <a:extLst>
              <a:ext uri="{FF2B5EF4-FFF2-40B4-BE49-F238E27FC236}">
                <a16:creationId xmlns:a16="http://schemas.microsoft.com/office/drawing/2014/main" id="{A656956D-795D-4B62-A31A-6AEFEEAA42BF}"/>
              </a:ext>
            </a:extLst>
          </p:cNvPr>
          <p:cNvSpPr>
            <a:spLocks/>
          </p:cNvSpPr>
          <p:nvPr/>
        </p:nvSpPr>
        <p:spPr bwMode="auto">
          <a:xfrm>
            <a:off x="10382001" y="1794361"/>
            <a:ext cx="96163" cy="129567"/>
          </a:xfrm>
          <a:custGeom>
            <a:avLst/>
            <a:gdLst>
              <a:gd name="T0" fmla="*/ 0 w 40"/>
              <a:gd name="T1" fmla="*/ 6 h 54"/>
              <a:gd name="T2" fmla="*/ 0 w 40"/>
              <a:gd name="T3" fmla="*/ 6 h 54"/>
              <a:gd name="T4" fmla="*/ 0 w 40"/>
              <a:gd name="T5" fmla="*/ 8 h 54"/>
              <a:gd name="T6" fmla="*/ 15 w 40"/>
              <a:gd name="T7" fmla="*/ 37 h 54"/>
              <a:gd name="T8" fmla="*/ 15 w 40"/>
              <a:gd name="T9" fmla="*/ 37 h 54"/>
              <a:gd name="T10" fmla="*/ 29 w 40"/>
              <a:gd name="T11" fmla="*/ 52 h 54"/>
              <a:gd name="T12" fmla="*/ 38 w 40"/>
              <a:gd name="T13" fmla="*/ 52 h 54"/>
              <a:gd name="T14" fmla="*/ 37 w 40"/>
              <a:gd name="T15" fmla="*/ 43 h 54"/>
              <a:gd name="T16" fmla="*/ 25 w 40"/>
              <a:gd name="T17" fmla="*/ 29 h 54"/>
              <a:gd name="T18" fmla="*/ 25 w 40"/>
              <a:gd name="T19" fmla="*/ 29 h 54"/>
              <a:gd name="T20" fmla="*/ 11 w 40"/>
              <a:gd name="T21" fmla="*/ 4 h 54"/>
              <a:gd name="T22" fmla="*/ 6 w 40"/>
              <a:gd name="T23" fmla="*/ 6 h 54"/>
              <a:gd name="T24" fmla="*/ 12 w 40"/>
              <a:gd name="T25" fmla="*/ 6 h 54"/>
              <a:gd name="T26" fmla="*/ 12 w 40"/>
              <a:gd name="T27" fmla="*/ 6 h 54"/>
              <a:gd name="T28" fmla="*/ 6 w 40"/>
              <a:gd name="T29" fmla="*/ 0 h 54"/>
              <a:gd name="T30" fmla="*/ 0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0" y="6"/>
                </a:moveTo>
                <a:cubicBezTo>
                  <a:pt x="0" y="6"/>
                  <a:pt x="0" y="6"/>
                  <a:pt x="0" y="6"/>
                </a:cubicBezTo>
                <a:cubicBezTo>
                  <a:pt x="0" y="6"/>
                  <a:pt x="0" y="7"/>
                  <a:pt x="0" y="8"/>
                </a:cubicBezTo>
                <a:cubicBezTo>
                  <a:pt x="3" y="18"/>
                  <a:pt x="9" y="28"/>
                  <a:pt x="15" y="37"/>
                </a:cubicBezTo>
                <a:cubicBezTo>
                  <a:pt x="15" y="37"/>
                  <a:pt x="15" y="37"/>
                  <a:pt x="15" y="37"/>
                </a:cubicBezTo>
                <a:cubicBezTo>
                  <a:pt x="19" y="42"/>
                  <a:pt x="24" y="47"/>
                  <a:pt x="29" y="52"/>
                </a:cubicBezTo>
                <a:cubicBezTo>
                  <a:pt x="32" y="54"/>
                  <a:pt x="35" y="54"/>
                  <a:pt x="38" y="52"/>
                </a:cubicBezTo>
                <a:cubicBezTo>
                  <a:pt x="40" y="49"/>
                  <a:pt x="40" y="45"/>
                  <a:pt x="37" y="43"/>
                </a:cubicBezTo>
                <a:cubicBezTo>
                  <a:pt x="33" y="39"/>
                  <a:pt x="28" y="34"/>
                  <a:pt x="25" y="29"/>
                </a:cubicBezTo>
                <a:cubicBezTo>
                  <a:pt x="25" y="29"/>
                  <a:pt x="25" y="29"/>
                  <a:pt x="25" y="29"/>
                </a:cubicBezTo>
                <a:cubicBezTo>
                  <a:pt x="19" y="22"/>
                  <a:pt x="14" y="13"/>
                  <a:pt x="11" y="4"/>
                </a:cubicBezTo>
                <a:cubicBezTo>
                  <a:pt x="6" y="6"/>
                  <a:pt x="6" y="6"/>
                  <a:pt x="6" y="6"/>
                </a:cubicBezTo>
                <a:cubicBezTo>
                  <a:pt x="12" y="6"/>
                  <a:pt x="12" y="6"/>
                  <a:pt x="12" y="6"/>
                </a:cubicBezTo>
                <a:cubicBezTo>
                  <a:pt x="12" y="6"/>
                  <a:pt x="12" y="6"/>
                  <a:pt x="12" y="6"/>
                </a:cubicBezTo>
                <a:cubicBezTo>
                  <a:pt x="12" y="2"/>
                  <a:pt x="9" y="0"/>
                  <a:pt x="6" y="0"/>
                </a:cubicBezTo>
                <a:cubicBezTo>
                  <a:pt x="2" y="0"/>
                  <a:pt x="0" y="2"/>
                  <a:pt x="0"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271">
            <a:extLst>
              <a:ext uri="{FF2B5EF4-FFF2-40B4-BE49-F238E27FC236}">
                <a16:creationId xmlns:a16="http://schemas.microsoft.com/office/drawing/2014/main" id="{E442D7CA-FD38-4DC1-8AC2-FAC0A5D2F8E4}"/>
              </a:ext>
            </a:extLst>
          </p:cNvPr>
          <p:cNvSpPr>
            <a:spLocks/>
          </p:cNvSpPr>
          <p:nvPr/>
        </p:nvSpPr>
        <p:spPr bwMode="auto">
          <a:xfrm>
            <a:off x="10483226" y="1918867"/>
            <a:ext cx="264196" cy="62759"/>
          </a:xfrm>
          <a:custGeom>
            <a:avLst/>
            <a:gdLst>
              <a:gd name="T0" fmla="*/ 4 w 110"/>
              <a:gd name="T1" fmla="*/ 12 h 26"/>
              <a:gd name="T2" fmla="*/ 25 w 110"/>
              <a:gd name="T3" fmla="*/ 21 h 26"/>
              <a:gd name="T4" fmla="*/ 27 w 110"/>
              <a:gd name="T5" fmla="*/ 22 h 26"/>
              <a:gd name="T6" fmla="*/ 27 w 110"/>
              <a:gd name="T7" fmla="*/ 22 h 26"/>
              <a:gd name="T8" fmla="*/ 27 w 110"/>
              <a:gd name="T9" fmla="*/ 16 h 26"/>
              <a:gd name="T10" fmla="*/ 25 w 110"/>
              <a:gd name="T11" fmla="*/ 21 h 26"/>
              <a:gd name="T12" fmla="*/ 55 w 110"/>
              <a:gd name="T13" fmla="*/ 26 h 26"/>
              <a:gd name="T14" fmla="*/ 85 w 110"/>
              <a:gd name="T15" fmla="*/ 21 h 26"/>
              <a:gd name="T16" fmla="*/ 83 w 110"/>
              <a:gd name="T17" fmla="*/ 16 h 26"/>
              <a:gd name="T18" fmla="*/ 83 w 110"/>
              <a:gd name="T19" fmla="*/ 22 h 26"/>
              <a:gd name="T20" fmla="*/ 83 w 110"/>
              <a:gd name="T21" fmla="*/ 22 h 26"/>
              <a:gd name="T22" fmla="*/ 85 w 110"/>
              <a:gd name="T23" fmla="*/ 21 h 26"/>
              <a:gd name="T24" fmla="*/ 106 w 110"/>
              <a:gd name="T25" fmla="*/ 12 h 26"/>
              <a:gd name="T26" fmla="*/ 108 w 110"/>
              <a:gd name="T27" fmla="*/ 4 h 26"/>
              <a:gd name="T28" fmla="*/ 100 w 110"/>
              <a:gd name="T29" fmla="*/ 2 h 26"/>
              <a:gd name="T30" fmla="*/ 82 w 110"/>
              <a:gd name="T31" fmla="*/ 10 h 26"/>
              <a:gd name="T32" fmla="*/ 83 w 110"/>
              <a:gd name="T33" fmla="*/ 16 h 26"/>
              <a:gd name="T34" fmla="*/ 83 w 110"/>
              <a:gd name="T35" fmla="*/ 10 h 26"/>
              <a:gd name="T36" fmla="*/ 83 w 110"/>
              <a:gd name="T37" fmla="*/ 10 h 26"/>
              <a:gd name="T38" fmla="*/ 82 w 110"/>
              <a:gd name="T39" fmla="*/ 10 h 26"/>
              <a:gd name="T40" fmla="*/ 55 w 110"/>
              <a:gd name="T41" fmla="*/ 14 h 26"/>
              <a:gd name="T42" fmla="*/ 29 w 110"/>
              <a:gd name="T43" fmla="*/ 10 h 26"/>
              <a:gd name="T44" fmla="*/ 27 w 110"/>
              <a:gd name="T45" fmla="*/ 10 h 26"/>
              <a:gd name="T46" fmla="*/ 27 w 110"/>
              <a:gd name="T47" fmla="*/ 10 h 26"/>
              <a:gd name="T48" fmla="*/ 27 w 110"/>
              <a:gd name="T49" fmla="*/ 16 h 26"/>
              <a:gd name="T50" fmla="*/ 29 w 110"/>
              <a:gd name="T51" fmla="*/ 10 h 26"/>
              <a:gd name="T52" fmla="*/ 10 w 110"/>
              <a:gd name="T53" fmla="*/ 2 h 26"/>
              <a:gd name="T54" fmla="*/ 2 w 110"/>
              <a:gd name="T55" fmla="*/ 4 h 26"/>
              <a:gd name="T56" fmla="*/ 4 w 110"/>
              <a:gd name="T5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26">
                <a:moveTo>
                  <a:pt x="4" y="12"/>
                </a:moveTo>
                <a:cubicBezTo>
                  <a:pt x="11" y="16"/>
                  <a:pt x="18" y="19"/>
                  <a:pt x="25" y="21"/>
                </a:cubicBezTo>
                <a:cubicBezTo>
                  <a:pt x="26" y="22"/>
                  <a:pt x="26" y="22"/>
                  <a:pt x="27" y="22"/>
                </a:cubicBezTo>
                <a:cubicBezTo>
                  <a:pt x="27" y="22"/>
                  <a:pt x="27" y="22"/>
                  <a:pt x="27" y="22"/>
                </a:cubicBezTo>
                <a:cubicBezTo>
                  <a:pt x="27" y="16"/>
                  <a:pt x="27" y="16"/>
                  <a:pt x="27" y="16"/>
                </a:cubicBezTo>
                <a:cubicBezTo>
                  <a:pt x="25" y="21"/>
                  <a:pt x="25" y="21"/>
                  <a:pt x="25" y="21"/>
                </a:cubicBezTo>
                <a:cubicBezTo>
                  <a:pt x="35" y="24"/>
                  <a:pt x="45" y="26"/>
                  <a:pt x="55" y="26"/>
                </a:cubicBezTo>
                <a:cubicBezTo>
                  <a:pt x="66" y="26"/>
                  <a:pt x="76" y="24"/>
                  <a:pt x="85" y="21"/>
                </a:cubicBezTo>
                <a:cubicBezTo>
                  <a:pt x="83" y="16"/>
                  <a:pt x="83" y="16"/>
                  <a:pt x="83" y="16"/>
                </a:cubicBezTo>
                <a:cubicBezTo>
                  <a:pt x="83" y="22"/>
                  <a:pt x="83" y="22"/>
                  <a:pt x="83" y="22"/>
                </a:cubicBezTo>
                <a:cubicBezTo>
                  <a:pt x="83" y="22"/>
                  <a:pt x="83" y="22"/>
                  <a:pt x="83" y="22"/>
                </a:cubicBezTo>
                <a:cubicBezTo>
                  <a:pt x="84" y="22"/>
                  <a:pt x="85" y="22"/>
                  <a:pt x="85" y="21"/>
                </a:cubicBezTo>
                <a:cubicBezTo>
                  <a:pt x="92" y="19"/>
                  <a:pt x="99" y="16"/>
                  <a:pt x="106" y="12"/>
                </a:cubicBezTo>
                <a:cubicBezTo>
                  <a:pt x="109" y="11"/>
                  <a:pt x="110" y="7"/>
                  <a:pt x="108" y="4"/>
                </a:cubicBezTo>
                <a:cubicBezTo>
                  <a:pt x="106" y="1"/>
                  <a:pt x="103" y="0"/>
                  <a:pt x="100" y="2"/>
                </a:cubicBezTo>
                <a:cubicBezTo>
                  <a:pt x="94" y="5"/>
                  <a:pt x="88" y="8"/>
                  <a:pt x="82" y="10"/>
                </a:cubicBezTo>
                <a:cubicBezTo>
                  <a:pt x="83" y="16"/>
                  <a:pt x="83" y="16"/>
                  <a:pt x="83" y="16"/>
                </a:cubicBezTo>
                <a:cubicBezTo>
                  <a:pt x="83" y="10"/>
                  <a:pt x="83" y="10"/>
                  <a:pt x="83" y="10"/>
                </a:cubicBezTo>
                <a:cubicBezTo>
                  <a:pt x="83" y="10"/>
                  <a:pt x="83" y="10"/>
                  <a:pt x="83" y="10"/>
                </a:cubicBezTo>
                <a:cubicBezTo>
                  <a:pt x="83" y="10"/>
                  <a:pt x="82" y="10"/>
                  <a:pt x="82" y="10"/>
                </a:cubicBezTo>
                <a:cubicBezTo>
                  <a:pt x="73" y="13"/>
                  <a:pt x="64" y="14"/>
                  <a:pt x="55" y="14"/>
                </a:cubicBezTo>
                <a:cubicBezTo>
                  <a:pt x="46" y="14"/>
                  <a:pt x="37" y="13"/>
                  <a:pt x="29" y="10"/>
                </a:cubicBezTo>
                <a:cubicBezTo>
                  <a:pt x="28" y="10"/>
                  <a:pt x="27" y="10"/>
                  <a:pt x="27" y="10"/>
                </a:cubicBezTo>
                <a:cubicBezTo>
                  <a:pt x="27" y="10"/>
                  <a:pt x="27" y="10"/>
                  <a:pt x="27" y="10"/>
                </a:cubicBezTo>
                <a:cubicBezTo>
                  <a:pt x="27" y="16"/>
                  <a:pt x="27" y="16"/>
                  <a:pt x="27" y="16"/>
                </a:cubicBezTo>
                <a:cubicBezTo>
                  <a:pt x="29" y="10"/>
                  <a:pt x="29" y="10"/>
                  <a:pt x="29" y="10"/>
                </a:cubicBezTo>
                <a:cubicBezTo>
                  <a:pt x="22" y="8"/>
                  <a:pt x="16" y="5"/>
                  <a:pt x="10" y="2"/>
                </a:cubicBezTo>
                <a:cubicBezTo>
                  <a:pt x="7" y="0"/>
                  <a:pt x="4" y="1"/>
                  <a:pt x="2"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272">
            <a:extLst>
              <a:ext uri="{FF2B5EF4-FFF2-40B4-BE49-F238E27FC236}">
                <a16:creationId xmlns:a16="http://schemas.microsoft.com/office/drawing/2014/main" id="{3A2E527B-0961-4384-B654-85477CD58BAB}"/>
              </a:ext>
            </a:extLst>
          </p:cNvPr>
          <p:cNvSpPr>
            <a:spLocks/>
          </p:cNvSpPr>
          <p:nvPr/>
        </p:nvSpPr>
        <p:spPr bwMode="auto">
          <a:xfrm>
            <a:off x="10369854" y="1491700"/>
            <a:ext cx="489927" cy="237878"/>
          </a:xfrm>
          <a:custGeom>
            <a:avLst/>
            <a:gdLst>
              <a:gd name="T0" fmla="*/ 12 w 204"/>
              <a:gd name="T1" fmla="*/ 93 h 99"/>
              <a:gd name="T2" fmla="*/ 30 w 204"/>
              <a:gd name="T3" fmla="*/ 48 h 99"/>
              <a:gd name="T4" fmla="*/ 83 w 204"/>
              <a:gd name="T5" fmla="*/ 14 h 99"/>
              <a:gd name="T6" fmla="*/ 102 w 204"/>
              <a:gd name="T7" fmla="*/ 12 h 99"/>
              <a:gd name="T8" fmla="*/ 121 w 204"/>
              <a:gd name="T9" fmla="*/ 14 h 99"/>
              <a:gd name="T10" fmla="*/ 175 w 204"/>
              <a:gd name="T11" fmla="*/ 48 h 99"/>
              <a:gd name="T12" fmla="*/ 192 w 204"/>
              <a:gd name="T13" fmla="*/ 93 h 99"/>
              <a:gd name="T14" fmla="*/ 198 w 204"/>
              <a:gd name="T15" fmla="*/ 98 h 99"/>
              <a:gd name="T16" fmla="*/ 204 w 204"/>
              <a:gd name="T17" fmla="*/ 92 h 99"/>
              <a:gd name="T18" fmla="*/ 184 w 204"/>
              <a:gd name="T19" fmla="*/ 41 h 99"/>
              <a:gd name="T20" fmla="*/ 123 w 204"/>
              <a:gd name="T21" fmla="*/ 2 h 99"/>
              <a:gd name="T22" fmla="*/ 102 w 204"/>
              <a:gd name="T23" fmla="*/ 0 h 99"/>
              <a:gd name="T24" fmla="*/ 81 w 204"/>
              <a:gd name="T25" fmla="*/ 2 h 99"/>
              <a:gd name="T26" fmla="*/ 20 w 204"/>
              <a:gd name="T27" fmla="*/ 41 h 99"/>
              <a:gd name="T28" fmla="*/ 0 w 204"/>
              <a:gd name="T29" fmla="*/ 92 h 99"/>
              <a:gd name="T30" fmla="*/ 6 w 204"/>
              <a:gd name="T31" fmla="*/ 98 h 99"/>
              <a:gd name="T32" fmla="*/ 12 w 204"/>
              <a:gd name="T33" fmla="*/ 9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99">
                <a:moveTo>
                  <a:pt x="12" y="93"/>
                </a:moveTo>
                <a:cubicBezTo>
                  <a:pt x="14" y="76"/>
                  <a:pt x="20" y="61"/>
                  <a:pt x="30" y="48"/>
                </a:cubicBezTo>
                <a:cubicBezTo>
                  <a:pt x="42" y="31"/>
                  <a:pt x="61" y="18"/>
                  <a:pt x="83" y="14"/>
                </a:cubicBezTo>
                <a:cubicBezTo>
                  <a:pt x="89" y="12"/>
                  <a:pt x="96" y="12"/>
                  <a:pt x="102" y="12"/>
                </a:cubicBezTo>
                <a:cubicBezTo>
                  <a:pt x="109" y="12"/>
                  <a:pt x="115" y="12"/>
                  <a:pt x="121" y="14"/>
                </a:cubicBezTo>
                <a:cubicBezTo>
                  <a:pt x="143" y="18"/>
                  <a:pt x="162" y="31"/>
                  <a:pt x="175" y="48"/>
                </a:cubicBezTo>
                <a:cubicBezTo>
                  <a:pt x="184" y="61"/>
                  <a:pt x="190" y="76"/>
                  <a:pt x="192" y="93"/>
                </a:cubicBezTo>
                <a:cubicBezTo>
                  <a:pt x="192" y="96"/>
                  <a:pt x="195" y="99"/>
                  <a:pt x="198" y="98"/>
                </a:cubicBezTo>
                <a:cubicBezTo>
                  <a:pt x="202" y="98"/>
                  <a:pt x="204" y="95"/>
                  <a:pt x="204" y="92"/>
                </a:cubicBezTo>
                <a:cubicBezTo>
                  <a:pt x="202" y="73"/>
                  <a:pt x="195" y="56"/>
                  <a:pt x="184" y="41"/>
                </a:cubicBezTo>
                <a:cubicBezTo>
                  <a:pt x="170" y="21"/>
                  <a:pt x="148" y="7"/>
                  <a:pt x="123" y="2"/>
                </a:cubicBezTo>
                <a:cubicBezTo>
                  <a:pt x="117" y="0"/>
                  <a:pt x="109" y="0"/>
                  <a:pt x="102" y="0"/>
                </a:cubicBezTo>
                <a:cubicBezTo>
                  <a:pt x="95" y="0"/>
                  <a:pt x="88" y="0"/>
                  <a:pt x="81" y="2"/>
                </a:cubicBezTo>
                <a:cubicBezTo>
                  <a:pt x="56" y="7"/>
                  <a:pt x="35" y="21"/>
                  <a:pt x="20" y="41"/>
                </a:cubicBezTo>
                <a:cubicBezTo>
                  <a:pt x="9" y="56"/>
                  <a:pt x="2" y="73"/>
                  <a:pt x="0" y="92"/>
                </a:cubicBezTo>
                <a:cubicBezTo>
                  <a:pt x="0" y="95"/>
                  <a:pt x="3" y="98"/>
                  <a:pt x="6" y="98"/>
                </a:cubicBezTo>
                <a:cubicBezTo>
                  <a:pt x="9" y="99"/>
                  <a:pt x="12" y="96"/>
                  <a:pt x="12" y="9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273">
            <a:extLst>
              <a:ext uri="{FF2B5EF4-FFF2-40B4-BE49-F238E27FC236}">
                <a16:creationId xmlns:a16="http://schemas.microsoft.com/office/drawing/2014/main" id="{0C7E33EC-5BC4-41BF-B323-83BD6DC6C9C1}"/>
              </a:ext>
            </a:extLst>
          </p:cNvPr>
          <p:cNvSpPr>
            <a:spLocks/>
          </p:cNvSpPr>
          <p:nvPr/>
        </p:nvSpPr>
        <p:spPr bwMode="auto">
          <a:xfrm>
            <a:off x="10751471" y="1794361"/>
            <a:ext cx="96163" cy="129567"/>
          </a:xfrm>
          <a:custGeom>
            <a:avLst/>
            <a:gdLst>
              <a:gd name="T0" fmla="*/ 28 w 40"/>
              <a:gd name="T1" fmla="*/ 6 h 54"/>
              <a:gd name="T2" fmla="*/ 28 w 40"/>
              <a:gd name="T3" fmla="*/ 6 h 54"/>
              <a:gd name="T4" fmla="*/ 34 w 40"/>
              <a:gd name="T5" fmla="*/ 6 h 54"/>
              <a:gd name="T6" fmla="*/ 29 w 40"/>
              <a:gd name="T7" fmla="*/ 4 h 54"/>
              <a:gd name="T8" fmla="*/ 16 w 40"/>
              <a:gd name="T9" fmla="*/ 29 h 54"/>
              <a:gd name="T10" fmla="*/ 16 w 40"/>
              <a:gd name="T11" fmla="*/ 29 h 54"/>
              <a:gd name="T12" fmla="*/ 3 w 40"/>
              <a:gd name="T13" fmla="*/ 43 h 54"/>
              <a:gd name="T14" fmla="*/ 3 w 40"/>
              <a:gd name="T15" fmla="*/ 52 h 54"/>
              <a:gd name="T16" fmla="*/ 11 w 40"/>
              <a:gd name="T17" fmla="*/ 52 h 54"/>
              <a:gd name="T18" fmla="*/ 25 w 40"/>
              <a:gd name="T19" fmla="*/ 37 h 54"/>
              <a:gd name="T20" fmla="*/ 25 w 40"/>
              <a:gd name="T21" fmla="*/ 37 h 54"/>
              <a:gd name="T22" fmla="*/ 40 w 40"/>
              <a:gd name="T23" fmla="*/ 8 h 54"/>
              <a:gd name="T24" fmla="*/ 40 w 40"/>
              <a:gd name="T25" fmla="*/ 6 h 54"/>
              <a:gd name="T26" fmla="*/ 40 w 40"/>
              <a:gd name="T27" fmla="*/ 6 h 54"/>
              <a:gd name="T28" fmla="*/ 34 w 40"/>
              <a:gd name="T29" fmla="*/ 0 h 54"/>
              <a:gd name="T30" fmla="*/ 28 w 40"/>
              <a:gd name="T31"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4">
                <a:moveTo>
                  <a:pt x="28" y="6"/>
                </a:moveTo>
                <a:cubicBezTo>
                  <a:pt x="28" y="6"/>
                  <a:pt x="28" y="6"/>
                  <a:pt x="28" y="6"/>
                </a:cubicBezTo>
                <a:cubicBezTo>
                  <a:pt x="34" y="6"/>
                  <a:pt x="34" y="6"/>
                  <a:pt x="34" y="6"/>
                </a:cubicBezTo>
                <a:cubicBezTo>
                  <a:pt x="29" y="4"/>
                  <a:pt x="29" y="4"/>
                  <a:pt x="29" y="4"/>
                </a:cubicBezTo>
                <a:cubicBezTo>
                  <a:pt x="26" y="13"/>
                  <a:pt x="21" y="22"/>
                  <a:pt x="16" y="29"/>
                </a:cubicBezTo>
                <a:cubicBezTo>
                  <a:pt x="16" y="29"/>
                  <a:pt x="16" y="29"/>
                  <a:pt x="16" y="29"/>
                </a:cubicBezTo>
                <a:cubicBezTo>
                  <a:pt x="12" y="34"/>
                  <a:pt x="8" y="39"/>
                  <a:pt x="3" y="43"/>
                </a:cubicBezTo>
                <a:cubicBezTo>
                  <a:pt x="1" y="45"/>
                  <a:pt x="0" y="49"/>
                  <a:pt x="3" y="52"/>
                </a:cubicBezTo>
                <a:cubicBezTo>
                  <a:pt x="5" y="54"/>
                  <a:pt x="9" y="54"/>
                  <a:pt x="11" y="52"/>
                </a:cubicBezTo>
                <a:cubicBezTo>
                  <a:pt x="16" y="47"/>
                  <a:pt x="21" y="42"/>
                  <a:pt x="25" y="37"/>
                </a:cubicBezTo>
                <a:cubicBezTo>
                  <a:pt x="25" y="37"/>
                  <a:pt x="25" y="37"/>
                  <a:pt x="25" y="37"/>
                </a:cubicBezTo>
                <a:cubicBezTo>
                  <a:pt x="32" y="28"/>
                  <a:pt x="37" y="18"/>
                  <a:pt x="40" y="8"/>
                </a:cubicBezTo>
                <a:cubicBezTo>
                  <a:pt x="40" y="7"/>
                  <a:pt x="40" y="6"/>
                  <a:pt x="40" y="6"/>
                </a:cubicBezTo>
                <a:cubicBezTo>
                  <a:pt x="40" y="6"/>
                  <a:pt x="40" y="6"/>
                  <a:pt x="40" y="6"/>
                </a:cubicBezTo>
                <a:cubicBezTo>
                  <a:pt x="40" y="2"/>
                  <a:pt x="38" y="0"/>
                  <a:pt x="34" y="0"/>
                </a:cubicBezTo>
                <a:cubicBezTo>
                  <a:pt x="31" y="0"/>
                  <a:pt x="28" y="2"/>
                  <a:pt x="28" y="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Freeform 274">
            <a:extLst>
              <a:ext uri="{FF2B5EF4-FFF2-40B4-BE49-F238E27FC236}">
                <a16:creationId xmlns:a16="http://schemas.microsoft.com/office/drawing/2014/main" id="{53592B6E-E0BB-4A34-9298-E6BACD96D949}"/>
              </a:ext>
            </a:extLst>
          </p:cNvPr>
          <p:cNvSpPr>
            <a:spLocks/>
          </p:cNvSpPr>
          <p:nvPr/>
        </p:nvSpPr>
        <p:spPr bwMode="auto">
          <a:xfrm>
            <a:off x="10600646" y="1491700"/>
            <a:ext cx="28343" cy="489927"/>
          </a:xfrm>
          <a:custGeom>
            <a:avLst/>
            <a:gdLst>
              <a:gd name="T0" fmla="*/ 12 w 12"/>
              <a:gd name="T1" fmla="*/ 198 h 204"/>
              <a:gd name="T2" fmla="*/ 12 w 12"/>
              <a:gd name="T3" fmla="*/ 143 h 204"/>
              <a:gd name="T4" fmla="*/ 12 w 12"/>
              <a:gd name="T5" fmla="*/ 106 h 204"/>
              <a:gd name="T6" fmla="*/ 12 w 12"/>
              <a:gd name="T7" fmla="*/ 61 h 204"/>
              <a:gd name="T8" fmla="*/ 12 w 12"/>
              <a:gd name="T9" fmla="*/ 6 h 204"/>
              <a:gd name="T10" fmla="*/ 6 w 12"/>
              <a:gd name="T11" fmla="*/ 0 h 204"/>
              <a:gd name="T12" fmla="*/ 0 w 12"/>
              <a:gd name="T13" fmla="*/ 6 h 204"/>
              <a:gd name="T14" fmla="*/ 0 w 12"/>
              <a:gd name="T15" fmla="*/ 61 h 204"/>
              <a:gd name="T16" fmla="*/ 0 w 12"/>
              <a:gd name="T17" fmla="*/ 106 h 204"/>
              <a:gd name="T18" fmla="*/ 0 w 12"/>
              <a:gd name="T19" fmla="*/ 143 h 204"/>
              <a:gd name="T20" fmla="*/ 0 w 12"/>
              <a:gd name="T21" fmla="*/ 198 h 204"/>
              <a:gd name="T22" fmla="*/ 6 w 12"/>
              <a:gd name="T23" fmla="*/ 204 h 204"/>
              <a:gd name="T24" fmla="*/ 12 w 12"/>
              <a:gd name="T25" fmla="*/ 19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4">
                <a:moveTo>
                  <a:pt x="12" y="198"/>
                </a:moveTo>
                <a:cubicBezTo>
                  <a:pt x="12" y="143"/>
                  <a:pt x="12" y="143"/>
                  <a:pt x="12" y="143"/>
                </a:cubicBezTo>
                <a:cubicBezTo>
                  <a:pt x="12" y="106"/>
                  <a:pt x="12" y="106"/>
                  <a:pt x="12" y="106"/>
                </a:cubicBezTo>
                <a:cubicBezTo>
                  <a:pt x="12" y="61"/>
                  <a:pt x="12" y="61"/>
                  <a:pt x="12" y="61"/>
                </a:cubicBezTo>
                <a:cubicBezTo>
                  <a:pt x="12" y="6"/>
                  <a:pt x="12" y="6"/>
                  <a:pt x="12" y="6"/>
                </a:cubicBezTo>
                <a:cubicBezTo>
                  <a:pt x="12" y="2"/>
                  <a:pt x="9" y="0"/>
                  <a:pt x="6" y="0"/>
                </a:cubicBezTo>
                <a:cubicBezTo>
                  <a:pt x="3" y="0"/>
                  <a:pt x="0" y="2"/>
                  <a:pt x="0" y="6"/>
                </a:cubicBezTo>
                <a:cubicBezTo>
                  <a:pt x="0" y="61"/>
                  <a:pt x="0" y="61"/>
                  <a:pt x="0" y="61"/>
                </a:cubicBezTo>
                <a:cubicBezTo>
                  <a:pt x="0" y="106"/>
                  <a:pt x="0" y="106"/>
                  <a:pt x="0" y="106"/>
                </a:cubicBezTo>
                <a:cubicBezTo>
                  <a:pt x="0" y="143"/>
                  <a:pt x="0" y="143"/>
                  <a:pt x="0" y="143"/>
                </a:cubicBezTo>
                <a:cubicBezTo>
                  <a:pt x="0" y="198"/>
                  <a:pt x="0" y="198"/>
                  <a:pt x="0" y="198"/>
                </a:cubicBezTo>
                <a:cubicBezTo>
                  <a:pt x="0" y="201"/>
                  <a:pt x="3" y="204"/>
                  <a:pt x="6" y="204"/>
                </a:cubicBezTo>
                <a:cubicBezTo>
                  <a:pt x="9" y="204"/>
                  <a:pt x="12" y="201"/>
                  <a:pt x="12" y="198"/>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Freeform 275">
            <a:extLst>
              <a:ext uri="{FF2B5EF4-FFF2-40B4-BE49-F238E27FC236}">
                <a16:creationId xmlns:a16="http://schemas.microsoft.com/office/drawing/2014/main" id="{EB5ACD66-2B91-4645-9072-F5505E93252E}"/>
              </a:ext>
            </a:extLst>
          </p:cNvPr>
          <p:cNvSpPr>
            <a:spLocks/>
          </p:cNvSpPr>
          <p:nvPr/>
        </p:nvSpPr>
        <p:spPr bwMode="auto">
          <a:xfrm>
            <a:off x="10646197" y="1493724"/>
            <a:ext cx="115396" cy="477780"/>
          </a:xfrm>
          <a:custGeom>
            <a:avLst/>
            <a:gdLst>
              <a:gd name="T0" fmla="*/ 15 w 48"/>
              <a:gd name="T1" fmla="*/ 199 h 199"/>
              <a:gd name="T2" fmla="*/ 15 w 48"/>
              <a:gd name="T3" fmla="*/ 199 h 199"/>
              <a:gd name="T4" fmla="*/ 20 w 48"/>
              <a:gd name="T5" fmla="*/ 196 h 199"/>
              <a:gd name="T6" fmla="*/ 35 w 48"/>
              <a:gd name="T7" fmla="*/ 170 h 199"/>
              <a:gd name="T8" fmla="*/ 35 w 48"/>
              <a:gd name="T9" fmla="*/ 170 h 199"/>
              <a:gd name="T10" fmla="*/ 42 w 48"/>
              <a:gd name="T11" fmla="*/ 150 h 199"/>
              <a:gd name="T12" fmla="*/ 42 w 48"/>
              <a:gd name="T13" fmla="*/ 150 h 199"/>
              <a:gd name="T14" fmla="*/ 48 w 48"/>
              <a:gd name="T15" fmla="*/ 105 h 199"/>
              <a:gd name="T16" fmla="*/ 39 w 48"/>
              <a:gd name="T17" fmla="*/ 52 h 199"/>
              <a:gd name="T18" fmla="*/ 39 w 48"/>
              <a:gd name="T19" fmla="*/ 52 h 199"/>
              <a:gd name="T20" fmla="*/ 35 w 48"/>
              <a:gd name="T21" fmla="*/ 41 h 199"/>
              <a:gd name="T22" fmla="*/ 12 w 48"/>
              <a:gd name="T23" fmla="*/ 3 h 199"/>
              <a:gd name="T24" fmla="*/ 3 w 48"/>
              <a:gd name="T25" fmla="*/ 2 h 199"/>
              <a:gd name="T26" fmla="*/ 2 w 48"/>
              <a:gd name="T27" fmla="*/ 11 h 199"/>
              <a:gd name="T28" fmla="*/ 24 w 48"/>
              <a:gd name="T29" fmla="*/ 46 h 199"/>
              <a:gd name="T30" fmla="*/ 28 w 48"/>
              <a:gd name="T31" fmla="*/ 56 h 199"/>
              <a:gd name="T32" fmla="*/ 28 w 48"/>
              <a:gd name="T33" fmla="*/ 56 h 199"/>
              <a:gd name="T34" fmla="*/ 36 w 48"/>
              <a:gd name="T35" fmla="*/ 105 h 199"/>
              <a:gd name="T36" fmla="*/ 30 w 48"/>
              <a:gd name="T37" fmla="*/ 147 h 199"/>
              <a:gd name="T38" fmla="*/ 30 w 48"/>
              <a:gd name="T39" fmla="*/ 147 h 199"/>
              <a:gd name="T40" fmla="*/ 24 w 48"/>
              <a:gd name="T41" fmla="*/ 165 h 199"/>
              <a:gd name="T42" fmla="*/ 24 w 48"/>
              <a:gd name="T43" fmla="*/ 165 h 199"/>
              <a:gd name="T44" fmla="*/ 10 w 48"/>
              <a:gd name="T45" fmla="*/ 189 h 199"/>
              <a:gd name="T46" fmla="*/ 15 w 48"/>
              <a:gd name="T47" fmla="*/ 193 h 199"/>
              <a:gd name="T48" fmla="*/ 15 w 48"/>
              <a:gd name="T49" fmla="*/ 187 h 199"/>
              <a:gd name="T50" fmla="*/ 15 w 48"/>
              <a:gd name="T51" fmla="*/ 187 h 199"/>
              <a:gd name="T52" fmla="*/ 9 w 48"/>
              <a:gd name="T53" fmla="*/ 193 h 199"/>
              <a:gd name="T54" fmla="*/ 15 w 48"/>
              <a:gd name="T55"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15" y="199"/>
                </a:moveTo>
                <a:cubicBezTo>
                  <a:pt x="15" y="199"/>
                  <a:pt x="15" y="199"/>
                  <a:pt x="15" y="199"/>
                </a:cubicBezTo>
                <a:cubicBezTo>
                  <a:pt x="17" y="199"/>
                  <a:pt x="19" y="198"/>
                  <a:pt x="20" y="196"/>
                </a:cubicBezTo>
                <a:cubicBezTo>
                  <a:pt x="26" y="188"/>
                  <a:pt x="31" y="179"/>
                  <a:pt x="35" y="170"/>
                </a:cubicBezTo>
                <a:cubicBezTo>
                  <a:pt x="35" y="170"/>
                  <a:pt x="35" y="170"/>
                  <a:pt x="35" y="170"/>
                </a:cubicBezTo>
                <a:cubicBezTo>
                  <a:pt x="38" y="163"/>
                  <a:pt x="40" y="157"/>
                  <a:pt x="42" y="150"/>
                </a:cubicBezTo>
                <a:cubicBezTo>
                  <a:pt x="42" y="150"/>
                  <a:pt x="42" y="150"/>
                  <a:pt x="42" y="150"/>
                </a:cubicBezTo>
                <a:cubicBezTo>
                  <a:pt x="46" y="135"/>
                  <a:pt x="48" y="120"/>
                  <a:pt x="48" y="105"/>
                </a:cubicBezTo>
                <a:cubicBezTo>
                  <a:pt x="48" y="87"/>
                  <a:pt x="45" y="69"/>
                  <a:pt x="39" y="52"/>
                </a:cubicBezTo>
                <a:cubicBezTo>
                  <a:pt x="39" y="52"/>
                  <a:pt x="39" y="52"/>
                  <a:pt x="39" y="52"/>
                </a:cubicBezTo>
                <a:cubicBezTo>
                  <a:pt x="38" y="48"/>
                  <a:pt x="36" y="45"/>
                  <a:pt x="35" y="41"/>
                </a:cubicBezTo>
                <a:cubicBezTo>
                  <a:pt x="29" y="28"/>
                  <a:pt x="21" y="15"/>
                  <a:pt x="12" y="3"/>
                </a:cubicBezTo>
                <a:cubicBezTo>
                  <a:pt x="10" y="0"/>
                  <a:pt x="6" y="0"/>
                  <a:pt x="3" y="2"/>
                </a:cubicBezTo>
                <a:cubicBezTo>
                  <a:pt x="1" y="4"/>
                  <a:pt x="0" y="8"/>
                  <a:pt x="2" y="11"/>
                </a:cubicBezTo>
                <a:cubicBezTo>
                  <a:pt x="11" y="21"/>
                  <a:pt x="18" y="33"/>
                  <a:pt x="24" y="46"/>
                </a:cubicBezTo>
                <a:cubicBezTo>
                  <a:pt x="25" y="49"/>
                  <a:pt x="26" y="53"/>
                  <a:pt x="28" y="56"/>
                </a:cubicBezTo>
                <a:cubicBezTo>
                  <a:pt x="28" y="56"/>
                  <a:pt x="28" y="56"/>
                  <a:pt x="28" y="56"/>
                </a:cubicBezTo>
                <a:cubicBezTo>
                  <a:pt x="33" y="72"/>
                  <a:pt x="36" y="89"/>
                  <a:pt x="36" y="105"/>
                </a:cubicBezTo>
                <a:cubicBezTo>
                  <a:pt x="36" y="119"/>
                  <a:pt x="34" y="133"/>
                  <a:pt x="30" y="147"/>
                </a:cubicBezTo>
                <a:cubicBezTo>
                  <a:pt x="30" y="147"/>
                  <a:pt x="30" y="147"/>
                  <a:pt x="30" y="147"/>
                </a:cubicBezTo>
                <a:cubicBezTo>
                  <a:pt x="29" y="153"/>
                  <a:pt x="26" y="159"/>
                  <a:pt x="24" y="165"/>
                </a:cubicBezTo>
                <a:cubicBezTo>
                  <a:pt x="24" y="165"/>
                  <a:pt x="24" y="165"/>
                  <a:pt x="24" y="165"/>
                </a:cubicBezTo>
                <a:cubicBezTo>
                  <a:pt x="20" y="173"/>
                  <a:pt x="16" y="182"/>
                  <a:pt x="10" y="189"/>
                </a:cubicBezTo>
                <a:cubicBezTo>
                  <a:pt x="15" y="193"/>
                  <a:pt x="15" y="193"/>
                  <a:pt x="15" y="193"/>
                </a:cubicBezTo>
                <a:cubicBezTo>
                  <a:pt x="15" y="187"/>
                  <a:pt x="15" y="187"/>
                  <a:pt x="15" y="187"/>
                </a:cubicBezTo>
                <a:cubicBezTo>
                  <a:pt x="15" y="187"/>
                  <a:pt x="15" y="187"/>
                  <a:pt x="15" y="187"/>
                </a:cubicBezTo>
                <a:cubicBezTo>
                  <a:pt x="12" y="187"/>
                  <a:pt x="9" y="189"/>
                  <a:pt x="9" y="193"/>
                </a:cubicBezTo>
                <a:cubicBezTo>
                  <a:pt x="9" y="196"/>
                  <a:pt x="12" y="199"/>
                  <a:pt x="15" y="199"/>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276">
            <a:extLst>
              <a:ext uri="{FF2B5EF4-FFF2-40B4-BE49-F238E27FC236}">
                <a16:creationId xmlns:a16="http://schemas.microsoft.com/office/drawing/2014/main" id="{7DEEBF90-7A90-480F-B608-A3B575B1EA33}"/>
              </a:ext>
            </a:extLst>
          </p:cNvPr>
          <p:cNvSpPr>
            <a:spLocks/>
          </p:cNvSpPr>
          <p:nvPr/>
        </p:nvSpPr>
        <p:spPr bwMode="auto">
          <a:xfrm>
            <a:off x="10389087" y="1731602"/>
            <a:ext cx="454498" cy="29355"/>
          </a:xfrm>
          <a:custGeom>
            <a:avLst/>
            <a:gdLst>
              <a:gd name="T0" fmla="*/ 183 w 189"/>
              <a:gd name="T1" fmla="*/ 0 h 12"/>
              <a:gd name="T2" fmla="*/ 149 w 189"/>
              <a:gd name="T3" fmla="*/ 0 h 12"/>
              <a:gd name="T4" fmla="*/ 94 w 189"/>
              <a:gd name="T5" fmla="*/ 0 h 12"/>
              <a:gd name="T6" fmla="*/ 39 w 189"/>
              <a:gd name="T7" fmla="*/ 0 h 12"/>
              <a:gd name="T8" fmla="*/ 6 w 189"/>
              <a:gd name="T9" fmla="*/ 0 h 12"/>
              <a:gd name="T10" fmla="*/ 0 w 189"/>
              <a:gd name="T11" fmla="*/ 6 h 12"/>
              <a:gd name="T12" fmla="*/ 6 w 189"/>
              <a:gd name="T13" fmla="*/ 12 h 12"/>
              <a:gd name="T14" fmla="*/ 39 w 189"/>
              <a:gd name="T15" fmla="*/ 12 h 12"/>
              <a:gd name="T16" fmla="*/ 94 w 189"/>
              <a:gd name="T17" fmla="*/ 12 h 12"/>
              <a:gd name="T18" fmla="*/ 149 w 189"/>
              <a:gd name="T19" fmla="*/ 12 h 12"/>
              <a:gd name="T20" fmla="*/ 183 w 189"/>
              <a:gd name="T21" fmla="*/ 12 h 12"/>
              <a:gd name="T22" fmla="*/ 189 w 189"/>
              <a:gd name="T23" fmla="*/ 6 h 12"/>
              <a:gd name="T24" fmla="*/ 183 w 189"/>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2">
                <a:moveTo>
                  <a:pt x="183" y="0"/>
                </a:moveTo>
                <a:cubicBezTo>
                  <a:pt x="149" y="0"/>
                  <a:pt x="149" y="0"/>
                  <a:pt x="149" y="0"/>
                </a:cubicBezTo>
                <a:cubicBezTo>
                  <a:pt x="94" y="0"/>
                  <a:pt x="94" y="0"/>
                  <a:pt x="94" y="0"/>
                </a:cubicBezTo>
                <a:cubicBezTo>
                  <a:pt x="39" y="0"/>
                  <a:pt x="39" y="0"/>
                  <a:pt x="39" y="0"/>
                </a:cubicBezTo>
                <a:cubicBezTo>
                  <a:pt x="6" y="0"/>
                  <a:pt x="6" y="0"/>
                  <a:pt x="6" y="0"/>
                </a:cubicBezTo>
                <a:cubicBezTo>
                  <a:pt x="2" y="0"/>
                  <a:pt x="0" y="3"/>
                  <a:pt x="0" y="6"/>
                </a:cubicBezTo>
                <a:cubicBezTo>
                  <a:pt x="0" y="10"/>
                  <a:pt x="2" y="12"/>
                  <a:pt x="6" y="12"/>
                </a:cubicBezTo>
                <a:cubicBezTo>
                  <a:pt x="39" y="12"/>
                  <a:pt x="39" y="12"/>
                  <a:pt x="39" y="12"/>
                </a:cubicBezTo>
                <a:cubicBezTo>
                  <a:pt x="94" y="12"/>
                  <a:pt x="94" y="12"/>
                  <a:pt x="94" y="12"/>
                </a:cubicBezTo>
                <a:cubicBezTo>
                  <a:pt x="149" y="12"/>
                  <a:pt x="149" y="12"/>
                  <a:pt x="149" y="12"/>
                </a:cubicBezTo>
                <a:cubicBezTo>
                  <a:pt x="183" y="12"/>
                  <a:pt x="183" y="12"/>
                  <a:pt x="183" y="12"/>
                </a:cubicBezTo>
                <a:cubicBezTo>
                  <a:pt x="186" y="12"/>
                  <a:pt x="189" y="10"/>
                  <a:pt x="189" y="6"/>
                </a:cubicBezTo>
                <a:cubicBezTo>
                  <a:pt x="189" y="3"/>
                  <a:pt x="186" y="0"/>
                  <a:pt x="183" y="0"/>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277">
            <a:extLst>
              <a:ext uri="{FF2B5EF4-FFF2-40B4-BE49-F238E27FC236}">
                <a16:creationId xmlns:a16="http://schemas.microsoft.com/office/drawing/2014/main" id="{B8044F09-9735-44BB-8253-64945B4DA3E1}"/>
              </a:ext>
            </a:extLst>
          </p:cNvPr>
          <p:cNvSpPr>
            <a:spLocks/>
          </p:cNvSpPr>
          <p:nvPr/>
        </p:nvSpPr>
        <p:spPr bwMode="auto">
          <a:xfrm>
            <a:off x="10468042" y="1493724"/>
            <a:ext cx="115396" cy="477780"/>
          </a:xfrm>
          <a:custGeom>
            <a:avLst/>
            <a:gdLst>
              <a:gd name="T0" fmla="*/ 36 w 48"/>
              <a:gd name="T1" fmla="*/ 3 h 199"/>
              <a:gd name="T2" fmla="*/ 14 w 48"/>
              <a:gd name="T3" fmla="*/ 41 h 199"/>
              <a:gd name="T4" fmla="*/ 9 w 48"/>
              <a:gd name="T5" fmla="*/ 52 h 199"/>
              <a:gd name="T6" fmla="*/ 9 w 48"/>
              <a:gd name="T7" fmla="*/ 52 h 199"/>
              <a:gd name="T8" fmla="*/ 0 w 48"/>
              <a:gd name="T9" fmla="*/ 105 h 199"/>
              <a:gd name="T10" fmla="*/ 6 w 48"/>
              <a:gd name="T11" fmla="*/ 150 h 199"/>
              <a:gd name="T12" fmla="*/ 6 w 48"/>
              <a:gd name="T13" fmla="*/ 150 h 199"/>
              <a:gd name="T14" fmla="*/ 14 w 48"/>
              <a:gd name="T15" fmla="*/ 170 h 199"/>
              <a:gd name="T16" fmla="*/ 14 w 48"/>
              <a:gd name="T17" fmla="*/ 170 h 199"/>
              <a:gd name="T18" fmla="*/ 28 w 48"/>
              <a:gd name="T19" fmla="*/ 196 h 199"/>
              <a:gd name="T20" fmla="*/ 33 w 48"/>
              <a:gd name="T21" fmla="*/ 199 h 199"/>
              <a:gd name="T22" fmla="*/ 33 w 48"/>
              <a:gd name="T23" fmla="*/ 199 h 199"/>
              <a:gd name="T24" fmla="*/ 39 w 48"/>
              <a:gd name="T25" fmla="*/ 193 h 199"/>
              <a:gd name="T26" fmla="*/ 33 w 48"/>
              <a:gd name="T27" fmla="*/ 187 h 199"/>
              <a:gd name="T28" fmla="*/ 33 w 48"/>
              <a:gd name="T29" fmla="*/ 187 h 199"/>
              <a:gd name="T30" fmla="*/ 33 w 48"/>
              <a:gd name="T31" fmla="*/ 193 h 199"/>
              <a:gd name="T32" fmla="*/ 38 w 48"/>
              <a:gd name="T33" fmla="*/ 189 h 199"/>
              <a:gd name="T34" fmla="*/ 25 w 48"/>
              <a:gd name="T35" fmla="*/ 165 h 199"/>
              <a:gd name="T36" fmla="*/ 25 w 48"/>
              <a:gd name="T37" fmla="*/ 165 h 199"/>
              <a:gd name="T38" fmla="*/ 18 w 48"/>
              <a:gd name="T39" fmla="*/ 147 h 199"/>
              <a:gd name="T40" fmla="*/ 18 w 48"/>
              <a:gd name="T41" fmla="*/ 147 h 199"/>
              <a:gd name="T42" fmla="*/ 12 w 48"/>
              <a:gd name="T43" fmla="*/ 105 h 199"/>
              <a:gd name="T44" fmla="*/ 21 w 48"/>
              <a:gd name="T45" fmla="*/ 56 h 199"/>
              <a:gd name="T46" fmla="*/ 21 w 48"/>
              <a:gd name="T47" fmla="*/ 56 h 199"/>
              <a:gd name="T48" fmla="*/ 25 w 48"/>
              <a:gd name="T49" fmla="*/ 46 h 199"/>
              <a:gd name="T50" fmla="*/ 46 w 48"/>
              <a:gd name="T51" fmla="*/ 11 h 199"/>
              <a:gd name="T52" fmla="*/ 45 w 48"/>
              <a:gd name="T53" fmla="*/ 2 h 199"/>
              <a:gd name="T54" fmla="*/ 36 w 48"/>
              <a:gd name="T55" fmla="*/ 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199">
                <a:moveTo>
                  <a:pt x="36" y="3"/>
                </a:moveTo>
                <a:cubicBezTo>
                  <a:pt x="27" y="15"/>
                  <a:pt x="19" y="28"/>
                  <a:pt x="14" y="41"/>
                </a:cubicBezTo>
                <a:cubicBezTo>
                  <a:pt x="12" y="45"/>
                  <a:pt x="11" y="48"/>
                  <a:pt x="9" y="52"/>
                </a:cubicBezTo>
                <a:cubicBezTo>
                  <a:pt x="9" y="52"/>
                  <a:pt x="9" y="52"/>
                  <a:pt x="9" y="52"/>
                </a:cubicBezTo>
                <a:cubicBezTo>
                  <a:pt x="3" y="69"/>
                  <a:pt x="0" y="87"/>
                  <a:pt x="0" y="105"/>
                </a:cubicBezTo>
                <a:cubicBezTo>
                  <a:pt x="0" y="120"/>
                  <a:pt x="2" y="135"/>
                  <a:pt x="6" y="150"/>
                </a:cubicBezTo>
                <a:cubicBezTo>
                  <a:pt x="6" y="150"/>
                  <a:pt x="6" y="150"/>
                  <a:pt x="6" y="150"/>
                </a:cubicBezTo>
                <a:cubicBezTo>
                  <a:pt x="8" y="157"/>
                  <a:pt x="11" y="163"/>
                  <a:pt x="14" y="170"/>
                </a:cubicBezTo>
                <a:cubicBezTo>
                  <a:pt x="14" y="170"/>
                  <a:pt x="14" y="170"/>
                  <a:pt x="14" y="170"/>
                </a:cubicBezTo>
                <a:cubicBezTo>
                  <a:pt x="17" y="179"/>
                  <a:pt x="22" y="188"/>
                  <a:pt x="28" y="196"/>
                </a:cubicBezTo>
                <a:cubicBezTo>
                  <a:pt x="29" y="198"/>
                  <a:pt x="31" y="199"/>
                  <a:pt x="33" y="199"/>
                </a:cubicBezTo>
                <a:cubicBezTo>
                  <a:pt x="33" y="199"/>
                  <a:pt x="33" y="199"/>
                  <a:pt x="33" y="199"/>
                </a:cubicBezTo>
                <a:cubicBezTo>
                  <a:pt x="36" y="199"/>
                  <a:pt x="39" y="196"/>
                  <a:pt x="39" y="193"/>
                </a:cubicBezTo>
                <a:cubicBezTo>
                  <a:pt x="39" y="189"/>
                  <a:pt x="36" y="187"/>
                  <a:pt x="33" y="187"/>
                </a:cubicBezTo>
                <a:cubicBezTo>
                  <a:pt x="33" y="187"/>
                  <a:pt x="33" y="187"/>
                  <a:pt x="33" y="187"/>
                </a:cubicBezTo>
                <a:cubicBezTo>
                  <a:pt x="33" y="193"/>
                  <a:pt x="33" y="193"/>
                  <a:pt x="33" y="193"/>
                </a:cubicBezTo>
                <a:cubicBezTo>
                  <a:pt x="38" y="189"/>
                  <a:pt x="38" y="189"/>
                  <a:pt x="38" y="189"/>
                </a:cubicBezTo>
                <a:cubicBezTo>
                  <a:pt x="33" y="182"/>
                  <a:pt x="28" y="173"/>
                  <a:pt x="25" y="165"/>
                </a:cubicBezTo>
                <a:cubicBezTo>
                  <a:pt x="25" y="165"/>
                  <a:pt x="25" y="165"/>
                  <a:pt x="25" y="165"/>
                </a:cubicBezTo>
                <a:cubicBezTo>
                  <a:pt x="22" y="159"/>
                  <a:pt x="20" y="153"/>
                  <a:pt x="18" y="147"/>
                </a:cubicBezTo>
                <a:cubicBezTo>
                  <a:pt x="18" y="147"/>
                  <a:pt x="18" y="147"/>
                  <a:pt x="18" y="147"/>
                </a:cubicBezTo>
                <a:cubicBezTo>
                  <a:pt x="14" y="133"/>
                  <a:pt x="12" y="119"/>
                  <a:pt x="12" y="105"/>
                </a:cubicBezTo>
                <a:cubicBezTo>
                  <a:pt x="12" y="89"/>
                  <a:pt x="15" y="72"/>
                  <a:pt x="21" y="56"/>
                </a:cubicBezTo>
                <a:cubicBezTo>
                  <a:pt x="21" y="56"/>
                  <a:pt x="21" y="56"/>
                  <a:pt x="21" y="56"/>
                </a:cubicBezTo>
                <a:cubicBezTo>
                  <a:pt x="22" y="53"/>
                  <a:pt x="23" y="49"/>
                  <a:pt x="25" y="46"/>
                </a:cubicBezTo>
                <a:cubicBezTo>
                  <a:pt x="30" y="33"/>
                  <a:pt x="37" y="21"/>
                  <a:pt x="46" y="11"/>
                </a:cubicBezTo>
                <a:cubicBezTo>
                  <a:pt x="48" y="8"/>
                  <a:pt x="47" y="4"/>
                  <a:pt x="45" y="2"/>
                </a:cubicBezTo>
                <a:cubicBezTo>
                  <a:pt x="42" y="0"/>
                  <a:pt x="39" y="0"/>
                  <a:pt x="36" y="3"/>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278">
            <a:extLst>
              <a:ext uri="{FF2B5EF4-FFF2-40B4-BE49-F238E27FC236}">
                <a16:creationId xmlns:a16="http://schemas.microsoft.com/office/drawing/2014/main" id="{FC58B97E-1CE9-4528-A49C-65AF1CCCB090}"/>
              </a:ext>
            </a:extLst>
          </p:cNvPr>
          <p:cNvSpPr>
            <a:spLocks/>
          </p:cNvSpPr>
          <p:nvPr/>
        </p:nvSpPr>
        <p:spPr bwMode="auto">
          <a:xfrm>
            <a:off x="10413381" y="1582802"/>
            <a:ext cx="402874" cy="69845"/>
          </a:xfrm>
          <a:custGeom>
            <a:avLst/>
            <a:gdLst>
              <a:gd name="T0" fmla="*/ 4 w 168"/>
              <a:gd name="T1" fmla="*/ 12 h 29"/>
              <a:gd name="T2" fmla="*/ 33 w 168"/>
              <a:gd name="T3" fmla="*/ 22 h 29"/>
              <a:gd name="T4" fmla="*/ 33 w 168"/>
              <a:gd name="T5" fmla="*/ 22 h 29"/>
              <a:gd name="T6" fmla="*/ 37 w 168"/>
              <a:gd name="T7" fmla="*/ 23 h 29"/>
              <a:gd name="T8" fmla="*/ 38 w 168"/>
              <a:gd name="T9" fmla="*/ 17 h 29"/>
              <a:gd name="T10" fmla="*/ 36 w 168"/>
              <a:gd name="T11" fmla="*/ 23 h 29"/>
              <a:gd name="T12" fmla="*/ 84 w 168"/>
              <a:gd name="T13" fmla="*/ 29 h 29"/>
              <a:gd name="T14" fmla="*/ 132 w 168"/>
              <a:gd name="T15" fmla="*/ 23 h 29"/>
              <a:gd name="T16" fmla="*/ 130 w 168"/>
              <a:gd name="T17" fmla="*/ 17 h 29"/>
              <a:gd name="T18" fmla="*/ 131 w 168"/>
              <a:gd name="T19" fmla="*/ 23 h 29"/>
              <a:gd name="T20" fmla="*/ 135 w 168"/>
              <a:gd name="T21" fmla="*/ 22 h 29"/>
              <a:gd name="T22" fmla="*/ 135 w 168"/>
              <a:gd name="T23" fmla="*/ 22 h 29"/>
              <a:gd name="T24" fmla="*/ 164 w 168"/>
              <a:gd name="T25" fmla="*/ 12 h 29"/>
              <a:gd name="T26" fmla="*/ 167 w 168"/>
              <a:gd name="T27" fmla="*/ 4 h 29"/>
              <a:gd name="T28" fmla="*/ 159 w 168"/>
              <a:gd name="T29" fmla="*/ 1 h 29"/>
              <a:gd name="T30" fmla="*/ 132 w 168"/>
              <a:gd name="T31" fmla="*/ 10 h 29"/>
              <a:gd name="T32" fmla="*/ 132 w 168"/>
              <a:gd name="T33" fmla="*/ 10 h 29"/>
              <a:gd name="T34" fmla="*/ 129 w 168"/>
              <a:gd name="T35" fmla="*/ 11 h 29"/>
              <a:gd name="T36" fmla="*/ 129 w 168"/>
              <a:gd name="T37" fmla="*/ 11 h 29"/>
              <a:gd name="T38" fmla="*/ 84 w 168"/>
              <a:gd name="T39" fmla="*/ 17 h 29"/>
              <a:gd name="T40" fmla="*/ 39 w 168"/>
              <a:gd name="T41" fmla="*/ 11 h 29"/>
              <a:gd name="T42" fmla="*/ 39 w 168"/>
              <a:gd name="T43" fmla="*/ 11 h 29"/>
              <a:gd name="T44" fmla="*/ 36 w 168"/>
              <a:gd name="T45" fmla="*/ 10 h 29"/>
              <a:gd name="T46" fmla="*/ 36 w 168"/>
              <a:gd name="T47" fmla="*/ 10 h 29"/>
              <a:gd name="T48" fmla="*/ 9 w 168"/>
              <a:gd name="T49" fmla="*/ 1 h 29"/>
              <a:gd name="T50" fmla="*/ 1 w 168"/>
              <a:gd name="T51" fmla="*/ 4 h 29"/>
              <a:gd name="T52" fmla="*/ 4 w 168"/>
              <a:gd name="T5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29">
                <a:moveTo>
                  <a:pt x="4" y="12"/>
                </a:moveTo>
                <a:cubicBezTo>
                  <a:pt x="14" y="16"/>
                  <a:pt x="23" y="19"/>
                  <a:pt x="33" y="22"/>
                </a:cubicBezTo>
                <a:cubicBezTo>
                  <a:pt x="33" y="22"/>
                  <a:pt x="33" y="22"/>
                  <a:pt x="33" y="22"/>
                </a:cubicBezTo>
                <a:cubicBezTo>
                  <a:pt x="34" y="22"/>
                  <a:pt x="35" y="23"/>
                  <a:pt x="37" y="23"/>
                </a:cubicBezTo>
                <a:cubicBezTo>
                  <a:pt x="38" y="17"/>
                  <a:pt x="38" y="17"/>
                  <a:pt x="38" y="17"/>
                </a:cubicBezTo>
                <a:cubicBezTo>
                  <a:pt x="36" y="23"/>
                  <a:pt x="36" y="23"/>
                  <a:pt x="36" y="23"/>
                </a:cubicBezTo>
                <a:cubicBezTo>
                  <a:pt x="52" y="27"/>
                  <a:pt x="68" y="29"/>
                  <a:pt x="84" y="29"/>
                </a:cubicBezTo>
                <a:cubicBezTo>
                  <a:pt x="100" y="29"/>
                  <a:pt x="116" y="27"/>
                  <a:pt x="132" y="23"/>
                </a:cubicBezTo>
                <a:cubicBezTo>
                  <a:pt x="130" y="17"/>
                  <a:pt x="130" y="17"/>
                  <a:pt x="130" y="17"/>
                </a:cubicBezTo>
                <a:cubicBezTo>
                  <a:pt x="131" y="23"/>
                  <a:pt x="131" y="23"/>
                  <a:pt x="131" y="23"/>
                </a:cubicBezTo>
                <a:cubicBezTo>
                  <a:pt x="133" y="23"/>
                  <a:pt x="134" y="22"/>
                  <a:pt x="135" y="22"/>
                </a:cubicBezTo>
                <a:cubicBezTo>
                  <a:pt x="135" y="22"/>
                  <a:pt x="135" y="22"/>
                  <a:pt x="135" y="22"/>
                </a:cubicBezTo>
                <a:cubicBezTo>
                  <a:pt x="145" y="19"/>
                  <a:pt x="154" y="16"/>
                  <a:pt x="164" y="12"/>
                </a:cubicBezTo>
                <a:cubicBezTo>
                  <a:pt x="167" y="11"/>
                  <a:pt x="168" y="7"/>
                  <a:pt x="167" y="4"/>
                </a:cubicBezTo>
                <a:cubicBezTo>
                  <a:pt x="166" y="1"/>
                  <a:pt x="162" y="0"/>
                  <a:pt x="159" y="1"/>
                </a:cubicBezTo>
                <a:cubicBezTo>
                  <a:pt x="150" y="5"/>
                  <a:pt x="141" y="8"/>
                  <a:pt x="132" y="10"/>
                </a:cubicBezTo>
                <a:cubicBezTo>
                  <a:pt x="132" y="10"/>
                  <a:pt x="132" y="10"/>
                  <a:pt x="132" y="10"/>
                </a:cubicBezTo>
                <a:cubicBezTo>
                  <a:pt x="131" y="11"/>
                  <a:pt x="130" y="11"/>
                  <a:pt x="129" y="11"/>
                </a:cubicBezTo>
                <a:cubicBezTo>
                  <a:pt x="129" y="11"/>
                  <a:pt x="129" y="11"/>
                  <a:pt x="129" y="11"/>
                </a:cubicBezTo>
                <a:cubicBezTo>
                  <a:pt x="114" y="15"/>
                  <a:pt x="99" y="17"/>
                  <a:pt x="84" y="17"/>
                </a:cubicBezTo>
                <a:cubicBezTo>
                  <a:pt x="69" y="17"/>
                  <a:pt x="54" y="15"/>
                  <a:pt x="39" y="11"/>
                </a:cubicBezTo>
                <a:cubicBezTo>
                  <a:pt x="39" y="11"/>
                  <a:pt x="39" y="11"/>
                  <a:pt x="39" y="11"/>
                </a:cubicBezTo>
                <a:cubicBezTo>
                  <a:pt x="38" y="11"/>
                  <a:pt x="37" y="11"/>
                  <a:pt x="36" y="10"/>
                </a:cubicBezTo>
                <a:cubicBezTo>
                  <a:pt x="36" y="10"/>
                  <a:pt x="36" y="10"/>
                  <a:pt x="36" y="10"/>
                </a:cubicBezTo>
                <a:cubicBezTo>
                  <a:pt x="27" y="8"/>
                  <a:pt x="18" y="5"/>
                  <a:pt x="9" y="1"/>
                </a:cubicBezTo>
                <a:cubicBezTo>
                  <a:pt x="6" y="0"/>
                  <a:pt x="3" y="1"/>
                  <a:pt x="1" y="4"/>
                </a:cubicBezTo>
                <a:cubicBezTo>
                  <a:pt x="0" y="7"/>
                  <a:pt x="1" y="11"/>
                  <a:pt x="4" y="12"/>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279">
            <a:extLst>
              <a:ext uri="{FF2B5EF4-FFF2-40B4-BE49-F238E27FC236}">
                <a16:creationId xmlns:a16="http://schemas.microsoft.com/office/drawing/2014/main" id="{2642E179-D60B-43B0-A46E-6E636C5BBE7D}"/>
              </a:ext>
            </a:extLst>
          </p:cNvPr>
          <p:cNvSpPr>
            <a:spLocks/>
          </p:cNvSpPr>
          <p:nvPr/>
        </p:nvSpPr>
        <p:spPr bwMode="auto">
          <a:xfrm>
            <a:off x="10413381" y="1820680"/>
            <a:ext cx="402874" cy="69845"/>
          </a:xfrm>
          <a:custGeom>
            <a:avLst/>
            <a:gdLst>
              <a:gd name="T0" fmla="*/ 164 w 168"/>
              <a:gd name="T1" fmla="*/ 16 h 29"/>
              <a:gd name="T2" fmla="*/ 135 w 168"/>
              <a:gd name="T3" fmla="*/ 7 h 29"/>
              <a:gd name="T4" fmla="*/ 134 w 168"/>
              <a:gd name="T5" fmla="*/ 12 h 29"/>
              <a:gd name="T6" fmla="*/ 135 w 168"/>
              <a:gd name="T7" fmla="*/ 7 h 29"/>
              <a:gd name="T8" fmla="*/ 135 w 168"/>
              <a:gd name="T9" fmla="*/ 6 h 29"/>
              <a:gd name="T10" fmla="*/ 135 w 168"/>
              <a:gd name="T11" fmla="*/ 6 h 29"/>
              <a:gd name="T12" fmla="*/ 84 w 168"/>
              <a:gd name="T13" fmla="*/ 0 h 29"/>
              <a:gd name="T14" fmla="*/ 34 w 168"/>
              <a:gd name="T15" fmla="*/ 6 h 29"/>
              <a:gd name="T16" fmla="*/ 34 w 168"/>
              <a:gd name="T17" fmla="*/ 6 h 29"/>
              <a:gd name="T18" fmla="*/ 33 w 168"/>
              <a:gd name="T19" fmla="*/ 7 h 29"/>
              <a:gd name="T20" fmla="*/ 35 w 168"/>
              <a:gd name="T21" fmla="*/ 12 h 29"/>
              <a:gd name="T22" fmla="*/ 33 w 168"/>
              <a:gd name="T23" fmla="*/ 7 h 29"/>
              <a:gd name="T24" fmla="*/ 4 w 168"/>
              <a:gd name="T25" fmla="*/ 16 h 29"/>
              <a:gd name="T26" fmla="*/ 1 w 168"/>
              <a:gd name="T27" fmla="*/ 24 h 29"/>
              <a:gd name="T28" fmla="*/ 9 w 168"/>
              <a:gd name="T29" fmla="*/ 27 h 29"/>
              <a:gd name="T30" fmla="*/ 36 w 168"/>
              <a:gd name="T31" fmla="*/ 18 h 29"/>
              <a:gd name="T32" fmla="*/ 36 w 168"/>
              <a:gd name="T33" fmla="*/ 18 h 29"/>
              <a:gd name="T34" fmla="*/ 37 w 168"/>
              <a:gd name="T35" fmla="*/ 18 h 29"/>
              <a:gd name="T36" fmla="*/ 35 w 168"/>
              <a:gd name="T37" fmla="*/ 12 h 29"/>
              <a:gd name="T38" fmla="*/ 37 w 168"/>
              <a:gd name="T39" fmla="*/ 18 h 29"/>
              <a:gd name="T40" fmla="*/ 84 w 168"/>
              <a:gd name="T41" fmla="*/ 12 h 29"/>
              <a:gd name="T42" fmla="*/ 132 w 168"/>
              <a:gd name="T43" fmla="*/ 18 h 29"/>
              <a:gd name="T44" fmla="*/ 133 w 168"/>
              <a:gd name="T45" fmla="*/ 12 h 29"/>
              <a:gd name="T46" fmla="*/ 131 w 168"/>
              <a:gd name="T47" fmla="*/ 18 h 29"/>
              <a:gd name="T48" fmla="*/ 132 w 168"/>
              <a:gd name="T49" fmla="*/ 18 h 29"/>
              <a:gd name="T50" fmla="*/ 132 w 168"/>
              <a:gd name="T51" fmla="*/ 18 h 29"/>
              <a:gd name="T52" fmla="*/ 159 w 168"/>
              <a:gd name="T53" fmla="*/ 27 h 29"/>
              <a:gd name="T54" fmla="*/ 167 w 168"/>
              <a:gd name="T55" fmla="*/ 24 h 29"/>
              <a:gd name="T56" fmla="*/ 164 w 168"/>
              <a:gd name="T5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8" h="29">
                <a:moveTo>
                  <a:pt x="164" y="16"/>
                </a:moveTo>
                <a:cubicBezTo>
                  <a:pt x="154" y="12"/>
                  <a:pt x="145" y="9"/>
                  <a:pt x="135" y="7"/>
                </a:cubicBezTo>
                <a:cubicBezTo>
                  <a:pt x="134" y="12"/>
                  <a:pt x="134" y="12"/>
                  <a:pt x="134" y="12"/>
                </a:cubicBezTo>
                <a:cubicBezTo>
                  <a:pt x="135" y="7"/>
                  <a:pt x="135" y="7"/>
                  <a:pt x="135" y="7"/>
                </a:cubicBezTo>
                <a:cubicBezTo>
                  <a:pt x="135" y="6"/>
                  <a:pt x="135" y="6"/>
                  <a:pt x="135" y="6"/>
                </a:cubicBezTo>
                <a:cubicBezTo>
                  <a:pt x="135" y="6"/>
                  <a:pt x="135" y="6"/>
                  <a:pt x="135" y="6"/>
                </a:cubicBezTo>
                <a:cubicBezTo>
                  <a:pt x="118" y="2"/>
                  <a:pt x="101" y="0"/>
                  <a:pt x="84" y="0"/>
                </a:cubicBezTo>
                <a:cubicBezTo>
                  <a:pt x="67" y="0"/>
                  <a:pt x="50" y="2"/>
                  <a:pt x="34" y="6"/>
                </a:cubicBezTo>
                <a:cubicBezTo>
                  <a:pt x="34" y="6"/>
                  <a:pt x="34" y="6"/>
                  <a:pt x="34" y="6"/>
                </a:cubicBezTo>
                <a:cubicBezTo>
                  <a:pt x="33" y="7"/>
                  <a:pt x="33" y="7"/>
                  <a:pt x="33" y="7"/>
                </a:cubicBezTo>
                <a:cubicBezTo>
                  <a:pt x="35" y="12"/>
                  <a:pt x="35" y="12"/>
                  <a:pt x="35" y="12"/>
                </a:cubicBezTo>
                <a:cubicBezTo>
                  <a:pt x="33" y="7"/>
                  <a:pt x="33" y="7"/>
                  <a:pt x="33" y="7"/>
                </a:cubicBezTo>
                <a:cubicBezTo>
                  <a:pt x="23" y="9"/>
                  <a:pt x="14" y="12"/>
                  <a:pt x="4" y="16"/>
                </a:cubicBezTo>
                <a:cubicBezTo>
                  <a:pt x="1" y="18"/>
                  <a:pt x="0" y="21"/>
                  <a:pt x="1" y="24"/>
                </a:cubicBezTo>
                <a:cubicBezTo>
                  <a:pt x="3" y="27"/>
                  <a:pt x="6" y="29"/>
                  <a:pt x="9" y="27"/>
                </a:cubicBezTo>
                <a:cubicBezTo>
                  <a:pt x="18" y="24"/>
                  <a:pt x="27" y="21"/>
                  <a:pt x="36" y="18"/>
                </a:cubicBezTo>
                <a:cubicBezTo>
                  <a:pt x="36" y="18"/>
                  <a:pt x="36" y="18"/>
                  <a:pt x="36" y="18"/>
                </a:cubicBezTo>
                <a:cubicBezTo>
                  <a:pt x="37" y="18"/>
                  <a:pt x="37" y="18"/>
                  <a:pt x="37" y="18"/>
                </a:cubicBezTo>
                <a:cubicBezTo>
                  <a:pt x="35" y="12"/>
                  <a:pt x="35" y="12"/>
                  <a:pt x="35" y="12"/>
                </a:cubicBezTo>
                <a:cubicBezTo>
                  <a:pt x="37" y="18"/>
                  <a:pt x="37" y="18"/>
                  <a:pt x="37" y="18"/>
                </a:cubicBezTo>
                <a:cubicBezTo>
                  <a:pt x="52" y="14"/>
                  <a:pt x="68" y="12"/>
                  <a:pt x="84" y="12"/>
                </a:cubicBezTo>
                <a:cubicBezTo>
                  <a:pt x="100" y="12"/>
                  <a:pt x="116" y="14"/>
                  <a:pt x="132" y="18"/>
                </a:cubicBezTo>
                <a:cubicBezTo>
                  <a:pt x="133" y="12"/>
                  <a:pt x="133" y="12"/>
                  <a:pt x="133" y="12"/>
                </a:cubicBezTo>
                <a:cubicBezTo>
                  <a:pt x="131" y="18"/>
                  <a:pt x="131" y="18"/>
                  <a:pt x="131" y="18"/>
                </a:cubicBezTo>
                <a:cubicBezTo>
                  <a:pt x="132" y="18"/>
                  <a:pt x="132" y="18"/>
                  <a:pt x="132" y="18"/>
                </a:cubicBezTo>
                <a:cubicBezTo>
                  <a:pt x="132" y="18"/>
                  <a:pt x="132" y="18"/>
                  <a:pt x="132" y="18"/>
                </a:cubicBezTo>
                <a:cubicBezTo>
                  <a:pt x="141" y="21"/>
                  <a:pt x="150" y="24"/>
                  <a:pt x="159" y="27"/>
                </a:cubicBezTo>
                <a:cubicBezTo>
                  <a:pt x="162" y="29"/>
                  <a:pt x="166" y="27"/>
                  <a:pt x="167" y="24"/>
                </a:cubicBezTo>
                <a:cubicBezTo>
                  <a:pt x="168" y="21"/>
                  <a:pt x="167" y="18"/>
                  <a:pt x="164" y="16"/>
                </a:cubicBezTo>
                <a:close/>
              </a:path>
            </a:pathLst>
          </a:custGeom>
          <a:solidFill>
            <a:srgbClr val="13A3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280">
            <a:extLst>
              <a:ext uri="{FF2B5EF4-FFF2-40B4-BE49-F238E27FC236}">
                <a16:creationId xmlns:a16="http://schemas.microsoft.com/office/drawing/2014/main" id="{9CF72EBE-74B1-4E11-941E-565D520B56A7}"/>
              </a:ext>
            </a:extLst>
          </p:cNvPr>
          <p:cNvSpPr>
            <a:spLocks/>
          </p:cNvSpPr>
          <p:nvPr/>
        </p:nvSpPr>
        <p:spPr bwMode="auto">
          <a:xfrm>
            <a:off x="9538800" y="4285498"/>
            <a:ext cx="477780" cy="477780"/>
          </a:xfrm>
          <a:custGeom>
            <a:avLst/>
            <a:gdLst>
              <a:gd name="T0" fmla="*/ 195 w 199"/>
              <a:gd name="T1" fmla="*/ 99 h 199"/>
              <a:gd name="T2" fmla="*/ 191 w 199"/>
              <a:gd name="T3" fmla="*/ 99 h 199"/>
              <a:gd name="T4" fmla="*/ 164 w 199"/>
              <a:gd name="T5" fmla="*/ 164 h 199"/>
              <a:gd name="T6" fmla="*/ 100 w 199"/>
              <a:gd name="T7" fmla="*/ 191 h 199"/>
              <a:gd name="T8" fmla="*/ 35 w 199"/>
              <a:gd name="T9" fmla="*/ 164 h 199"/>
              <a:gd name="T10" fmla="*/ 8 w 199"/>
              <a:gd name="T11" fmla="*/ 99 h 199"/>
              <a:gd name="T12" fmla="*/ 35 w 199"/>
              <a:gd name="T13" fmla="*/ 35 h 199"/>
              <a:gd name="T14" fmla="*/ 100 w 199"/>
              <a:gd name="T15" fmla="*/ 8 h 199"/>
              <a:gd name="T16" fmla="*/ 164 w 199"/>
              <a:gd name="T17" fmla="*/ 35 h 199"/>
              <a:gd name="T18" fmla="*/ 191 w 199"/>
              <a:gd name="T19" fmla="*/ 99 h 199"/>
              <a:gd name="T20" fmla="*/ 195 w 199"/>
              <a:gd name="T21" fmla="*/ 99 h 199"/>
              <a:gd name="T22" fmla="*/ 199 w 199"/>
              <a:gd name="T23" fmla="*/ 99 h 199"/>
              <a:gd name="T24" fmla="*/ 100 w 199"/>
              <a:gd name="T25" fmla="*/ 0 h 199"/>
              <a:gd name="T26" fmla="*/ 0 w 199"/>
              <a:gd name="T27" fmla="*/ 99 h 199"/>
              <a:gd name="T28" fmla="*/ 100 w 199"/>
              <a:gd name="T29" fmla="*/ 199 h 199"/>
              <a:gd name="T30" fmla="*/ 199 w 199"/>
              <a:gd name="T31" fmla="*/ 99 h 199"/>
              <a:gd name="T32" fmla="*/ 195 w 199"/>
              <a:gd name="T3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9">
                <a:moveTo>
                  <a:pt x="195" y="99"/>
                </a:moveTo>
                <a:cubicBezTo>
                  <a:pt x="191" y="99"/>
                  <a:pt x="191" y="99"/>
                  <a:pt x="191" y="99"/>
                </a:cubicBezTo>
                <a:cubicBezTo>
                  <a:pt x="191" y="125"/>
                  <a:pt x="180" y="147"/>
                  <a:pt x="164" y="164"/>
                </a:cubicBezTo>
                <a:cubicBezTo>
                  <a:pt x="147" y="180"/>
                  <a:pt x="125" y="191"/>
                  <a:pt x="100" y="191"/>
                </a:cubicBezTo>
                <a:cubicBezTo>
                  <a:pt x="74" y="191"/>
                  <a:pt x="52" y="180"/>
                  <a:pt x="35" y="164"/>
                </a:cubicBezTo>
                <a:cubicBezTo>
                  <a:pt x="19" y="147"/>
                  <a:pt x="8" y="125"/>
                  <a:pt x="8" y="99"/>
                </a:cubicBezTo>
                <a:cubicBezTo>
                  <a:pt x="8" y="74"/>
                  <a:pt x="19" y="52"/>
                  <a:pt x="35" y="35"/>
                </a:cubicBezTo>
                <a:cubicBezTo>
                  <a:pt x="52" y="19"/>
                  <a:pt x="74" y="8"/>
                  <a:pt x="100" y="8"/>
                </a:cubicBezTo>
                <a:cubicBezTo>
                  <a:pt x="125" y="8"/>
                  <a:pt x="147" y="19"/>
                  <a:pt x="164" y="35"/>
                </a:cubicBezTo>
                <a:cubicBezTo>
                  <a:pt x="180" y="52"/>
                  <a:pt x="191" y="74"/>
                  <a:pt x="191" y="99"/>
                </a:cubicBezTo>
                <a:cubicBezTo>
                  <a:pt x="195" y="99"/>
                  <a:pt x="195" y="99"/>
                  <a:pt x="195" y="99"/>
                </a:cubicBezTo>
                <a:cubicBezTo>
                  <a:pt x="199" y="99"/>
                  <a:pt x="199" y="99"/>
                  <a:pt x="199" y="99"/>
                </a:cubicBezTo>
                <a:cubicBezTo>
                  <a:pt x="199" y="45"/>
                  <a:pt x="154" y="0"/>
                  <a:pt x="100" y="0"/>
                </a:cubicBezTo>
                <a:cubicBezTo>
                  <a:pt x="45" y="0"/>
                  <a:pt x="0" y="45"/>
                  <a:pt x="0" y="99"/>
                </a:cubicBezTo>
                <a:cubicBezTo>
                  <a:pt x="0" y="154"/>
                  <a:pt x="45" y="199"/>
                  <a:pt x="100" y="199"/>
                </a:cubicBezTo>
                <a:cubicBezTo>
                  <a:pt x="154" y="199"/>
                  <a:pt x="199" y="154"/>
                  <a:pt x="199" y="99"/>
                </a:cubicBezTo>
                <a:lnTo>
                  <a:pt x="195" y="99"/>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6" name="Freeform 281">
            <a:extLst>
              <a:ext uri="{FF2B5EF4-FFF2-40B4-BE49-F238E27FC236}">
                <a16:creationId xmlns:a16="http://schemas.microsoft.com/office/drawing/2014/main" id="{5BE26235-2A69-43B2-942E-3B857A8FEC0E}"/>
              </a:ext>
            </a:extLst>
          </p:cNvPr>
          <p:cNvSpPr>
            <a:spLocks/>
          </p:cNvSpPr>
          <p:nvPr/>
        </p:nvSpPr>
        <p:spPr bwMode="auto">
          <a:xfrm>
            <a:off x="9594474" y="4340160"/>
            <a:ext cx="367445" cy="368458"/>
          </a:xfrm>
          <a:custGeom>
            <a:avLst/>
            <a:gdLst>
              <a:gd name="T0" fmla="*/ 149 w 153"/>
              <a:gd name="T1" fmla="*/ 76 h 153"/>
              <a:gd name="T2" fmla="*/ 145 w 153"/>
              <a:gd name="T3" fmla="*/ 76 h 153"/>
              <a:gd name="T4" fmla="*/ 125 w 153"/>
              <a:gd name="T5" fmla="*/ 125 h 153"/>
              <a:gd name="T6" fmla="*/ 77 w 153"/>
              <a:gd name="T7" fmla="*/ 145 h 153"/>
              <a:gd name="T8" fmla="*/ 28 w 153"/>
              <a:gd name="T9" fmla="*/ 125 h 153"/>
              <a:gd name="T10" fmla="*/ 8 w 153"/>
              <a:gd name="T11" fmla="*/ 76 h 153"/>
              <a:gd name="T12" fmla="*/ 28 w 153"/>
              <a:gd name="T13" fmla="*/ 28 h 153"/>
              <a:gd name="T14" fmla="*/ 77 w 153"/>
              <a:gd name="T15" fmla="*/ 8 h 153"/>
              <a:gd name="T16" fmla="*/ 125 w 153"/>
              <a:gd name="T17" fmla="*/ 28 h 153"/>
              <a:gd name="T18" fmla="*/ 145 w 153"/>
              <a:gd name="T19" fmla="*/ 76 h 153"/>
              <a:gd name="T20" fmla="*/ 149 w 153"/>
              <a:gd name="T21" fmla="*/ 76 h 153"/>
              <a:gd name="T22" fmla="*/ 153 w 153"/>
              <a:gd name="T23" fmla="*/ 76 h 153"/>
              <a:gd name="T24" fmla="*/ 77 w 153"/>
              <a:gd name="T25" fmla="*/ 0 h 153"/>
              <a:gd name="T26" fmla="*/ 0 w 153"/>
              <a:gd name="T27" fmla="*/ 76 h 153"/>
              <a:gd name="T28" fmla="*/ 77 w 153"/>
              <a:gd name="T29" fmla="*/ 153 h 153"/>
              <a:gd name="T30" fmla="*/ 153 w 153"/>
              <a:gd name="T31" fmla="*/ 76 h 153"/>
              <a:gd name="T32" fmla="*/ 149 w 153"/>
              <a:gd name="T33"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153">
                <a:moveTo>
                  <a:pt x="149" y="76"/>
                </a:moveTo>
                <a:cubicBezTo>
                  <a:pt x="145" y="76"/>
                  <a:pt x="145" y="76"/>
                  <a:pt x="145" y="76"/>
                </a:cubicBezTo>
                <a:cubicBezTo>
                  <a:pt x="145" y="95"/>
                  <a:pt x="137" y="113"/>
                  <a:pt x="125" y="125"/>
                </a:cubicBezTo>
                <a:cubicBezTo>
                  <a:pt x="113" y="137"/>
                  <a:pt x="95" y="145"/>
                  <a:pt x="77" y="145"/>
                </a:cubicBezTo>
                <a:cubicBezTo>
                  <a:pt x="58" y="145"/>
                  <a:pt x="40" y="137"/>
                  <a:pt x="28" y="125"/>
                </a:cubicBezTo>
                <a:cubicBezTo>
                  <a:pt x="16" y="113"/>
                  <a:pt x="8" y="95"/>
                  <a:pt x="8" y="76"/>
                </a:cubicBezTo>
                <a:cubicBezTo>
                  <a:pt x="8" y="58"/>
                  <a:pt x="16" y="40"/>
                  <a:pt x="28" y="28"/>
                </a:cubicBezTo>
                <a:cubicBezTo>
                  <a:pt x="40" y="16"/>
                  <a:pt x="58" y="8"/>
                  <a:pt x="77" y="8"/>
                </a:cubicBezTo>
                <a:cubicBezTo>
                  <a:pt x="95" y="8"/>
                  <a:pt x="113" y="16"/>
                  <a:pt x="125" y="28"/>
                </a:cubicBezTo>
                <a:cubicBezTo>
                  <a:pt x="137" y="40"/>
                  <a:pt x="145" y="58"/>
                  <a:pt x="145" y="76"/>
                </a:cubicBezTo>
                <a:cubicBezTo>
                  <a:pt x="149" y="76"/>
                  <a:pt x="149" y="76"/>
                  <a:pt x="149" y="76"/>
                </a:cubicBezTo>
                <a:cubicBezTo>
                  <a:pt x="153" y="76"/>
                  <a:pt x="153" y="76"/>
                  <a:pt x="153" y="76"/>
                </a:cubicBezTo>
                <a:cubicBezTo>
                  <a:pt x="153" y="34"/>
                  <a:pt x="119" y="0"/>
                  <a:pt x="77" y="0"/>
                </a:cubicBezTo>
                <a:cubicBezTo>
                  <a:pt x="34" y="0"/>
                  <a:pt x="0" y="34"/>
                  <a:pt x="0" y="76"/>
                </a:cubicBezTo>
                <a:cubicBezTo>
                  <a:pt x="0" y="119"/>
                  <a:pt x="34" y="153"/>
                  <a:pt x="77" y="153"/>
                </a:cubicBezTo>
                <a:cubicBezTo>
                  <a:pt x="119" y="153"/>
                  <a:pt x="153" y="119"/>
                  <a:pt x="153" y="76"/>
                </a:cubicBezTo>
                <a:lnTo>
                  <a:pt x="149" y="76"/>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7" name="Freeform 282">
            <a:extLst>
              <a:ext uri="{FF2B5EF4-FFF2-40B4-BE49-F238E27FC236}">
                <a16:creationId xmlns:a16="http://schemas.microsoft.com/office/drawing/2014/main" id="{B0FCCBB6-7CAF-4206-A190-67C0F737CD93}"/>
              </a:ext>
            </a:extLst>
          </p:cNvPr>
          <p:cNvSpPr>
            <a:spLocks/>
          </p:cNvSpPr>
          <p:nvPr/>
        </p:nvSpPr>
        <p:spPr bwMode="auto">
          <a:xfrm>
            <a:off x="9713919" y="4405956"/>
            <a:ext cx="125519" cy="133616"/>
          </a:xfrm>
          <a:custGeom>
            <a:avLst/>
            <a:gdLst>
              <a:gd name="T0" fmla="*/ 52 w 52"/>
              <a:gd name="T1" fmla="*/ 24 h 56"/>
              <a:gd name="T2" fmla="*/ 52 w 52"/>
              <a:gd name="T3" fmla="*/ 19 h 56"/>
              <a:gd name="T4" fmla="*/ 32 w 52"/>
              <a:gd name="T5" fmla="*/ 0 h 56"/>
              <a:gd name="T6" fmla="*/ 20 w 52"/>
              <a:gd name="T7" fmla="*/ 0 h 56"/>
              <a:gd name="T8" fmla="*/ 0 w 52"/>
              <a:gd name="T9" fmla="*/ 19 h 56"/>
              <a:gd name="T10" fmla="*/ 0 w 52"/>
              <a:gd name="T11" fmla="*/ 30 h 56"/>
              <a:gd name="T12" fmla="*/ 4 w 52"/>
              <a:gd name="T13" fmla="*/ 39 h 56"/>
              <a:gd name="T14" fmla="*/ 11 w 52"/>
              <a:gd name="T15" fmla="*/ 45 h 56"/>
              <a:gd name="T16" fmla="*/ 12 w 52"/>
              <a:gd name="T17" fmla="*/ 46 h 56"/>
              <a:gd name="T18" fmla="*/ 35 w 52"/>
              <a:gd name="T19" fmla="*/ 55 h 56"/>
              <a:gd name="T20" fmla="*/ 40 w 52"/>
              <a:gd name="T21" fmla="*/ 52 h 56"/>
              <a:gd name="T22" fmla="*/ 38 w 52"/>
              <a:gd name="T23" fmla="*/ 47 h 56"/>
              <a:gd name="T24" fmla="*/ 15 w 52"/>
              <a:gd name="T25" fmla="*/ 38 h 56"/>
              <a:gd name="T26" fmla="*/ 13 w 52"/>
              <a:gd name="T27" fmla="*/ 42 h 56"/>
              <a:gd name="T28" fmla="*/ 15 w 52"/>
              <a:gd name="T29" fmla="*/ 39 h 56"/>
              <a:gd name="T30" fmla="*/ 10 w 52"/>
              <a:gd name="T31" fmla="*/ 34 h 56"/>
              <a:gd name="T32" fmla="*/ 8 w 52"/>
              <a:gd name="T33" fmla="*/ 30 h 56"/>
              <a:gd name="T34" fmla="*/ 8 w 52"/>
              <a:gd name="T35" fmla="*/ 19 h 56"/>
              <a:gd name="T36" fmla="*/ 20 w 52"/>
              <a:gd name="T37" fmla="*/ 8 h 56"/>
              <a:gd name="T38" fmla="*/ 32 w 52"/>
              <a:gd name="T39" fmla="*/ 8 h 56"/>
              <a:gd name="T40" fmla="*/ 44 w 52"/>
              <a:gd name="T41" fmla="*/ 19 h 56"/>
              <a:gd name="T42" fmla="*/ 44 w 52"/>
              <a:gd name="T43" fmla="*/ 24 h 56"/>
              <a:gd name="T44" fmla="*/ 48 w 52"/>
              <a:gd name="T45" fmla="*/ 28 h 56"/>
              <a:gd name="T46" fmla="*/ 52 w 52"/>
              <a:gd name="T4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6">
                <a:moveTo>
                  <a:pt x="52" y="24"/>
                </a:moveTo>
                <a:cubicBezTo>
                  <a:pt x="52" y="19"/>
                  <a:pt x="52" y="19"/>
                  <a:pt x="52" y="19"/>
                </a:cubicBezTo>
                <a:cubicBezTo>
                  <a:pt x="52" y="9"/>
                  <a:pt x="43" y="0"/>
                  <a:pt x="32" y="0"/>
                </a:cubicBezTo>
                <a:cubicBezTo>
                  <a:pt x="20" y="0"/>
                  <a:pt x="20" y="0"/>
                  <a:pt x="20" y="0"/>
                </a:cubicBezTo>
                <a:cubicBezTo>
                  <a:pt x="9" y="0"/>
                  <a:pt x="0" y="9"/>
                  <a:pt x="0" y="19"/>
                </a:cubicBezTo>
                <a:cubicBezTo>
                  <a:pt x="0" y="30"/>
                  <a:pt x="0" y="30"/>
                  <a:pt x="0" y="30"/>
                </a:cubicBezTo>
                <a:cubicBezTo>
                  <a:pt x="0" y="33"/>
                  <a:pt x="2" y="37"/>
                  <a:pt x="4" y="39"/>
                </a:cubicBezTo>
                <a:cubicBezTo>
                  <a:pt x="6" y="42"/>
                  <a:pt x="8" y="44"/>
                  <a:pt x="11" y="45"/>
                </a:cubicBezTo>
                <a:cubicBezTo>
                  <a:pt x="12" y="46"/>
                  <a:pt x="12" y="46"/>
                  <a:pt x="12" y="46"/>
                </a:cubicBezTo>
                <a:cubicBezTo>
                  <a:pt x="35" y="55"/>
                  <a:pt x="35" y="55"/>
                  <a:pt x="35" y="55"/>
                </a:cubicBezTo>
                <a:cubicBezTo>
                  <a:pt x="37" y="56"/>
                  <a:pt x="40" y="55"/>
                  <a:pt x="40" y="52"/>
                </a:cubicBezTo>
                <a:cubicBezTo>
                  <a:pt x="41" y="50"/>
                  <a:pt x="40" y="48"/>
                  <a:pt x="38" y="47"/>
                </a:cubicBezTo>
                <a:cubicBezTo>
                  <a:pt x="15" y="38"/>
                  <a:pt x="15" y="38"/>
                  <a:pt x="15" y="38"/>
                </a:cubicBezTo>
                <a:cubicBezTo>
                  <a:pt x="13" y="42"/>
                  <a:pt x="13" y="42"/>
                  <a:pt x="13" y="42"/>
                </a:cubicBezTo>
                <a:cubicBezTo>
                  <a:pt x="15" y="39"/>
                  <a:pt x="15" y="39"/>
                  <a:pt x="15" y="39"/>
                </a:cubicBezTo>
                <a:cubicBezTo>
                  <a:pt x="13" y="37"/>
                  <a:pt x="11" y="36"/>
                  <a:pt x="10" y="34"/>
                </a:cubicBezTo>
                <a:cubicBezTo>
                  <a:pt x="9" y="33"/>
                  <a:pt x="8" y="31"/>
                  <a:pt x="8" y="30"/>
                </a:cubicBezTo>
                <a:cubicBezTo>
                  <a:pt x="8" y="19"/>
                  <a:pt x="8" y="19"/>
                  <a:pt x="8" y="19"/>
                </a:cubicBezTo>
                <a:cubicBezTo>
                  <a:pt x="8" y="13"/>
                  <a:pt x="14" y="8"/>
                  <a:pt x="20" y="8"/>
                </a:cubicBezTo>
                <a:cubicBezTo>
                  <a:pt x="32" y="8"/>
                  <a:pt x="32" y="8"/>
                  <a:pt x="32" y="8"/>
                </a:cubicBezTo>
                <a:cubicBezTo>
                  <a:pt x="39" y="8"/>
                  <a:pt x="44" y="13"/>
                  <a:pt x="44" y="19"/>
                </a:cubicBezTo>
                <a:cubicBezTo>
                  <a:pt x="44" y="24"/>
                  <a:pt x="44" y="24"/>
                  <a:pt x="44" y="24"/>
                </a:cubicBezTo>
                <a:cubicBezTo>
                  <a:pt x="44" y="27"/>
                  <a:pt x="46" y="28"/>
                  <a:pt x="48" y="28"/>
                </a:cubicBezTo>
                <a:cubicBezTo>
                  <a:pt x="50" y="28"/>
                  <a:pt x="52" y="27"/>
                  <a:pt x="52" y="24"/>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8" name="Freeform 283">
            <a:extLst>
              <a:ext uri="{FF2B5EF4-FFF2-40B4-BE49-F238E27FC236}">
                <a16:creationId xmlns:a16="http://schemas.microsoft.com/office/drawing/2014/main" id="{377A3227-7D3E-4527-828B-65A36A35D1B7}"/>
              </a:ext>
            </a:extLst>
          </p:cNvPr>
          <p:cNvSpPr>
            <a:spLocks/>
          </p:cNvSpPr>
          <p:nvPr/>
        </p:nvSpPr>
        <p:spPr bwMode="auto">
          <a:xfrm>
            <a:off x="9713919" y="4499082"/>
            <a:ext cx="125519" cy="132604"/>
          </a:xfrm>
          <a:custGeom>
            <a:avLst/>
            <a:gdLst>
              <a:gd name="T0" fmla="*/ 0 w 52"/>
              <a:gd name="T1" fmla="*/ 31 h 55"/>
              <a:gd name="T2" fmla="*/ 0 w 52"/>
              <a:gd name="T3" fmla="*/ 36 h 55"/>
              <a:gd name="T4" fmla="*/ 20 w 52"/>
              <a:gd name="T5" fmla="*/ 55 h 55"/>
              <a:gd name="T6" fmla="*/ 32 w 52"/>
              <a:gd name="T7" fmla="*/ 55 h 55"/>
              <a:gd name="T8" fmla="*/ 52 w 52"/>
              <a:gd name="T9" fmla="*/ 36 h 55"/>
              <a:gd name="T10" fmla="*/ 52 w 52"/>
              <a:gd name="T11" fmla="*/ 25 h 55"/>
              <a:gd name="T12" fmla="*/ 48 w 52"/>
              <a:gd name="T13" fmla="*/ 16 h 55"/>
              <a:gd name="T14" fmla="*/ 41 w 52"/>
              <a:gd name="T15" fmla="*/ 9 h 55"/>
              <a:gd name="T16" fmla="*/ 40 w 52"/>
              <a:gd name="T17" fmla="*/ 9 h 55"/>
              <a:gd name="T18" fmla="*/ 18 w 52"/>
              <a:gd name="T19" fmla="*/ 0 h 55"/>
              <a:gd name="T20" fmla="*/ 12 w 52"/>
              <a:gd name="T21" fmla="*/ 3 h 55"/>
              <a:gd name="T22" fmla="*/ 15 w 52"/>
              <a:gd name="T23" fmla="*/ 8 h 55"/>
              <a:gd name="T24" fmla="*/ 37 w 52"/>
              <a:gd name="T25" fmla="*/ 17 h 55"/>
              <a:gd name="T26" fmla="*/ 39 w 52"/>
              <a:gd name="T27" fmla="*/ 13 h 55"/>
              <a:gd name="T28" fmla="*/ 37 w 52"/>
              <a:gd name="T29" fmla="*/ 16 h 55"/>
              <a:gd name="T30" fmla="*/ 42 w 52"/>
              <a:gd name="T31" fmla="*/ 21 h 55"/>
              <a:gd name="T32" fmla="*/ 44 w 52"/>
              <a:gd name="T33" fmla="*/ 25 h 55"/>
              <a:gd name="T34" fmla="*/ 44 w 52"/>
              <a:gd name="T35" fmla="*/ 36 h 55"/>
              <a:gd name="T36" fmla="*/ 32 w 52"/>
              <a:gd name="T37" fmla="*/ 47 h 55"/>
              <a:gd name="T38" fmla="*/ 20 w 52"/>
              <a:gd name="T39" fmla="*/ 47 h 55"/>
              <a:gd name="T40" fmla="*/ 8 w 52"/>
              <a:gd name="T41" fmla="*/ 36 h 55"/>
              <a:gd name="T42" fmla="*/ 8 w 52"/>
              <a:gd name="T43" fmla="*/ 31 h 55"/>
              <a:gd name="T44" fmla="*/ 4 w 52"/>
              <a:gd name="T45" fmla="*/ 27 h 55"/>
              <a:gd name="T46" fmla="*/ 0 w 52"/>
              <a:gd name="T47" fmla="*/ 3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55">
                <a:moveTo>
                  <a:pt x="0" y="31"/>
                </a:moveTo>
                <a:cubicBezTo>
                  <a:pt x="0" y="36"/>
                  <a:pt x="0" y="36"/>
                  <a:pt x="0" y="36"/>
                </a:cubicBezTo>
                <a:cubicBezTo>
                  <a:pt x="0" y="47"/>
                  <a:pt x="9" y="55"/>
                  <a:pt x="20" y="55"/>
                </a:cubicBezTo>
                <a:cubicBezTo>
                  <a:pt x="32" y="55"/>
                  <a:pt x="32" y="55"/>
                  <a:pt x="32" y="55"/>
                </a:cubicBezTo>
                <a:cubicBezTo>
                  <a:pt x="43" y="55"/>
                  <a:pt x="52" y="47"/>
                  <a:pt x="52" y="36"/>
                </a:cubicBezTo>
                <a:cubicBezTo>
                  <a:pt x="52" y="25"/>
                  <a:pt x="52" y="25"/>
                  <a:pt x="52" y="25"/>
                </a:cubicBezTo>
                <a:cubicBezTo>
                  <a:pt x="52" y="22"/>
                  <a:pt x="50" y="18"/>
                  <a:pt x="48" y="16"/>
                </a:cubicBezTo>
                <a:cubicBezTo>
                  <a:pt x="46" y="13"/>
                  <a:pt x="44" y="11"/>
                  <a:pt x="41" y="9"/>
                </a:cubicBezTo>
                <a:cubicBezTo>
                  <a:pt x="40" y="9"/>
                  <a:pt x="40" y="9"/>
                  <a:pt x="40" y="9"/>
                </a:cubicBezTo>
                <a:cubicBezTo>
                  <a:pt x="18" y="0"/>
                  <a:pt x="18" y="0"/>
                  <a:pt x="18" y="0"/>
                </a:cubicBezTo>
                <a:cubicBezTo>
                  <a:pt x="16" y="0"/>
                  <a:pt x="13" y="1"/>
                  <a:pt x="12" y="3"/>
                </a:cubicBezTo>
                <a:cubicBezTo>
                  <a:pt x="12" y="5"/>
                  <a:pt x="13" y="7"/>
                  <a:pt x="15" y="8"/>
                </a:cubicBezTo>
                <a:cubicBezTo>
                  <a:pt x="37" y="17"/>
                  <a:pt x="37" y="17"/>
                  <a:pt x="37" y="17"/>
                </a:cubicBezTo>
                <a:cubicBezTo>
                  <a:pt x="39" y="13"/>
                  <a:pt x="39" y="13"/>
                  <a:pt x="39" y="13"/>
                </a:cubicBezTo>
                <a:cubicBezTo>
                  <a:pt x="37" y="16"/>
                  <a:pt x="37" y="16"/>
                  <a:pt x="37" y="16"/>
                </a:cubicBezTo>
                <a:cubicBezTo>
                  <a:pt x="39" y="18"/>
                  <a:pt x="41" y="19"/>
                  <a:pt x="42" y="21"/>
                </a:cubicBezTo>
                <a:cubicBezTo>
                  <a:pt x="43" y="22"/>
                  <a:pt x="44" y="24"/>
                  <a:pt x="44" y="25"/>
                </a:cubicBezTo>
                <a:cubicBezTo>
                  <a:pt x="44" y="36"/>
                  <a:pt x="44" y="36"/>
                  <a:pt x="44" y="36"/>
                </a:cubicBezTo>
                <a:cubicBezTo>
                  <a:pt x="44" y="42"/>
                  <a:pt x="39" y="47"/>
                  <a:pt x="32" y="47"/>
                </a:cubicBezTo>
                <a:cubicBezTo>
                  <a:pt x="20" y="47"/>
                  <a:pt x="20" y="47"/>
                  <a:pt x="20" y="47"/>
                </a:cubicBezTo>
                <a:cubicBezTo>
                  <a:pt x="14" y="47"/>
                  <a:pt x="8" y="42"/>
                  <a:pt x="8" y="36"/>
                </a:cubicBezTo>
                <a:cubicBezTo>
                  <a:pt x="8" y="31"/>
                  <a:pt x="8" y="31"/>
                  <a:pt x="8" y="31"/>
                </a:cubicBezTo>
                <a:cubicBezTo>
                  <a:pt x="8" y="29"/>
                  <a:pt x="7" y="27"/>
                  <a:pt x="4" y="27"/>
                </a:cubicBezTo>
                <a:cubicBezTo>
                  <a:pt x="2" y="27"/>
                  <a:pt x="0" y="29"/>
                  <a:pt x="0" y="31"/>
                </a:cubicBezTo>
                <a:close/>
              </a:path>
            </a:pathLst>
          </a:custGeom>
          <a:solidFill>
            <a:schemeClr val="accent6"/>
          </a:solid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284">
            <a:extLst>
              <a:ext uri="{FF2B5EF4-FFF2-40B4-BE49-F238E27FC236}">
                <a16:creationId xmlns:a16="http://schemas.microsoft.com/office/drawing/2014/main" id="{CD50D538-2BFC-454C-B010-98F44E45A887}"/>
              </a:ext>
            </a:extLst>
          </p:cNvPr>
          <p:cNvSpPr>
            <a:spLocks/>
          </p:cNvSpPr>
          <p:nvPr/>
        </p:nvSpPr>
        <p:spPr bwMode="auto">
          <a:xfrm>
            <a:off x="9769592" y="4381662"/>
            <a:ext cx="19233" cy="273306"/>
          </a:xfrm>
          <a:custGeom>
            <a:avLst/>
            <a:gdLst>
              <a:gd name="T0" fmla="*/ 0 w 8"/>
              <a:gd name="T1" fmla="*/ 4 h 114"/>
              <a:gd name="T2" fmla="*/ 0 w 8"/>
              <a:gd name="T3" fmla="*/ 110 h 114"/>
              <a:gd name="T4" fmla="*/ 4 w 8"/>
              <a:gd name="T5" fmla="*/ 114 h 114"/>
              <a:gd name="T6" fmla="*/ 8 w 8"/>
              <a:gd name="T7" fmla="*/ 110 h 114"/>
              <a:gd name="T8" fmla="*/ 8 w 8"/>
              <a:gd name="T9" fmla="*/ 4 h 114"/>
              <a:gd name="T10" fmla="*/ 4 w 8"/>
              <a:gd name="T11" fmla="*/ 0 h 114"/>
              <a:gd name="T12" fmla="*/ 0 w 8"/>
              <a:gd name="T13" fmla="*/ 4 h 114"/>
            </a:gdLst>
            <a:ahLst/>
            <a:cxnLst>
              <a:cxn ang="0">
                <a:pos x="T0" y="T1"/>
              </a:cxn>
              <a:cxn ang="0">
                <a:pos x="T2" y="T3"/>
              </a:cxn>
              <a:cxn ang="0">
                <a:pos x="T4" y="T5"/>
              </a:cxn>
              <a:cxn ang="0">
                <a:pos x="T6" y="T7"/>
              </a:cxn>
              <a:cxn ang="0">
                <a:pos x="T8" y="T9"/>
              </a:cxn>
              <a:cxn ang="0">
                <a:pos x="T10" y="T11"/>
              </a:cxn>
              <a:cxn ang="0">
                <a:pos x="T12" y="T13"/>
              </a:cxn>
            </a:cxnLst>
            <a:rect l="0" t="0" r="r" b="b"/>
            <a:pathLst>
              <a:path w="8" h="114">
                <a:moveTo>
                  <a:pt x="0" y="4"/>
                </a:moveTo>
                <a:cubicBezTo>
                  <a:pt x="0" y="110"/>
                  <a:pt x="0" y="110"/>
                  <a:pt x="0" y="110"/>
                </a:cubicBezTo>
                <a:cubicBezTo>
                  <a:pt x="0" y="113"/>
                  <a:pt x="2" y="114"/>
                  <a:pt x="4" y="114"/>
                </a:cubicBezTo>
                <a:cubicBezTo>
                  <a:pt x="6" y="114"/>
                  <a:pt x="8" y="113"/>
                  <a:pt x="8" y="110"/>
                </a:cubicBezTo>
                <a:cubicBezTo>
                  <a:pt x="8" y="4"/>
                  <a:pt x="8" y="4"/>
                  <a:pt x="8" y="4"/>
                </a:cubicBezTo>
                <a:cubicBezTo>
                  <a:pt x="8" y="2"/>
                  <a:pt x="6" y="0"/>
                  <a:pt x="4" y="0"/>
                </a:cubicBezTo>
                <a:cubicBezTo>
                  <a:pt x="2" y="0"/>
                  <a:pt x="0" y="2"/>
                  <a:pt x="0" y="4"/>
                </a:cubicBezTo>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800" name="Freeform 285">
            <a:extLst>
              <a:ext uri="{FF2B5EF4-FFF2-40B4-BE49-F238E27FC236}">
                <a16:creationId xmlns:a16="http://schemas.microsoft.com/office/drawing/2014/main" id="{67D1FC50-4C95-43BC-A53D-61B443D0ED25}"/>
              </a:ext>
            </a:extLst>
          </p:cNvPr>
          <p:cNvSpPr>
            <a:spLocks noEditPoints="1"/>
          </p:cNvSpPr>
          <p:nvPr/>
        </p:nvSpPr>
        <p:spPr bwMode="auto">
          <a:xfrm>
            <a:off x="5532331" y="4371539"/>
            <a:ext cx="739952" cy="440327"/>
          </a:xfrm>
          <a:custGeom>
            <a:avLst/>
            <a:gdLst>
              <a:gd name="T0" fmla="*/ 306 w 308"/>
              <a:gd name="T1" fmla="*/ 10 h 183"/>
              <a:gd name="T2" fmla="*/ 297 w 308"/>
              <a:gd name="T3" fmla="*/ 2 h 183"/>
              <a:gd name="T4" fmla="*/ 295 w 308"/>
              <a:gd name="T5" fmla="*/ 14 h 183"/>
              <a:gd name="T6" fmla="*/ 287 w 308"/>
              <a:gd name="T7" fmla="*/ 31 h 183"/>
              <a:gd name="T8" fmla="*/ 289 w 308"/>
              <a:gd name="T9" fmla="*/ 19 h 183"/>
              <a:gd name="T10" fmla="*/ 278 w 308"/>
              <a:gd name="T11" fmla="*/ 23 h 183"/>
              <a:gd name="T12" fmla="*/ 287 w 308"/>
              <a:gd name="T13" fmla="*/ 31 h 183"/>
              <a:gd name="T14" fmla="*/ 273 w 308"/>
              <a:gd name="T15" fmla="*/ 45 h 183"/>
              <a:gd name="T16" fmla="*/ 264 w 308"/>
              <a:gd name="T17" fmla="*/ 37 h 183"/>
              <a:gd name="T18" fmla="*/ 262 w 308"/>
              <a:gd name="T19" fmla="*/ 48 h 183"/>
              <a:gd name="T20" fmla="*/ 254 w 308"/>
              <a:gd name="T21" fmla="*/ 66 h 183"/>
              <a:gd name="T22" fmla="*/ 256 w 308"/>
              <a:gd name="T23" fmla="*/ 54 h 183"/>
              <a:gd name="T24" fmla="*/ 245 w 308"/>
              <a:gd name="T25" fmla="*/ 57 h 183"/>
              <a:gd name="T26" fmla="*/ 254 w 308"/>
              <a:gd name="T27" fmla="*/ 66 h 183"/>
              <a:gd name="T28" fmla="*/ 240 w 308"/>
              <a:gd name="T29" fmla="*/ 80 h 183"/>
              <a:gd name="T30" fmla="*/ 231 w 308"/>
              <a:gd name="T31" fmla="*/ 72 h 183"/>
              <a:gd name="T32" fmla="*/ 229 w 308"/>
              <a:gd name="T33" fmla="*/ 83 h 183"/>
              <a:gd name="T34" fmla="*/ 221 w 308"/>
              <a:gd name="T35" fmla="*/ 101 h 183"/>
              <a:gd name="T36" fmla="*/ 223 w 308"/>
              <a:gd name="T37" fmla="*/ 89 h 183"/>
              <a:gd name="T38" fmla="*/ 212 w 308"/>
              <a:gd name="T39" fmla="*/ 92 h 183"/>
              <a:gd name="T40" fmla="*/ 221 w 308"/>
              <a:gd name="T41" fmla="*/ 101 h 183"/>
              <a:gd name="T42" fmla="*/ 207 w 308"/>
              <a:gd name="T43" fmla="*/ 115 h 183"/>
              <a:gd name="T44" fmla="*/ 198 w 308"/>
              <a:gd name="T45" fmla="*/ 107 h 183"/>
              <a:gd name="T46" fmla="*/ 196 w 308"/>
              <a:gd name="T47" fmla="*/ 118 h 183"/>
              <a:gd name="T48" fmla="*/ 188 w 308"/>
              <a:gd name="T49" fmla="*/ 135 h 183"/>
              <a:gd name="T50" fmla="*/ 190 w 308"/>
              <a:gd name="T51" fmla="*/ 124 h 183"/>
              <a:gd name="T52" fmla="*/ 179 w 308"/>
              <a:gd name="T53" fmla="*/ 127 h 183"/>
              <a:gd name="T54" fmla="*/ 188 w 308"/>
              <a:gd name="T55" fmla="*/ 135 h 183"/>
              <a:gd name="T56" fmla="*/ 174 w 308"/>
              <a:gd name="T57" fmla="*/ 150 h 183"/>
              <a:gd name="T58" fmla="*/ 165 w 308"/>
              <a:gd name="T59" fmla="*/ 142 h 183"/>
              <a:gd name="T60" fmla="*/ 163 w 308"/>
              <a:gd name="T61" fmla="*/ 153 h 183"/>
              <a:gd name="T62" fmla="*/ 155 w 308"/>
              <a:gd name="T63" fmla="*/ 170 h 183"/>
              <a:gd name="T64" fmla="*/ 157 w 308"/>
              <a:gd name="T65" fmla="*/ 159 h 183"/>
              <a:gd name="T66" fmla="*/ 146 w 308"/>
              <a:gd name="T67" fmla="*/ 162 h 183"/>
              <a:gd name="T68" fmla="*/ 155 w 308"/>
              <a:gd name="T69" fmla="*/ 170 h 183"/>
              <a:gd name="T70" fmla="*/ 133 w 308"/>
              <a:gd name="T71" fmla="*/ 181 h 183"/>
              <a:gd name="T72" fmla="*/ 139 w 308"/>
              <a:gd name="T73" fmla="*/ 171 h 183"/>
              <a:gd name="T74" fmla="*/ 127 w 308"/>
              <a:gd name="T75" fmla="*/ 171 h 183"/>
              <a:gd name="T76" fmla="*/ 109 w 308"/>
              <a:gd name="T77" fmla="*/ 168 h 183"/>
              <a:gd name="T78" fmla="*/ 120 w 308"/>
              <a:gd name="T79" fmla="*/ 167 h 183"/>
              <a:gd name="T80" fmla="*/ 114 w 308"/>
              <a:gd name="T81" fmla="*/ 157 h 183"/>
              <a:gd name="T82" fmla="*/ 109 w 308"/>
              <a:gd name="T83" fmla="*/ 168 h 183"/>
              <a:gd name="T84" fmla="*/ 91 w 308"/>
              <a:gd name="T85" fmla="*/ 158 h 183"/>
              <a:gd name="T86" fmla="*/ 97 w 308"/>
              <a:gd name="T87" fmla="*/ 147 h 183"/>
              <a:gd name="T88" fmla="*/ 85 w 308"/>
              <a:gd name="T89" fmla="*/ 148 h 183"/>
              <a:gd name="T90" fmla="*/ 67 w 308"/>
              <a:gd name="T91" fmla="*/ 144 h 183"/>
              <a:gd name="T92" fmla="*/ 78 w 308"/>
              <a:gd name="T93" fmla="*/ 144 h 183"/>
              <a:gd name="T94" fmla="*/ 73 w 308"/>
              <a:gd name="T95" fmla="*/ 134 h 183"/>
              <a:gd name="T96" fmla="*/ 67 w 308"/>
              <a:gd name="T97" fmla="*/ 144 h 183"/>
              <a:gd name="T98" fmla="*/ 49 w 308"/>
              <a:gd name="T99" fmla="*/ 134 h 183"/>
              <a:gd name="T100" fmla="*/ 55 w 308"/>
              <a:gd name="T101" fmla="*/ 124 h 183"/>
              <a:gd name="T102" fmla="*/ 44 w 308"/>
              <a:gd name="T103" fmla="*/ 124 h 183"/>
              <a:gd name="T104" fmla="*/ 25 w 308"/>
              <a:gd name="T105" fmla="*/ 120 h 183"/>
              <a:gd name="T106" fmla="*/ 37 w 308"/>
              <a:gd name="T107" fmla="*/ 120 h 183"/>
              <a:gd name="T108" fmla="*/ 31 w 308"/>
              <a:gd name="T109" fmla="*/ 110 h 183"/>
              <a:gd name="T110" fmla="*/ 25 w 308"/>
              <a:gd name="T111" fmla="*/ 120 h 183"/>
              <a:gd name="T112" fmla="*/ 8 w 308"/>
              <a:gd name="T113" fmla="*/ 111 h 183"/>
              <a:gd name="T114" fmla="*/ 13 w 308"/>
              <a:gd name="T115" fmla="*/ 100 h 183"/>
              <a:gd name="T116" fmla="*/ 2 w 308"/>
              <a:gd name="T117" fmla="*/ 10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8" h="183">
                <a:moveTo>
                  <a:pt x="303" y="13"/>
                </a:moveTo>
                <a:cubicBezTo>
                  <a:pt x="306" y="10"/>
                  <a:pt x="306" y="10"/>
                  <a:pt x="306" y="10"/>
                </a:cubicBezTo>
                <a:cubicBezTo>
                  <a:pt x="308" y="8"/>
                  <a:pt x="308" y="4"/>
                  <a:pt x="306" y="2"/>
                </a:cubicBezTo>
                <a:cubicBezTo>
                  <a:pt x="303" y="0"/>
                  <a:pt x="299" y="0"/>
                  <a:pt x="297" y="2"/>
                </a:cubicBezTo>
                <a:cubicBezTo>
                  <a:pt x="294" y="5"/>
                  <a:pt x="294" y="5"/>
                  <a:pt x="294" y="5"/>
                </a:cubicBezTo>
                <a:cubicBezTo>
                  <a:pt x="292" y="8"/>
                  <a:pt x="292" y="11"/>
                  <a:pt x="295" y="14"/>
                </a:cubicBezTo>
                <a:cubicBezTo>
                  <a:pt x="297" y="16"/>
                  <a:pt x="301" y="16"/>
                  <a:pt x="303" y="13"/>
                </a:cubicBezTo>
                <a:close/>
                <a:moveTo>
                  <a:pt x="287" y="31"/>
                </a:moveTo>
                <a:cubicBezTo>
                  <a:pt x="289" y="28"/>
                  <a:pt x="289" y="28"/>
                  <a:pt x="289" y="28"/>
                </a:cubicBezTo>
                <a:cubicBezTo>
                  <a:pt x="292" y="25"/>
                  <a:pt x="292" y="22"/>
                  <a:pt x="289" y="19"/>
                </a:cubicBezTo>
                <a:cubicBezTo>
                  <a:pt x="287" y="17"/>
                  <a:pt x="283" y="17"/>
                  <a:pt x="281" y="20"/>
                </a:cubicBezTo>
                <a:cubicBezTo>
                  <a:pt x="278" y="23"/>
                  <a:pt x="278" y="23"/>
                  <a:pt x="278" y="23"/>
                </a:cubicBezTo>
                <a:cubicBezTo>
                  <a:pt x="276" y="25"/>
                  <a:pt x="276" y="29"/>
                  <a:pt x="278" y="31"/>
                </a:cubicBezTo>
                <a:cubicBezTo>
                  <a:pt x="281" y="33"/>
                  <a:pt x="284" y="33"/>
                  <a:pt x="287" y="31"/>
                </a:cubicBezTo>
                <a:close/>
                <a:moveTo>
                  <a:pt x="270" y="48"/>
                </a:moveTo>
                <a:cubicBezTo>
                  <a:pt x="273" y="45"/>
                  <a:pt x="273" y="45"/>
                  <a:pt x="273" y="45"/>
                </a:cubicBezTo>
                <a:cubicBezTo>
                  <a:pt x="275" y="43"/>
                  <a:pt x="275" y="39"/>
                  <a:pt x="273" y="37"/>
                </a:cubicBezTo>
                <a:cubicBezTo>
                  <a:pt x="270" y="35"/>
                  <a:pt x="266" y="35"/>
                  <a:pt x="264" y="37"/>
                </a:cubicBezTo>
                <a:cubicBezTo>
                  <a:pt x="261" y="40"/>
                  <a:pt x="261" y="40"/>
                  <a:pt x="261" y="40"/>
                </a:cubicBezTo>
                <a:cubicBezTo>
                  <a:pt x="259" y="42"/>
                  <a:pt x="259" y="46"/>
                  <a:pt x="262" y="48"/>
                </a:cubicBezTo>
                <a:cubicBezTo>
                  <a:pt x="264" y="51"/>
                  <a:pt x="268" y="51"/>
                  <a:pt x="270" y="48"/>
                </a:cubicBezTo>
                <a:close/>
                <a:moveTo>
                  <a:pt x="254" y="66"/>
                </a:moveTo>
                <a:cubicBezTo>
                  <a:pt x="256" y="63"/>
                  <a:pt x="256" y="63"/>
                  <a:pt x="256" y="63"/>
                </a:cubicBezTo>
                <a:cubicBezTo>
                  <a:pt x="259" y="60"/>
                  <a:pt x="259" y="57"/>
                  <a:pt x="256" y="54"/>
                </a:cubicBezTo>
                <a:cubicBezTo>
                  <a:pt x="254" y="52"/>
                  <a:pt x="250" y="52"/>
                  <a:pt x="248" y="55"/>
                </a:cubicBezTo>
                <a:cubicBezTo>
                  <a:pt x="245" y="57"/>
                  <a:pt x="245" y="57"/>
                  <a:pt x="245" y="57"/>
                </a:cubicBezTo>
                <a:cubicBezTo>
                  <a:pt x="243" y="60"/>
                  <a:pt x="243" y="64"/>
                  <a:pt x="245" y="66"/>
                </a:cubicBezTo>
                <a:cubicBezTo>
                  <a:pt x="248" y="68"/>
                  <a:pt x="251" y="68"/>
                  <a:pt x="254" y="66"/>
                </a:cubicBezTo>
                <a:close/>
                <a:moveTo>
                  <a:pt x="237" y="83"/>
                </a:moveTo>
                <a:cubicBezTo>
                  <a:pt x="240" y="80"/>
                  <a:pt x="240" y="80"/>
                  <a:pt x="240" y="80"/>
                </a:cubicBezTo>
                <a:cubicBezTo>
                  <a:pt x="242" y="78"/>
                  <a:pt x="242" y="74"/>
                  <a:pt x="240" y="72"/>
                </a:cubicBezTo>
                <a:cubicBezTo>
                  <a:pt x="237" y="69"/>
                  <a:pt x="233" y="70"/>
                  <a:pt x="231" y="72"/>
                </a:cubicBezTo>
                <a:cubicBezTo>
                  <a:pt x="228" y="75"/>
                  <a:pt x="228" y="75"/>
                  <a:pt x="228" y="75"/>
                </a:cubicBezTo>
                <a:cubicBezTo>
                  <a:pt x="226" y="77"/>
                  <a:pt x="226" y="81"/>
                  <a:pt x="229" y="83"/>
                </a:cubicBezTo>
                <a:cubicBezTo>
                  <a:pt x="231" y="86"/>
                  <a:pt x="235" y="86"/>
                  <a:pt x="237" y="83"/>
                </a:cubicBezTo>
                <a:close/>
                <a:moveTo>
                  <a:pt x="221" y="101"/>
                </a:moveTo>
                <a:cubicBezTo>
                  <a:pt x="223" y="98"/>
                  <a:pt x="223" y="98"/>
                  <a:pt x="223" y="98"/>
                </a:cubicBezTo>
                <a:cubicBezTo>
                  <a:pt x="226" y="95"/>
                  <a:pt x="226" y="91"/>
                  <a:pt x="223" y="89"/>
                </a:cubicBezTo>
                <a:cubicBezTo>
                  <a:pt x="221" y="87"/>
                  <a:pt x="217" y="87"/>
                  <a:pt x="215" y="89"/>
                </a:cubicBezTo>
                <a:cubicBezTo>
                  <a:pt x="212" y="92"/>
                  <a:pt x="212" y="92"/>
                  <a:pt x="212" y="92"/>
                </a:cubicBezTo>
                <a:cubicBezTo>
                  <a:pt x="210" y="95"/>
                  <a:pt x="210" y="99"/>
                  <a:pt x="212" y="101"/>
                </a:cubicBezTo>
                <a:cubicBezTo>
                  <a:pt x="215" y="103"/>
                  <a:pt x="218" y="103"/>
                  <a:pt x="221" y="101"/>
                </a:cubicBezTo>
                <a:close/>
                <a:moveTo>
                  <a:pt x="204" y="118"/>
                </a:moveTo>
                <a:cubicBezTo>
                  <a:pt x="207" y="115"/>
                  <a:pt x="207" y="115"/>
                  <a:pt x="207" y="115"/>
                </a:cubicBezTo>
                <a:cubicBezTo>
                  <a:pt x="209" y="113"/>
                  <a:pt x="209" y="109"/>
                  <a:pt x="207" y="107"/>
                </a:cubicBezTo>
                <a:cubicBezTo>
                  <a:pt x="204" y="104"/>
                  <a:pt x="200" y="104"/>
                  <a:pt x="198" y="107"/>
                </a:cubicBezTo>
                <a:cubicBezTo>
                  <a:pt x="195" y="110"/>
                  <a:pt x="195" y="110"/>
                  <a:pt x="195" y="110"/>
                </a:cubicBezTo>
                <a:cubicBezTo>
                  <a:pt x="193" y="112"/>
                  <a:pt x="193" y="116"/>
                  <a:pt x="196" y="118"/>
                </a:cubicBezTo>
                <a:cubicBezTo>
                  <a:pt x="198" y="121"/>
                  <a:pt x="202" y="120"/>
                  <a:pt x="204" y="118"/>
                </a:cubicBezTo>
                <a:close/>
                <a:moveTo>
                  <a:pt x="188" y="135"/>
                </a:moveTo>
                <a:cubicBezTo>
                  <a:pt x="190" y="133"/>
                  <a:pt x="190" y="133"/>
                  <a:pt x="190" y="133"/>
                </a:cubicBezTo>
                <a:cubicBezTo>
                  <a:pt x="193" y="130"/>
                  <a:pt x="193" y="126"/>
                  <a:pt x="190" y="124"/>
                </a:cubicBezTo>
                <a:cubicBezTo>
                  <a:pt x="188" y="122"/>
                  <a:pt x="184" y="122"/>
                  <a:pt x="182" y="124"/>
                </a:cubicBezTo>
                <a:cubicBezTo>
                  <a:pt x="179" y="127"/>
                  <a:pt x="179" y="127"/>
                  <a:pt x="179" y="127"/>
                </a:cubicBezTo>
                <a:cubicBezTo>
                  <a:pt x="177" y="130"/>
                  <a:pt x="177" y="133"/>
                  <a:pt x="179" y="136"/>
                </a:cubicBezTo>
                <a:cubicBezTo>
                  <a:pt x="182" y="138"/>
                  <a:pt x="185" y="138"/>
                  <a:pt x="188" y="135"/>
                </a:cubicBezTo>
                <a:close/>
                <a:moveTo>
                  <a:pt x="171" y="153"/>
                </a:moveTo>
                <a:cubicBezTo>
                  <a:pt x="174" y="150"/>
                  <a:pt x="174" y="150"/>
                  <a:pt x="174" y="150"/>
                </a:cubicBezTo>
                <a:cubicBezTo>
                  <a:pt x="176" y="148"/>
                  <a:pt x="176" y="144"/>
                  <a:pt x="174" y="141"/>
                </a:cubicBezTo>
                <a:cubicBezTo>
                  <a:pt x="171" y="139"/>
                  <a:pt x="167" y="139"/>
                  <a:pt x="165" y="142"/>
                </a:cubicBezTo>
                <a:cubicBezTo>
                  <a:pt x="162" y="145"/>
                  <a:pt x="162" y="145"/>
                  <a:pt x="162" y="145"/>
                </a:cubicBezTo>
                <a:cubicBezTo>
                  <a:pt x="160" y="147"/>
                  <a:pt x="160" y="151"/>
                  <a:pt x="163" y="153"/>
                </a:cubicBezTo>
                <a:cubicBezTo>
                  <a:pt x="165" y="155"/>
                  <a:pt x="169" y="155"/>
                  <a:pt x="171" y="153"/>
                </a:cubicBezTo>
                <a:close/>
                <a:moveTo>
                  <a:pt x="155" y="170"/>
                </a:moveTo>
                <a:cubicBezTo>
                  <a:pt x="157" y="167"/>
                  <a:pt x="157" y="167"/>
                  <a:pt x="157" y="167"/>
                </a:cubicBezTo>
                <a:cubicBezTo>
                  <a:pt x="160" y="165"/>
                  <a:pt x="160" y="161"/>
                  <a:pt x="157" y="159"/>
                </a:cubicBezTo>
                <a:cubicBezTo>
                  <a:pt x="155" y="157"/>
                  <a:pt x="151" y="157"/>
                  <a:pt x="149" y="159"/>
                </a:cubicBezTo>
                <a:cubicBezTo>
                  <a:pt x="146" y="162"/>
                  <a:pt x="146" y="162"/>
                  <a:pt x="146" y="162"/>
                </a:cubicBezTo>
                <a:cubicBezTo>
                  <a:pt x="144" y="164"/>
                  <a:pt x="144" y="168"/>
                  <a:pt x="146" y="171"/>
                </a:cubicBezTo>
                <a:cubicBezTo>
                  <a:pt x="149" y="173"/>
                  <a:pt x="152" y="173"/>
                  <a:pt x="155" y="170"/>
                </a:cubicBezTo>
                <a:close/>
                <a:moveTo>
                  <a:pt x="129" y="179"/>
                </a:moveTo>
                <a:cubicBezTo>
                  <a:pt x="133" y="181"/>
                  <a:pt x="133" y="181"/>
                  <a:pt x="133" y="181"/>
                </a:cubicBezTo>
                <a:cubicBezTo>
                  <a:pt x="136" y="183"/>
                  <a:pt x="139" y="182"/>
                  <a:pt x="141" y="179"/>
                </a:cubicBezTo>
                <a:cubicBezTo>
                  <a:pt x="143" y="176"/>
                  <a:pt x="142" y="173"/>
                  <a:pt x="139" y="171"/>
                </a:cubicBezTo>
                <a:cubicBezTo>
                  <a:pt x="135" y="169"/>
                  <a:pt x="135" y="169"/>
                  <a:pt x="135" y="169"/>
                </a:cubicBezTo>
                <a:cubicBezTo>
                  <a:pt x="132" y="167"/>
                  <a:pt x="129" y="168"/>
                  <a:pt x="127" y="171"/>
                </a:cubicBezTo>
                <a:cubicBezTo>
                  <a:pt x="126" y="174"/>
                  <a:pt x="127" y="178"/>
                  <a:pt x="129" y="179"/>
                </a:cubicBezTo>
                <a:close/>
                <a:moveTo>
                  <a:pt x="109" y="168"/>
                </a:moveTo>
                <a:cubicBezTo>
                  <a:pt x="112" y="170"/>
                  <a:pt x="112" y="170"/>
                  <a:pt x="112" y="170"/>
                </a:cubicBezTo>
                <a:cubicBezTo>
                  <a:pt x="115" y="171"/>
                  <a:pt x="119" y="170"/>
                  <a:pt x="120" y="167"/>
                </a:cubicBezTo>
                <a:cubicBezTo>
                  <a:pt x="122" y="164"/>
                  <a:pt x="121" y="161"/>
                  <a:pt x="118" y="159"/>
                </a:cubicBezTo>
                <a:cubicBezTo>
                  <a:pt x="114" y="157"/>
                  <a:pt x="114" y="157"/>
                  <a:pt x="114" y="157"/>
                </a:cubicBezTo>
                <a:cubicBezTo>
                  <a:pt x="112" y="156"/>
                  <a:pt x="108" y="157"/>
                  <a:pt x="106" y="159"/>
                </a:cubicBezTo>
                <a:cubicBezTo>
                  <a:pt x="105" y="162"/>
                  <a:pt x="106" y="166"/>
                  <a:pt x="109" y="168"/>
                </a:cubicBezTo>
                <a:close/>
                <a:moveTo>
                  <a:pt x="88" y="156"/>
                </a:moveTo>
                <a:cubicBezTo>
                  <a:pt x="91" y="158"/>
                  <a:pt x="91" y="158"/>
                  <a:pt x="91" y="158"/>
                </a:cubicBezTo>
                <a:cubicBezTo>
                  <a:pt x="94" y="159"/>
                  <a:pt x="98" y="158"/>
                  <a:pt x="99" y="156"/>
                </a:cubicBezTo>
                <a:cubicBezTo>
                  <a:pt x="101" y="153"/>
                  <a:pt x="100" y="149"/>
                  <a:pt x="97" y="147"/>
                </a:cubicBezTo>
                <a:cubicBezTo>
                  <a:pt x="94" y="145"/>
                  <a:pt x="94" y="145"/>
                  <a:pt x="94" y="145"/>
                </a:cubicBezTo>
                <a:cubicBezTo>
                  <a:pt x="91" y="144"/>
                  <a:pt x="87" y="145"/>
                  <a:pt x="85" y="148"/>
                </a:cubicBezTo>
                <a:cubicBezTo>
                  <a:pt x="84" y="151"/>
                  <a:pt x="85" y="154"/>
                  <a:pt x="88" y="156"/>
                </a:cubicBezTo>
                <a:close/>
                <a:moveTo>
                  <a:pt x="67" y="144"/>
                </a:moveTo>
                <a:cubicBezTo>
                  <a:pt x="70" y="146"/>
                  <a:pt x="70" y="146"/>
                  <a:pt x="70" y="146"/>
                </a:cubicBezTo>
                <a:cubicBezTo>
                  <a:pt x="73" y="148"/>
                  <a:pt x="77" y="147"/>
                  <a:pt x="78" y="144"/>
                </a:cubicBezTo>
                <a:cubicBezTo>
                  <a:pt x="80" y="141"/>
                  <a:pt x="79" y="137"/>
                  <a:pt x="76" y="136"/>
                </a:cubicBezTo>
                <a:cubicBezTo>
                  <a:pt x="73" y="134"/>
                  <a:pt x="73" y="134"/>
                  <a:pt x="73" y="134"/>
                </a:cubicBezTo>
                <a:cubicBezTo>
                  <a:pt x="70" y="132"/>
                  <a:pt x="66" y="133"/>
                  <a:pt x="64" y="136"/>
                </a:cubicBezTo>
                <a:cubicBezTo>
                  <a:pt x="63" y="139"/>
                  <a:pt x="64" y="142"/>
                  <a:pt x="67" y="144"/>
                </a:cubicBezTo>
                <a:close/>
                <a:moveTo>
                  <a:pt x="46" y="132"/>
                </a:moveTo>
                <a:cubicBezTo>
                  <a:pt x="49" y="134"/>
                  <a:pt x="49" y="134"/>
                  <a:pt x="49" y="134"/>
                </a:cubicBezTo>
                <a:cubicBezTo>
                  <a:pt x="52" y="136"/>
                  <a:pt x="56" y="135"/>
                  <a:pt x="58" y="132"/>
                </a:cubicBezTo>
                <a:cubicBezTo>
                  <a:pt x="59" y="129"/>
                  <a:pt x="58" y="125"/>
                  <a:pt x="55" y="124"/>
                </a:cubicBezTo>
                <a:cubicBezTo>
                  <a:pt x="52" y="122"/>
                  <a:pt x="52" y="122"/>
                  <a:pt x="52" y="122"/>
                </a:cubicBezTo>
                <a:cubicBezTo>
                  <a:pt x="49" y="120"/>
                  <a:pt x="45" y="121"/>
                  <a:pt x="44" y="124"/>
                </a:cubicBezTo>
                <a:cubicBezTo>
                  <a:pt x="42" y="127"/>
                  <a:pt x="43" y="131"/>
                  <a:pt x="46" y="132"/>
                </a:cubicBezTo>
                <a:close/>
                <a:moveTo>
                  <a:pt x="25" y="120"/>
                </a:moveTo>
                <a:cubicBezTo>
                  <a:pt x="28" y="122"/>
                  <a:pt x="28" y="122"/>
                  <a:pt x="28" y="122"/>
                </a:cubicBezTo>
                <a:cubicBezTo>
                  <a:pt x="31" y="124"/>
                  <a:pt x="35" y="123"/>
                  <a:pt x="37" y="120"/>
                </a:cubicBezTo>
                <a:cubicBezTo>
                  <a:pt x="38" y="117"/>
                  <a:pt x="37" y="114"/>
                  <a:pt x="34" y="112"/>
                </a:cubicBezTo>
                <a:cubicBezTo>
                  <a:pt x="31" y="110"/>
                  <a:pt x="31" y="110"/>
                  <a:pt x="31" y="110"/>
                </a:cubicBezTo>
                <a:cubicBezTo>
                  <a:pt x="28" y="108"/>
                  <a:pt x="24" y="109"/>
                  <a:pt x="23" y="112"/>
                </a:cubicBezTo>
                <a:cubicBezTo>
                  <a:pt x="21" y="115"/>
                  <a:pt x="22" y="119"/>
                  <a:pt x="25" y="120"/>
                </a:cubicBezTo>
                <a:close/>
                <a:moveTo>
                  <a:pt x="4" y="109"/>
                </a:moveTo>
                <a:cubicBezTo>
                  <a:pt x="8" y="111"/>
                  <a:pt x="8" y="111"/>
                  <a:pt x="8" y="111"/>
                </a:cubicBezTo>
                <a:cubicBezTo>
                  <a:pt x="10" y="112"/>
                  <a:pt x="14" y="111"/>
                  <a:pt x="16" y="108"/>
                </a:cubicBezTo>
                <a:cubicBezTo>
                  <a:pt x="17" y="105"/>
                  <a:pt x="16" y="102"/>
                  <a:pt x="13" y="100"/>
                </a:cubicBezTo>
                <a:cubicBezTo>
                  <a:pt x="10" y="98"/>
                  <a:pt x="10" y="98"/>
                  <a:pt x="10" y="98"/>
                </a:cubicBezTo>
                <a:cubicBezTo>
                  <a:pt x="7" y="97"/>
                  <a:pt x="3" y="98"/>
                  <a:pt x="2" y="100"/>
                </a:cubicBezTo>
                <a:cubicBezTo>
                  <a:pt x="0" y="103"/>
                  <a:pt x="1" y="107"/>
                  <a:pt x="4"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1" name="Freeform 286">
            <a:extLst>
              <a:ext uri="{FF2B5EF4-FFF2-40B4-BE49-F238E27FC236}">
                <a16:creationId xmlns:a16="http://schemas.microsoft.com/office/drawing/2014/main" id="{EA1C98E6-325D-4D64-8107-0F460EACE9E0}"/>
              </a:ext>
            </a:extLst>
          </p:cNvPr>
          <p:cNvSpPr>
            <a:spLocks/>
          </p:cNvSpPr>
          <p:nvPr/>
        </p:nvSpPr>
        <p:spPr bwMode="auto">
          <a:xfrm>
            <a:off x="6219646" y="4311817"/>
            <a:ext cx="101225" cy="101225"/>
          </a:xfrm>
          <a:custGeom>
            <a:avLst/>
            <a:gdLst>
              <a:gd name="T0" fmla="*/ 31 w 42"/>
              <a:gd name="T1" fmla="*/ 36 h 42"/>
              <a:gd name="T2" fmla="*/ 6 w 42"/>
              <a:gd name="T3" fmla="*/ 31 h 42"/>
              <a:gd name="T4" fmla="*/ 11 w 42"/>
              <a:gd name="T5" fmla="*/ 6 h 42"/>
              <a:gd name="T6" fmla="*/ 37 w 42"/>
              <a:gd name="T7" fmla="*/ 11 h 42"/>
              <a:gd name="T8" fmla="*/ 31 w 42"/>
              <a:gd name="T9" fmla="*/ 36 h 42"/>
            </a:gdLst>
            <a:ahLst/>
            <a:cxnLst>
              <a:cxn ang="0">
                <a:pos x="T0" y="T1"/>
              </a:cxn>
              <a:cxn ang="0">
                <a:pos x="T2" y="T3"/>
              </a:cxn>
              <a:cxn ang="0">
                <a:pos x="T4" y="T5"/>
              </a:cxn>
              <a:cxn ang="0">
                <a:pos x="T6" y="T7"/>
              </a:cxn>
              <a:cxn ang="0">
                <a:pos x="T8" y="T9"/>
              </a:cxn>
            </a:cxnLst>
            <a:rect l="0" t="0" r="r" b="b"/>
            <a:pathLst>
              <a:path w="42" h="42">
                <a:moveTo>
                  <a:pt x="31" y="36"/>
                </a:moveTo>
                <a:cubicBezTo>
                  <a:pt x="22" y="42"/>
                  <a:pt x="11" y="39"/>
                  <a:pt x="6" y="31"/>
                </a:cubicBezTo>
                <a:cubicBezTo>
                  <a:pt x="0" y="22"/>
                  <a:pt x="3" y="11"/>
                  <a:pt x="11" y="6"/>
                </a:cubicBezTo>
                <a:cubicBezTo>
                  <a:pt x="20" y="0"/>
                  <a:pt x="31" y="3"/>
                  <a:pt x="37" y="11"/>
                </a:cubicBezTo>
                <a:cubicBezTo>
                  <a:pt x="42" y="20"/>
                  <a:pt x="39" y="31"/>
                  <a:pt x="31"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2" name="Freeform 287">
            <a:extLst>
              <a:ext uri="{FF2B5EF4-FFF2-40B4-BE49-F238E27FC236}">
                <a16:creationId xmlns:a16="http://schemas.microsoft.com/office/drawing/2014/main" id="{CB7A3404-5511-472D-A221-7FA4306126E6}"/>
              </a:ext>
            </a:extLst>
          </p:cNvPr>
          <p:cNvSpPr>
            <a:spLocks/>
          </p:cNvSpPr>
          <p:nvPr/>
        </p:nvSpPr>
        <p:spPr bwMode="auto">
          <a:xfrm>
            <a:off x="6216609" y="4309792"/>
            <a:ext cx="106286" cy="105274"/>
          </a:xfrm>
          <a:custGeom>
            <a:avLst/>
            <a:gdLst>
              <a:gd name="T0" fmla="*/ 32 w 44"/>
              <a:gd name="T1" fmla="*/ 37 h 44"/>
              <a:gd name="T2" fmla="*/ 30 w 44"/>
              <a:gd name="T3" fmla="*/ 34 h 44"/>
              <a:gd name="T4" fmla="*/ 22 w 44"/>
              <a:gd name="T5" fmla="*/ 36 h 44"/>
              <a:gd name="T6" fmla="*/ 10 w 44"/>
              <a:gd name="T7" fmla="*/ 30 h 44"/>
              <a:gd name="T8" fmla="*/ 8 w 44"/>
              <a:gd name="T9" fmla="*/ 22 h 44"/>
              <a:gd name="T10" fmla="*/ 15 w 44"/>
              <a:gd name="T11" fmla="*/ 10 h 44"/>
              <a:gd name="T12" fmla="*/ 22 w 44"/>
              <a:gd name="T13" fmla="*/ 8 h 44"/>
              <a:gd name="T14" fmla="*/ 34 w 44"/>
              <a:gd name="T15" fmla="*/ 14 h 44"/>
              <a:gd name="T16" fmla="*/ 36 w 44"/>
              <a:gd name="T17" fmla="*/ 22 h 44"/>
              <a:gd name="T18" fmla="*/ 30 w 44"/>
              <a:gd name="T19" fmla="*/ 34 h 44"/>
              <a:gd name="T20" fmla="*/ 32 w 44"/>
              <a:gd name="T21" fmla="*/ 37 h 44"/>
              <a:gd name="T22" fmla="*/ 34 w 44"/>
              <a:gd name="T23" fmla="*/ 41 h 44"/>
              <a:gd name="T24" fmla="*/ 44 w 44"/>
              <a:gd name="T25" fmla="*/ 22 h 44"/>
              <a:gd name="T26" fmla="*/ 41 w 44"/>
              <a:gd name="T27" fmla="*/ 10 h 44"/>
              <a:gd name="T28" fmla="*/ 22 w 44"/>
              <a:gd name="T29" fmla="*/ 0 h 44"/>
              <a:gd name="T30" fmla="*/ 10 w 44"/>
              <a:gd name="T31" fmla="*/ 3 h 44"/>
              <a:gd name="T32" fmla="*/ 0 w 44"/>
              <a:gd name="T33" fmla="*/ 22 h 44"/>
              <a:gd name="T34" fmla="*/ 3 w 44"/>
              <a:gd name="T35" fmla="*/ 34 h 44"/>
              <a:gd name="T36" fmla="*/ 22 w 44"/>
              <a:gd name="T37" fmla="*/ 44 h 44"/>
              <a:gd name="T38" fmla="*/ 34 w 44"/>
              <a:gd name="T39" fmla="*/ 41 h 44"/>
              <a:gd name="T40" fmla="*/ 32 w 44"/>
              <a:gd name="T41"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44">
                <a:moveTo>
                  <a:pt x="32" y="37"/>
                </a:moveTo>
                <a:cubicBezTo>
                  <a:pt x="30" y="34"/>
                  <a:pt x="30" y="34"/>
                  <a:pt x="30" y="34"/>
                </a:cubicBezTo>
                <a:cubicBezTo>
                  <a:pt x="27" y="35"/>
                  <a:pt x="25" y="36"/>
                  <a:pt x="22" y="36"/>
                </a:cubicBezTo>
                <a:cubicBezTo>
                  <a:pt x="17" y="36"/>
                  <a:pt x="13" y="34"/>
                  <a:pt x="10" y="30"/>
                </a:cubicBezTo>
                <a:cubicBezTo>
                  <a:pt x="9" y="27"/>
                  <a:pt x="8" y="25"/>
                  <a:pt x="8" y="22"/>
                </a:cubicBezTo>
                <a:cubicBezTo>
                  <a:pt x="8" y="17"/>
                  <a:pt x="10" y="13"/>
                  <a:pt x="15" y="10"/>
                </a:cubicBezTo>
                <a:cubicBezTo>
                  <a:pt x="17" y="8"/>
                  <a:pt x="20" y="8"/>
                  <a:pt x="22" y="8"/>
                </a:cubicBezTo>
                <a:cubicBezTo>
                  <a:pt x="27" y="8"/>
                  <a:pt x="31" y="10"/>
                  <a:pt x="34" y="14"/>
                </a:cubicBezTo>
                <a:cubicBezTo>
                  <a:pt x="36" y="17"/>
                  <a:pt x="36" y="19"/>
                  <a:pt x="36" y="22"/>
                </a:cubicBezTo>
                <a:cubicBezTo>
                  <a:pt x="36" y="27"/>
                  <a:pt x="34" y="31"/>
                  <a:pt x="30" y="34"/>
                </a:cubicBezTo>
                <a:cubicBezTo>
                  <a:pt x="32" y="37"/>
                  <a:pt x="32" y="37"/>
                  <a:pt x="32" y="37"/>
                </a:cubicBezTo>
                <a:cubicBezTo>
                  <a:pt x="34" y="41"/>
                  <a:pt x="34" y="41"/>
                  <a:pt x="34" y="41"/>
                </a:cubicBezTo>
                <a:cubicBezTo>
                  <a:pt x="41" y="36"/>
                  <a:pt x="44" y="29"/>
                  <a:pt x="44" y="22"/>
                </a:cubicBezTo>
                <a:cubicBezTo>
                  <a:pt x="44" y="18"/>
                  <a:pt x="43" y="14"/>
                  <a:pt x="41" y="10"/>
                </a:cubicBezTo>
                <a:cubicBezTo>
                  <a:pt x="37" y="3"/>
                  <a:pt x="30" y="0"/>
                  <a:pt x="22" y="0"/>
                </a:cubicBezTo>
                <a:cubicBezTo>
                  <a:pt x="18" y="0"/>
                  <a:pt x="14" y="1"/>
                  <a:pt x="10" y="3"/>
                </a:cubicBezTo>
                <a:cubicBezTo>
                  <a:pt x="4" y="7"/>
                  <a:pt x="0" y="15"/>
                  <a:pt x="0" y="22"/>
                </a:cubicBezTo>
                <a:cubicBezTo>
                  <a:pt x="0" y="26"/>
                  <a:pt x="1" y="30"/>
                  <a:pt x="3" y="34"/>
                </a:cubicBezTo>
                <a:cubicBezTo>
                  <a:pt x="8" y="41"/>
                  <a:pt x="15" y="44"/>
                  <a:pt x="22" y="44"/>
                </a:cubicBezTo>
                <a:cubicBezTo>
                  <a:pt x="26" y="44"/>
                  <a:pt x="30" y="43"/>
                  <a:pt x="34" y="41"/>
                </a:cubicBezTo>
                <a:lnTo>
                  <a:pt x="32" y="3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3" name="Freeform 288">
            <a:extLst>
              <a:ext uri="{FF2B5EF4-FFF2-40B4-BE49-F238E27FC236}">
                <a16:creationId xmlns:a16="http://schemas.microsoft.com/office/drawing/2014/main" id="{47055D6D-FDB5-47E1-B681-39E637093600}"/>
              </a:ext>
            </a:extLst>
          </p:cNvPr>
          <p:cNvSpPr>
            <a:spLocks/>
          </p:cNvSpPr>
          <p:nvPr/>
        </p:nvSpPr>
        <p:spPr bwMode="auto">
          <a:xfrm>
            <a:off x="5421996" y="4563866"/>
            <a:ext cx="146776" cy="148800"/>
          </a:xfrm>
          <a:custGeom>
            <a:avLst/>
            <a:gdLst>
              <a:gd name="T0" fmla="*/ 45 w 61"/>
              <a:gd name="T1" fmla="*/ 54 h 62"/>
              <a:gd name="T2" fmla="*/ 8 w 61"/>
              <a:gd name="T3" fmla="*/ 45 h 62"/>
              <a:gd name="T4" fmla="*/ 16 w 61"/>
              <a:gd name="T5" fmla="*/ 8 h 62"/>
              <a:gd name="T6" fmla="*/ 53 w 61"/>
              <a:gd name="T7" fmla="*/ 17 h 62"/>
              <a:gd name="T8" fmla="*/ 45 w 61"/>
              <a:gd name="T9" fmla="*/ 54 h 62"/>
            </a:gdLst>
            <a:ahLst/>
            <a:cxnLst>
              <a:cxn ang="0">
                <a:pos x="T0" y="T1"/>
              </a:cxn>
              <a:cxn ang="0">
                <a:pos x="T2" y="T3"/>
              </a:cxn>
              <a:cxn ang="0">
                <a:pos x="T4" y="T5"/>
              </a:cxn>
              <a:cxn ang="0">
                <a:pos x="T6" y="T7"/>
              </a:cxn>
              <a:cxn ang="0">
                <a:pos x="T8" y="T9"/>
              </a:cxn>
            </a:cxnLst>
            <a:rect l="0" t="0" r="r" b="b"/>
            <a:pathLst>
              <a:path w="61" h="62">
                <a:moveTo>
                  <a:pt x="45" y="54"/>
                </a:moveTo>
                <a:cubicBezTo>
                  <a:pt x="32" y="62"/>
                  <a:pt x="16" y="58"/>
                  <a:pt x="8" y="45"/>
                </a:cubicBezTo>
                <a:cubicBezTo>
                  <a:pt x="0" y="33"/>
                  <a:pt x="3" y="16"/>
                  <a:pt x="16" y="8"/>
                </a:cubicBezTo>
                <a:cubicBezTo>
                  <a:pt x="28" y="0"/>
                  <a:pt x="45" y="4"/>
                  <a:pt x="53" y="17"/>
                </a:cubicBezTo>
                <a:cubicBezTo>
                  <a:pt x="61" y="29"/>
                  <a:pt x="57" y="46"/>
                  <a:pt x="45" y="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4" name="Freeform 289">
            <a:extLst>
              <a:ext uri="{FF2B5EF4-FFF2-40B4-BE49-F238E27FC236}">
                <a16:creationId xmlns:a16="http://schemas.microsoft.com/office/drawing/2014/main" id="{E495165D-DB32-420C-BD9B-10B109EC7612}"/>
              </a:ext>
            </a:extLst>
          </p:cNvPr>
          <p:cNvSpPr>
            <a:spLocks/>
          </p:cNvSpPr>
          <p:nvPr/>
        </p:nvSpPr>
        <p:spPr bwMode="auto">
          <a:xfrm>
            <a:off x="5419972" y="4563866"/>
            <a:ext cx="148800" cy="148800"/>
          </a:xfrm>
          <a:custGeom>
            <a:avLst/>
            <a:gdLst>
              <a:gd name="T0" fmla="*/ 46 w 62"/>
              <a:gd name="T1" fmla="*/ 54 h 62"/>
              <a:gd name="T2" fmla="*/ 44 w 62"/>
              <a:gd name="T3" fmla="*/ 50 h 62"/>
              <a:gd name="T4" fmla="*/ 31 w 62"/>
              <a:gd name="T5" fmla="*/ 54 h 62"/>
              <a:gd name="T6" fmla="*/ 12 w 62"/>
              <a:gd name="T7" fmla="*/ 43 h 62"/>
              <a:gd name="T8" fmla="*/ 8 w 62"/>
              <a:gd name="T9" fmla="*/ 31 h 62"/>
              <a:gd name="T10" fmla="*/ 19 w 62"/>
              <a:gd name="T11" fmla="*/ 12 h 62"/>
              <a:gd name="T12" fmla="*/ 31 w 62"/>
              <a:gd name="T13" fmla="*/ 8 h 62"/>
              <a:gd name="T14" fmla="*/ 51 w 62"/>
              <a:gd name="T15" fmla="*/ 19 h 62"/>
              <a:gd name="T16" fmla="*/ 54 w 62"/>
              <a:gd name="T17" fmla="*/ 31 h 62"/>
              <a:gd name="T18" fmla="*/ 44 w 62"/>
              <a:gd name="T19" fmla="*/ 50 h 62"/>
              <a:gd name="T20" fmla="*/ 46 w 62"/>
              <a:gd name="T21" fmla="*/ 54 h 62"/>
              <a:gd name="T22" fmla="*/ 48 w 62"/>
              <a:gd name="T23" fmla="*/ 57 h 62"/>
              <a:gd name="T24" fmla="*/ 62 w 62"/>
              <a:gd name="T25" fmla="*/ 31 h 62"/>
              <a:gd name="T26" fmla="*/ 57 w 62"/>
              <a:gd name="T27" fmla="*/ 14 h 62"/>
              <a:gd name="T28" fmla="*/ 31 w 62"/>
              <a:gd name="T29" fmla="*/ 0 h 62"/>
              <a:gd name="T30" fmla="*/ 15 w 62"/>
              <a:gd name="T31" fmla="*/ 5 h 62"/>
              <a:gd name="T32" fmla="*/ 0 w 62"/>
              <a:gd name="T33" fmla="*/ 31 h 62"/>
              <a:gd name="T34" fmla="*/ 5 w 62"/>
              <a:gd name="T35" fmla="*/ 48 h 62"/>
              <a:gd name="T36" fmla="*/ 31 w 62"/>
              <a:gd name="T37" fmla="*/ 62 h 62"/>
              <a:gd name="T38" fmla="*/ 48 w 62"/>
              <a:gd name="T39" fmla="*/ 57 h 62"/>
              <a:gd name="T40" fmla="*/ 46 w 62"/>
              <a:gd name="T41"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62">
                <a:moveTo>
                  <a:pt x="46" y="54"/>
                </a:moveTo>
                <a:cubicBezTo>
                  <a:pt x="44" y="50"/>
                  <a:pt x="44" y="50"/>
                  <a:pt x="44" y="50"/>
                </a:cubicBezTo>
                <a:cubicBezTo>
                  <a:pt x="40" y="53"/>
                  <a:pt x="36" y="54"/>
                  <a:pt x="31" y="54"/>
                </a:cubicBezTo>
                <a:cubicBezTo>
                  <a:pt x="24" y="54"/>
                  <a:pt x="16" y="50"/>
                  <a:pt x="12" y="43"/>
                </a:cubicBezTo>
                <a:cubicBezTo>
                  <a:pt x="10" y="39"/>
                  <a:pt x="8" y="35"/>
                  <a:pt x="8" y="31"/>
                </a:cubicBezTo>
                <a:cubicBezTo>
                  <a:pt x="8" y="23"/>
                  <a:pt x="12" y="16"/>
                  <a:pt x="19" y="12"/>
                </a:cubicBezTo>
                <a:cubicBezTo>
                  <a:pt x="23" y="9"/>
                  <a:pt x="27" y="8"/>
                  <a:pt x="31" y="8"/>
                </a:cubicBezTo>
                <a:cubicBezTo>
                  <a:pt x="39" y="8"/>
                  <a:pt x="46" y="12"/>
                  <a:pt x="51" y="19"/>
                </a:cubicBezTo>
                <a:cubicBezTo>
                  <a:pt x="53" y="23"/>
                  <a:pt x="54" y="27"/>
                  <a:pt x="54" y="31"/>
                </a:cubicBezTo>
                <a:cubicBezTo>
                  <a:pt x="54" y="39"/>
                  <a:pt x="50" y="46"/>
                  <a:pt x="44" y="50"/>
                </a:cubicBezTo>
                <a:cubicBezTo>
                  <a:pt x="46" y="54"/>
                  <a:pt x="46" y="54"/>
                  <a:pt x="46" y="54"/>
                </a:cubicBezTo>
                <a:cubicBezTo>
                  <a:pt x="48" y="57"/>
                  <a:pt x="48" y="57"/>
                  <a:pt x="48" y="57"/>
                </a:cubicBezTo>
                <a:cubicBezTo>
                  <a:pt x="57" y="51"/>
                  <a:pt x="62" y="41"/>
                  <a:pt x="62" y="31"/>
                </a:cubicBezTo>
                <a:cubicBezTo>
                  <a:pt x="62" y="25"/>
                  <a:pt x="61" y="20"/>
                  <a:pt x="57" y="14"/>
                </a:cubicBezTo>
                <a:cubicBezTo>
                  <a:pt x="52" y="5"/>
                  <a:pt x="42" y="0"/>
                  <a:pt x="31" y="0"/>
                </a:cubicBezTo>
                <a:cubicBezTo>
                  <a:pt x="26" y="0"/>
                  <a:pt x="20" y="2"/>
                  <a:pt x="15" y="5"/>
                </a:cubicBezTo>
                <a:cubicBezTo>
                  <a:pt x="6" y="11"/>
                  <a:pt x="0" y="21"/>
                  <a:pt x="0" y="31"/>
                </a:cubicBezTo>
                <a:cubicBezTo>
                  <a:pt x="0" y="37"/>
                  <a:pt x="2" y="42"/>
                  <a:pt x="5" y="48"/>
                </a:cubicBezTo>
                <a:cubicBezTo>
                  <a:pt x="11" y="57"/>
                  <a:pt x="21" y="62"/>
                  <a:pt x="31" y="62"/>
                </a:cubicBezTo>
                <a:cubicBezTo>
                  <a:pt x="37" y="62"/>
                  <a:pt x="43" y="60"/>
                  <a:pt x="48" y="57"/>
                </a:cubicBezTo>
                <a:lnTo>
                  <a:pt x="46" y="5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5" name="Freeform 290">
            <a:extLst>
              <a:ext uri="{FF2B5EF4-FFF2-40B4-BE49-F238E27FC236}">
                <a16:creationId xmlns:a16="http://schemas.microsoft.com/office/drawing/2014/main" id="{FEE89B12-99C1-48FB-A904-B30CAC07A8D5}"/>
              </a:ext>
            </a:extLst>
          </p:cNvPr>
          <p:cNvSpPr>
            <a:spLocks/>
          </p:cNvSpPr>
          <p:nvPr/>
        </p:nvSpPr>
        <p:spPr bwMode="auto">
          <a:xfrm>
            <a:off x="5810698" y="4742021"/>
            <a:ext cx="92114" cy="93127"/>
          </a:xfrm>
          <a:custGeom>
            <a:avLst/>
            <a:gdLst>
              <a:gd name="T0" fmla="*/ 28 w 38"/>
              <a:gd name="T1" fmla="*/ 34 h 39"/>
              <a:gd name="T2" fmla="*/ 5 w 38"/>
              <a:gd name="T3" fmla="*/ 29 h 39"/>
              <a:gd name="T4" fmla="*/ 10 w 38"/>
              <a:gd name="T5" fmla="*/ 5 h 39"/>
              <a:gd name="T6" fmla="*/ 33 w 38"/>
              <a:gd name="T7" fmla="*/ 11 h 39"/>
              <a:gd name="T8" fmla="*/ 28 w 38"/>
              <a:gd name="T9" fmla="*/ 34 h 39"/>
            </a:gdLst>
            <a:ahLst/>
            <a:cxnLst>
              <a:cxn ang="0">
                <a:pos x="T0" y="T1"/>
              </a:cxn>
              <a:cxn ang="0">
                <a:pos x="T2" y="T3"/>
              </a:cxn>
              <a:cxn ang="0">
                <a:pos x="T4" y="T5"/>
              </a:cxn>
              <a:cxn ang="0">
                <a:pos x="T6" y="T7"/>
              </a:cxn>
              <a:cxn ang="0">
                <a:pos x="T8" y="T9"/>
              </a:cxn>
            </a:cxnLst>
            <a:rect l="0" t="0" r="r" b="b"/>
            <a:pathLst>
              <a:path w="38" h="39">
                <a:moveTo>
                  <a:pt x="28" y="34"/>
                </a:moveTo>
                <a:cubicBezTo>
                  <a:pt x="20" y="39"/>
                  <a:pt x="10" y="37"/>
                  <a:pt x="5" y="29"/>
                </a:cubicBezTo>
                <a:cubicBezTo>
                  <a:pt x="0" y="21"/>
                  <a:pt x="2" y="10"/>
                  <a:pt x="10" y="5"/>
                </a:cubicBezTo>
                <a:cubicBezTo>
                  <a:pt x="18" y="0"/>
                  <a:pt x="28" y="3"/>
                  <a:pt x="33" y="11"/>
                </a:cubicBezTo>
                <a:cubicBezTo>
                  <a:pt x="38" y="19"/>
                  <a:pt x="36" y="29"/>
                  <a:pt x="28" y="3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06" name="Freeform 291">
            <a:extLst>
              <a:ext uri="{FF2B5EF4-FFF2-40B4-BE49-F238E27FC236}">
                <a16:creationId xmlns:a16="http://schemas.microsoft.com/office/drawing/2014/main" id="{97CD0373-9526-470B-B818-32C5177C7269}"/>
              </a:ext>
            </a:extLst>
          </p:cNvPr>
          <p:cNvSpPr>
            <a:spLocks/>
          </p:cNvSpPr>
          <p:nvPr/>
        </p:nvSpPr>
        <p:spPr bwMode="auto">
          <a:xfrm>
            <a:off x="5806649" y="4738984"/>
            <a:ext cx="100212" cy="101225"/>
          </a:xfrm>
          <a:custGeom>
            <a:avLst/>
            <a:gdLst>
              <a:gd name="T0" fmla="*/ 30 w 42"/>
              <a:gd name="T1" fmla="*/ 35 h 42"/>
              <a:gd name="T2" fmla="*/ 28 w 42"/>
              <a:gd name="T3" fmla="*/ 32 h 42"/>
              <a:gd name="T4" fmla="*/ 21 w 42"/>
              <a:gd name="T5" fmla="*/ 34 h 42"/>
              <a:gd name="T6" fmla="*/ 10 w 42"/>
              <a:gd name="T7" fmla="*/ 28 h 42"/>
              <a:gd name="T8" fmla="*/ 8 w 42"/>
              <a:gd name="T9" fmla="*/ 21 h 42"/>
              <a:gd name="T10" fmla="*/ 14 w 42"/>
              <a:gd name="T11" fmla="*/ 10 h 42"/>
              <a:gd name="T12" fmla="*/ 21 w 42"/>
              <a:gd name="T13" fmla="*/ 8 h 42"/>
              <a:gd name="T14" fmla="*/ 32 w 42"/>
              <a:gd name="T15" fmla="*/ 14 h 42"/>
              <a:gd name="T16" fmla="*/ 34 w 42"/>
              <a:gd name="T17" fmla="*/ 21 h 42"/>
              <a:gd name="T18" fmla="*/ 28 w 42"/>
              <a:gd name="T19" fmla="*/ 32 h 42"/>
              <a:gd name="T20" fmla="*/ 30 w 42"/>
              <a:gd name="T21" fmla="*/ 35 h 42"/>
              <a:gd name="T22" fmla="*/ 32 w 42"/>
              <a:gd name="T23" fmla="*/ 38 h 42"/>
              <a:gd name="T24" fmla="*/ 42 w 42"/>
              <a:gd name="T25" fmla="*/ 21 h 42"/>
              <a:gd name="T26" fmla="*/ 39 w 42"/>
              <a:gd name="T27" fmla="*/ 10 h 42"/>
              <a:gd name="T28" fmla="*/ 21 w 42"/>
              <a:gd name="T29" fmla="*/ 0 h 42"/>
              <a:gd name="T30" fmla="*/ 10 w 42"/>
              <a:gd name="T31" fmla="*/ 3 h 42"/>
              <a:gd name="T32" fmla="*/ 0 w 42"/>
              <a:gd name="T33" fmla="*/ 21 h 42"/>
              <a:gd name="T34" fmla="*/ 3 w 42"/>
              <a:gd name="T35" fmla="*/ 32 h 42"/>
              <a:gd name="T36" fmla="*/ 21 w 42"/>
              <a:gd name="T37" fmla="*/ 42 h 42"/>
              <a:gd name="T38" fmla="*/ 32 w 42"/>
              <a:gd name="T39" fmla="*/ 38 h 42"/>
              <a:gd name="T40" fmla="*/ 30 w 42"/>
              <a:gd name="T41"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30" y="35"/>
                </a:moveTo>
                <a:cubicBezTo>
                  <a:pt x="28" y="32"/>
                  <a:pt x="28" y="32"/>
                  <a:pt x="28" y="32"/>
                </a:cubicBezTo>
                <a:cubicBezTo>
                  <a:pt x="26" y="33"/>
                  <a:pt x="24" y="34"/>
                  <a:pt x="21" y="34"/>
                </a:cubicBezTo>
                <a:cubicBezTo>
                  <a:pt x="17" y="34"/>
                  <a:pt x="13" y="32"/>
                  <a:pt x="10" y="28"/>
                </a:cubicBezTo>
                <a:cubicBezTo>
                  <a:pt x="9" y="26"/>
                  <a:pt x="8" y="23"/>
                  <a:pt x="8" y="21"/>
                </a:cubicBezTo>
                <a:cubicBezTo>
                  <a:pt x="8" y="16"/>
                  <a:pt x="10" y="12"/>
                  <a:pt x="14" y="10"/>
                </a:cubicBezTo>
                <a:cubicBezTo>
                  <a:pt x="16" y="8"/>
                  <a:pt x="19" y="8"/>
                  <a:pt x="21" y="8"/>
                </a:cubicBezTo>
                <a:cubicBezTo>
                  <a:pt x="25" y="8"/>
                  <a:pt x="30" y="10"/>
                  <a:pt x="32" y="14"/>
                </a:cubicBezTo>
                <a:cubicBezTo>
                  <a:pt x="33" y="16"/>
                  <a:pt x="34" y="18"/>
                  <a:pt x="34" y="21"/>
                </a:cubicBezTo>
                <a:cubicBezTo>
                  <a:pt x="34" y="25"/>
                  <a:pt x="32" y="29"/>
                  <a:pt x="28" y="32"/>
                </a:cubicBezTo>
                <a:cubicBezTo>
                  <a:pt x="30" y="35"/>
                  <a:pt x="30" y="35"/>
                  <a:pt x="30" y="35"/>
                </a:cubicBezTo>
                <a:cubicBezTo>
                  <a:pt x="32" y="38"/>
                  <a:pt x="32" y="38"/>
                  <a:pt x="32" y="38"/>
                </a:cubicBezTo>
                <a:cubicBezTo>
                  <a:pt x="39" y="34"/>
                  <a:pt x="42" y="28"/>
                  <a:pt x="42" y="21"/>
                </a:cubicBezTo>
                <a:cubicBezTo>
                  <a:pt x="42" y="17"/>
                  <a:pt x="41" y="13"/>
                  <a:pt x="39" y="10"/>
                </a:cubicBezTo>
                <a:cubicBezTo>
                  <a:pt x="35" y="3"/>
                  <a:pt x="28" y="0"/>
                  <a:pt x="21" y="0"/>
                </a:cubicBezTo>
                <a:cubicBezTo>
                  <a:pt x="17" y="0"/>
                  <a:pt x="13" y="1"/>
                  <a:pt x="10" y="3"/>
                </a:cubicBezTo>
                <a:cubicBezTo>
                  <a:pt x="4" y="7"/>
                  <a:pt x="0" y="14"/>
                  <a:pt x="0" y="21"/>
                </a:cubicBezTo>
                <a:cubicBezTo>
                  <a:pt x="0" y="25"/>
                  <a:pt x="1" y="29"/>
                  <a:pt x="3" y="32"/>
                </a:cubicBezTo>
                <a:cubicBezTo>
                  <a:pt x="7" y="38"/>
                  <a:pt x="14" y="42"/>
                  <a:pt x="21" y="42"/>
                </a:cubicBezTo>
                <a:cubicBezTo>
                  <a:pt x="25" y="42"/>
                  <a:pt x="29" y="41"/>
                  <a:pt x="32" y="38"/>
                </a:cubicBezTo>
                <a:lnTo>
                  <a:pt x="30" y="3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07" name="Freeform 292">
            <a:extLst>
              <a:ext uri="{FF2B5EF4-FFF2-40B4-BE49-F238E27FC236}">
                <a16:creationId xmlns:a16="http://schemas.microsoft.com/office/drawing/2014/main" id="{E6F85A5C-289C-4620-AE5A-8961802E9FF2}"/>
              </a:ext>
            </a:extLst>
          </p:cNvPr>
          <p:cNvSpPr>
            <a:spLocks/>
          </p:cNvSpPr>
          <p:nvPr/>
        </p:nvSpPr>
        <p:spPr bwMode="auto">
          <a:xfrm>
            <a:off x="5316722" y="5753255"/>
            <a:ext cx="1008197" cy="557747"/>
          </a:xfrm>
          <a:custGeom>
            <a:avLst/>
            <a:gdLst>
              <a:gd name="T0" fmla="*/ 4 w 420"/>
              <a:gd name="T1" fmla="*/ 232 h 232"/>
              <a:gd name="T2" fmla="*/ 229 w 420"/>
              <a:gd name="T3" fmla="*/ 232 h 232"/>
              <a:gd name="T4" fmla="*/ 229 w 420"/>
              <a:gd name="T5" fmla="*/ 8 h 232"/>
              <a:gd name="T6" fmla="*/ 416 w 420"/>
              <a:gd name="T7" fmla="*/ 8 h 232"/>
              <a:gd name="T8" fmla="*/ 420 w 420"/>
              <a:gd name="T9" fmla="*/ 4 h 232"/>
              <a:gd name="T10" fmla="*/ 416 w 420"/>
              <a:gd name="T11" fmla="*/ 0 h 232"/>
              <a:gd name="T12" fmla="*/ 221 w 420"/>
              <a:gd name="T13" fmla="*/ 0 h 232"/>
              <a:gd name="T14" fmla="*/ 221 w 420"/>
              <a:gd name="T15" fmla="*/ 224 h 232"/>
              <a:gd name="T16" fmla="*/ 4 w 420"/>
              <a:gd name="T17" fmla="*/ 224 h 232"/>
              <a:gd name="T18" fmla="*/ 0 w 420"/>
              <a:gd name="T19" fmla="*/ 228 h 232"/>
              <a:gd name="T20" fmla="*/ 4 w 4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232">
                <a:moveTo>
                  <a:pt x="4" y="232"/>
                </a:moveTo>
                <a:cubicBezTo>
                  <a:pt x="229" y="232"/>
                  <a:pt x="229" y="232"/>
                  <a:pt x="229" y="232"/>
                </a:cubicBezTo>
                <a:cubicBezTo>
                  <a:pt x="229" y="8"/>
                  <a:pt x="229" y="8"/>
                  <a:pt x="229" y="8"/>
                </a:cubicBezTo>
                <a:cubicBezTo>
                  <a:pt x="416" y="8"/>
                  <a:pt x="416" y="8"/>
                  <a:pt x="416" y="8"/>
                </a:cubicBezTo>
                <a:cubicBezTo>
                  <a:pt x="418" y="8"/>
                  <a:pt x="420" y="6"/>
                  <a:pt x="420" y="4"/>
                </a:cubicBezTo>
                <a:cubicBezTo>
                  <a:pt x="420" y="2"/>
                  <a:pt x="418" y="0"/>
                  <a:pt x="416" y="0"/>
                </a:cubicBezTo>
                <a:cubicBezTo>
                  <a:pt x="221" y="0"/>
                  <a:pt x="221" y="0"/>
                  <a:pt x="221" y="0"/>
                </a:cubicBezTo>
                <a:cubicBezTo>
                  <a:pt x="221" y="224"/>
                  <a:pt x="221" y="224"/>
                  <a:pt x="221" y="224"/>
                </a:cubicBezTo>
                <a:cubicBezTo>
                  <a:pt x="4" y="224"/>
                  <a:pt x="4" y="224"/>
                  <a:pt x="4" y="224"/>
                </a:cubicBezTo>
                <a:cubicBezTo>
                  <a:pt x="2" y="224"/>
                  <a:pt x="0" y="225"/>
                  <a:pt x="0" y="228"/>
                </a:cubicBezTo>
                <a:cubicBezTo>
                  <a:pt x="0" y="230"/>
                  <a:pt x="2" y="232"/>
                  <a:pt x="4" y="232"/>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363">
            <a:extLst>
              <a:ext uri="{FF2B5EF4-FFF2-40B4-BE49-F238E27FC236}">
                <a16:creationId xmlns:a16="http://schemas.microsoft.com/office/drawing/2014/main" id="{72F45992-DDFD-45BB-9E2C-39EAD79C31E0}"/>
              </a:ext>
            </a:extLst>
          </p:cNvPr>
          <p:cNvSpPr/>
          <p:nvPr/>
        </p:nvSpPr>
        <p:spPr bwMode="gray">
          <a:xfrm>
            <a:off x="340417" y="6473947"/>
            <a:ext cx="2788788" cy="24636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65" name="Rectangle 364">
            <a:extLst>
              <a:ext uri="{FF2B5EF4-FFF2-40B4-BE49-F238E27FC236}">
                <a16:creationId xmlns:a16="http://schemas.microsoft.com/office/drawing/2014/main" id="{4A351034-FEE7-4121-A249-904743B3753B}"/>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366" name="Rectangle 365">
            <a:extLst>
              <a:ext uri="{FF2B5EF4-FFF2-40B4-BE49-F238E27FC236}">
                <a16:creationId xmlns:a16="http://schemas.microsoft.com/office/drawing/2014/main" id="{7B0E9C39-4A91-4CF4-A2A2-FC21CC3053AC}"/>
              </a:ext>
            </a:extLst>
          </p:cNvPr>
          <p:cNvSpPr/>
          <p:nvPr/>
        </p:nvSpPr>
        <p:spPr bwMode="gray">
          <a:xfrm>
            <a:off x="9084848" y="6477376"/>
            <a:ext cx="2788788" cy="24636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278082790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244545" y="244549"/>
            <a:ext cx="10584949" cy="430887"/>
          </a:xfrm>
          <a:prstGeom prst="rect">
            <a:avLst/>
          </a:prstGeom>
          <a:noFill/>
        </p:spPr>
        <p:txBody>
          <a:bodyPr wrap="none" rtlCol="0">
            <a:spAutoFit/>
          </a:bodyPr>
          <a:lstStyle>
            <a:defPPr>
              <a:defRPr lang="es-MX"/>
            </a:defPPr>
            <a:lvl1pPr>
              <a:defRPr sz="2200" b="1">
                <a:solidFill>
                  <a:srgbClr val="000000"/>
                </a:solidFill>
                <a:latin typeface="Verdana" panose="020B0604030504040204" pitchFamily="34" charset="0"/>
                <a:ea typeface="Verdana" panose="020B0604030504040204" pitchFamily="34" charset="0"/>
              </a:defRPr>
            </a:lvl1pPr>
          </a:lstStyle>
          <a:p>
            <a:r>
              <a:rPr lang="es-MX" dirty="0"/>
              <a:t>Lineamientos para piloto Empresa Cumplida en Comercio Exterior</a:t>
            </a:r>
          </a:p>
        </p:txBody>
      </p:sp>
      <p:grpSp>
        <p:nvGrpSpPr>
          <p:cNvPr id="3" name="Group 2">
            <a:extLst>
              <a:ext uri="{FF2B5EF4-FFF2-40B4-BE49-F238E27FC236}">
                <a16:creationId xmlns:a16="http://schemas.microsoft.com/office/drawing/2014/main" id="{809121FB-8647-4B28-B4A5-865CA754B293}"/>
              </a:ext>
            </a:extLst>
          </p:cNvPr>
          <p:cNvGrpSpPr/>
          <p:nvPr/>
        </p:nvGrpSpPr>
        <p:grpSpPr>
          <a:xfrm>
            <a:off x="440637" y="1714344"/>
            <a:ext cx="5546032" cy="3459194"/>
            <a:chOff x="289493" y="2989419"/>
            <a:chExt cx="3788014" cy="2598944"/>
          </a:xfrm>
        </p:grpSpPr>
        <p:grpSp>
          <p:nvGrpSpPr>
            <p:cNvPr id="66" name="Group 65">
              <a:extLst>
                <a:ext uri="{FF2B5EF4-FFF2-40B4-BE49-F238E27FC236}">
                  <a16:creationId xmlns:a16="http://schemas.microsoft.com/office/drawing/2014/main" id="{57C899ED-0E15-48D3-B68A-395D8499BD5E}"/>
                </a:ext>
              </a:extLst>
            </p:cNvPr>
            <p:cNvGrpSpPr/>
            <p:nvPr/>
          </p:nvGrpSpPr>
          <p:grpSpPr>
            <a:xfrm>
              <a:off x="289493" y="2989419"/>
              <a:ext cx="3788014" cy="2598944"/>
              <a:chOff x="381397" y="1928813"/>
              <a:chExt cx="2845991" cy="2147887"/>
            </a:xfrm>
          </p:grpSpPr>
          <p:sp>
            <p:nvSpPr>
              <p:cNvPr id="67" name="Freeform 5">
                <a:extLst>
                  <a:ext uri="{FF2B5EF4-FFF2-40B4-BE49-F238E27FC236}">
                    <a16:creationId xmlns:a16="http://schemas.microsoft.com/office/drawing/2014/main" id="{BE6BF2B6-329F-4B25-9F43-04E22FAE37E4}"/>
                  </a:ext>
                </a:extLst>
              </p:cNvPr>
              <p:cNvSpPr>
                <a:spLocks/>
              </p:cNvSpPr>
              <p:nvPr/>
            </p:nvSpPr>
            <p:spPr bwMode="auto">
              <a:xfrm>
                <a:off x="556682" y="1928813"/>
                <a:ext cx="2567517" cy="1919287"/>
              </a:xfrm>
              <a:custGeom>
                <a:avLst/>
                <a:gdLst>
                  <a:gd name="T0" fmla="*/ 83 w 87"/>
                  <a:gd name="T1" fmla="*/ 50 h 50"/>
                  <a:gd name="T2" fmla="*/ 4 w 87"/>
                  <a:gd name="T3" fmla="*/ 50 h 50"/>
                  <a:gd name="T4" fmla="*/ 0 w 87"/>
                  <a:gd name="T5" fmla="*/ 47 h 50"/>
                  <a:gd name="T6" fmla="*/ 0 w 87"/>
                  <a:gd name="T7" fmla="*/ 3 h 50"/>
                  <a:gd name="T8" fmla="*/ 4 w 87"/>
                  <a:gd name="T9" fmla="*/ 0 h 50"/>
                  <a:gd name="T10" fmla="*/ 83 w 87"/>
                  <a:gd name="T11" fmla="*/ 0 h 50"/>
                  <a:gd name="T12" fmla="*/ 87 w 87"/>
                  <a:gd name="T13" fmla="*/ 3 h 50"/>
                  <a:gd name="T14" fmla="*/ 87 w 87"/>
                  <a:gd name="T15" fmla="*/ 47 h 50"/>
                  <a:gd name="T16" fmla="*/ 83 w 87"/>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50">
                    <a:moveTo>
                      <a:pt x="83" y="50"/>
                    </a:moveTo>
                    <a:cubicBezTo>
                      <a:pt x="4" y="50"/>
                      <a:pt x="4" y="50"/>
                      <a:pt x="4" y="50"/>
                    </a:cubicBezTo>
                    <a:cubicBezTo>
                      <a:pt x="2" y="50"/>
                      <a:pt x="0" y="48"/>
                      <a:pt x="0" y="47"/>
                    </a:cubicBezTo>
                    <a:cubicBezTo>
                      <a:pt x="0" y="3"/>
                      <a:pt x="0" y="3"/>
                      <a:pt x="0" y="3"/>
                    </a:cubicBezTo>
                    <a:cubicBezTo>
                      <a:pt x="0" y="1"/>
                      <a:pt x="2" y="0"/>
                      <a:pt x="4" y="0"/>
                    </a:cubicBezTo>
                    <a:cubicBezTo>
                      <a:pt x="83" y="0"/>
                      <a:pt x="83" y="0"/>
                      <a:pt x="83" y="0"/>
                    </a:cubicBezTo>
                    <a:cubicBezTo>
                      <a:pt x="85" y="0"/>
                      <a:pt x="87" y="1"/>
                      <a:pt x="87" y="3"/>
                    </a:cubicBezTo>
                    <a:cubicBezTo>
                      <a:pt x="87" y="47"/>
                      <a:pt x="87" y="47"/>
                      <a:pt x="87" y="47"/>
                    </a:cubicBezTo>
                    <a:cubicBezTo>
                      <a:pt x="87" y="48"/>
                      <a:pt x="85" y="50"/>
                      <a:pt x="83" y="5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
                <a:extLst>
                  <a:ext uri="{FF2B5EF4-FFF2-40B4-BE49-F238E27FC236}">
                    <a16:creationId xmlns:a16="http://schemas.microsoft.com/office/drawing/2014/main" id="{80B93716-969E-4819-8AAA-BAEB5CD0EABA}"/>
                  </a:ext>
                </a:extLst>
              </p:cNvPr>
              <p:cNvSpPr>
                <a:spLocks noChangeArrowheads="1"/>
              </p:cNvSpPr>
              <p:nvPr/>
            </p:nvSpPr>
            <p:spPr bwMode="auto">
              <a:xfrm>
                <a:off x="705285" y="2100263"/>
                <a:ext cx="2270313" cy="1504950"/>
              </a:xfrm>
              <a:prstGeom prst="rect">
                <a:avLst/>
              </a:prstGeom>
              <a:solidFill>
                <a:schemeClr val="bg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
                <a:extLst>
                  <a:ext uri="{FF2B5EF4-FFF2-40B4-BE49-F238E27FC236}">
                    <a16:creationId xmlns:a16="http://schemas.microsoft.com/office/drawing/2014/main" id="{0E596C76-E216-4835-92C1-91553E49C7C4}"/>
                  </a:ext>
                </a:extLst>
              </p:cNvPr>
              <p:cNvSpPr>
                <a:spLocks/>
              </p:cNvSpPr>
              <p:nvPr/>
            </p:nvSpPr>
            <p:spPr bwMode="auto">
              <a:xfrm>
                <a:off x="381397" y="3786185"/>
                <a:ext cx="2845991" cy="290515"/>
              </a:xfrm>
              <a:custGeom>
                <a:avLst/>
                <a:gdLst>
                  <a:gd name="T0" fmla="*/ 94 w 99"/>
                  <a:gd name="T1" fmla="*/ 10 h 10"/>
                  <a:gd name="T2" fmla="*/ 5 w 99"/>
                  <a:gd name="T3" fmla="*/ 10 h 10"/>
                  <a:gd name="T4" fmla="*/ 0 w 99"/>
                  <a:gd name="T5" fmla="*/ 5 h 10"/>
                  <a:gd name="T6" fmla="*/ 0 w 99"/>
                  <a:gd name="T7" fmla="*/ 5 h 10"/>
                  <a:gd name="T8" fmla="*/ 5 w 99"/>
                  <a:gd name="T9" fmla="*/ 0 h 10"/>
                  <a:gd name="T10" fmla="*/ 94 w 99"/>
                  <a:gd name="T11" fmla="*/ 0 h 10"/>
                  <a:gd name="T12" fmla="*/ 99 w 99"/>
                  <a:gd name="T13" fmla="*/ 5 h 10"/>
                  <a:gd name="T14" fmla="*/ 99 w 99"/>
                  <a:gd name="T15" fmla="*/ 5 h 10"/>
                  <a:gd name="T16" fmla="*/ 94 w 9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
                    <a:moveTo>
                      <a:pt x="94" y="10"/>
                    </a:moveTo>
                    <a:cubicBezTo>
                      <a:pt x="5" y="10"/>
                      <a:pt x="5" y="10"/>
                      <a:pt x="5" y="10"/>
                    </a:cubicBezTo>
                    <a:cubicBezTo>
                      <a:pt x="2" y="10"/>
                      <a:pt x="0" y="8"/>
                      <a:pt x="0" y="5"/>
                    </a:cubicBezTo>
                    <a:cubicBezTo>
                      <a:pt x="0" y="5"/>
                      <a:pt x="0" y="5"/>
                      <a:pt x="0" y="5"/>
                    </a:cubicBezTo>
                    <a:cubicBezTo>
                      <a:pt x="0" y="2"/>
                      <a:pt x="2" y="0"/>
                      <a:pt x="5" y="0"/>
                    </a:cubicBezTo>
                    <a:cubicBezTo>
                      <a:pt x="94" y="0"/>
                      <a:pt x="94" y="0"/>
                      <a:pt x="94" y="0"/>
                    </a:cubicBezTo>
                    <a:cubicBezTo>
                      <a:pt x="97" y="0"/>
                      <a:pt x="99" y="2"/>
                      <a:pt x="99" y="5"/>
                    </a:cubicBezTo>
                    <a:cubicBezTo>
                      <a:pt x="99" y="5"/>
                      <a:pt x="99" y="5"/>
                      <a:pt x="99" y="5"/>
                    </a:cubicBezTo>
                    <a:cubicBezTo>
                      <a:pt x="99" y="8"/>
                      <a:pt x="97" y="10"/>
                      <a:pt x="94" y="10"/>
                    </a:cubicBezTo>
                    <a:close/>
                  </a:path>
                </a:pathLst>
              </a:custGeom>
              <a:solidFill>
                <a:schemeClr val="accent1"/>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8">
                <a:extLst>
                  <a:ext uri="{FF2B5EF4-FFF2-40B4-BE49-F238E27FC236}">
                    <a16:creationId xmlns:a16="http://schemas.microsoft.com/office/drawing/2014/main" id="{2BA17B61-BD20-40F3-BBBC-5C7112611DAA}"/>
                  </a:ext>
                </a:extLst>
              </p:cNvPr>
              <p:cNvSpPr>
                <a:spLocks noChangeArrowheads="1"/>
              </p:cNvSpPr>
              <p:nvPr/>
            </p:nvSpPr>
            <p:spPr bwMode="auto">
              <a:xfrm>
                <a:off x="483062"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9">
                <a:extLst>
                  <a:ext uri="{FF2B5EF4-FFF2-40B4-BE49-F238E27FC236}">
                    <a16:creationId xmlns:a16="http://schemas.microsoft.com/office/drawing/2014/main" id="{6D428891-857A-4FB7-A8D9-A221DD4A3B9B}"/>
                  </a:ext>
                </a:extLst>
              </p:cNvPr>
              <p:cNvSpPr>
                <a:spLocks noChangeArrowheads="1"/>
              </p:cNvSpPr>
              <p:nvPr/>
            </p:nvSpPr>
            <p:spPr bwMode="auto">
              <a:xfrm>
                <a:off x="727877"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10">
                <a:extLst>
                  <a:ext uri="{FF2B5EF4-FFF2-40B4-BE49-F238E27FC236}">
                    <a16:creationId xmlns:a16="http://schemas.microsoft.com/office/drawing/2014/main" id="{9115E096-B244-455D-BC4C-0E7708D79004}"/>
                  </a:ext>
                </a:extLst>
              </p:cNvPr>
              <p:cNvSpPr>
                <a:spLocks noChangeArrowheads="1"/>
              </p:cNvSpPr>
              <p:nvPr/>
            </p:nvSpPr>
            <p:spPr bwMode="auto">
              <a:xfrm>
                <a:off x="972692" y="3709059"/>
                <a:ext cx="175286"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11">
                <a:extLst>
                  <a:ext uri="{FF2B5EF4-FFF2-40B4-BE49-F238E27FC236}">
                    <a16:creationId xmlns:a16="http://schemas.microsoft.com/office/drawing/2014/main" id="{F591DF80-9F18-49D8-8A99-1E22F2A266DE}"/>
                  </a:ext>
                </a:extLst>
              </p:cNvPr>
              <p:cNvSpPr>
                <a:spLocks noChangeArrowheads="1"/>
              </p:cNvSpPr>
              <p:nvPr/>
            </p:nvSpPr>
            <p:spPr bwMode="auto">
              <a:xfrm>
                <a:off x="1242046" y="3709059"/>
                <a:ext cx="929019"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12">
                <a:extLst>
                  <a:ext uri="{FF2B5EF4-FFF2-40B4-BE49-F238E27FC236}">
                    <a16:creationId xmlns:a16="http://schemas.microsoft.com/office/drawing/2014/main" id="{13F4C093-EE2D-45F5-9B8C-E8056D1C4526}"/>
                  </a:ext>
                </a:extLst>
              </p:cNvPr>
              <p:cNvSpPr>
                <a:spLocks noChangeArrowheads="1"/>
              </p:cNvSpPr>
              <p:nvPr/>
            </p:nvSpPr>
            <p:spPr bwMode="auto">
              <a:xfrm>
                <a:off x="226513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6" name="Rectangle 13">
                <a:extLst>
                  <a:ext uri="{FF2B5EF4-FFF2-40B4-BE49-F238E27FC236}">
                    <a16:creationId xmlns:a16="http://schemas.microsoft.com/office/drawing/2014/main" id="{5E1B716C-D0DE-4618-8462-34A30C3425D7}"/>
                  </a:ext>
                </a:extLst>
              </p:cNvPr>
              <p:cNvSpPr>
                <a:spLocks noChangeArrowheads="1"/>
              </p:cNvSpPr>
              <p:nvPr/>
            </p:nvSpPr>
            <p:spPr bwMode="auto">
              <a:xfrm>
                <a:off x="2754763"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 name="Rectangle 14">
                <a:extLst>
                  <a:ext uri="{FF2B5EF4-FFF2-40B4-BE49-F238E27FC236}">
                    <a16:creationId xmlns:a16="http://schemas.microsoft.com/office/drawing/2014/main" id="{D474C0F6-A22C-4607-874F-DAD38D2D3580}"/>
                  </a:ext>
                </a:extLst>
              </p:cNvPr>
              <p:cNvSpPr>
                <a:spLocks noChangeArrowheads="1"/>
              </p:cNvSpPr>
              <p:nvPr/>
            </p:nvSpPr>
            <p:spPr bwMode="auto">
              <a:xfrm>
                <a:off x="2999576"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8" name="Rectangle 15">
                <a:extLst>
                  <a:ext uri="{FF2B5EF4-FFF2-40B4-BE49-F238E27FC236}">
                    <a16:creationId xmlns:a16="http://schemas.microsoft.com/office/drawing/2014/main" id="{CA4B390B-07B0-4650-ADA6-02759D2F78E5}"/>
                  </a:ext>
                </a:extLst>
              </p:cNvPr>
              <p:cNvSpPr>
                <a:spLocks noChangeArrowheads="1"/>
              </p:cNvSpPr>
              <p:nvPr/>
            </p:nvSpPr>
            <p:spPr bwMode="auto">
              <a:xfrm>
                <a:off x="2509948" y="3709059"/>
                <a:ext cx="150747" cy="77126"/>
              </a:xfrm>
              <a:prstGeom prst="rect">
                <a:avLst/>
              </a:prstGeom>
              <a:solidFill>
                <a:schemeClr val="accent1">
                  <a:lumMod val="20000"/>
                  <a:lumOff val="80000"/>
                </a:schemeClr>
              </a:solidFill>
              <a:ln w="11113"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79" name="Rectangle 78">
              <a:extLst>
                <a:ext uri="{FF2B5EF4-FFF2-40B4-BE49-F238E27FC236}">
                  <a16:creationId xmlns:a16="http://schemas.microsoft.com/office/drawing/2014/main" id="{3FF34954-C9F9-4CBE-84C4-29B15D56B9E0}"/>
                </a:ext>
              </a:extLst>
            </p:cNvPr>
            <p:cNvSpPr/>
            <p:nvPr/>
          </p:nvSpPr>
          <p:spPr>
            <a:xfrm>
              <a:off x="463875" y="5225318"/>
              <a:ext cx="3399742" cy="323732"/>
            </a:xfrm>
            <a:prstGeom prst="rect">
              <a:avLst/>
            </a:prstGeom>
            <a:noFill/>
          </p:spPr>
          <p:txBody>
            <a:bodyPr wrap="square">
              <a:spAutoFit/>
            </a:bodyPr>
            <a:lstStyle/>
            <a:p>
              <a:pPr algn="ctr"/>
              <a:r>
                <a:rPr lang="da-DK" sz="2200" b="1" dirty="0">
                  <a:solidFill>
                    <a:schemeClr val="bg1"/>
                  </a:solidFill>
                  <a:latin typeface="Verdana" panose="020B0604030504040204" pitchFamily="34" charset="0"/>
                  <a:ea typeface="Verdana" panose="020B0604030504040204" pitchFamily="34" charset="0"/>
                </a:rPr>
                <a:t>primera etapa</a:t>
              </a:r>
              <a:endParaRPr lang="en-US" sz="2200" b="1" dirty="0">
                <a:solidFill>
                  <a:schemeClr val="bg1"/>
                </a:solidFill>
                <a:latin typeface="Verdana" panose="020B0604030504040204" pitchFamily="34" charset="0"/>
                <a:ea typeface="Verdana" panose="020B0604030504040204" pitchFamily="34" charset="0"/>
              </a:endParaRPr>
            </a:p>
          </p:txBody>
        </p:sp>
        <p:sp>
          <p:nvSpPr>
            <p:cNvPr id="80" name="Rectangle 79">
              <a:extLst>
                <a:ext uri="{FF2B5EF4-FFF2-40B4-BE49-F238E27FC236}">
                  <a16:creationId xmlns:a16="http://schemas.microsoft.com/office/drawing/2014/main" id="{B2C6C73C-83B5-47F3-896D-EA3D4997EFC9}"/>
                </a:ext>
              </a:extLst>
            </p:cNvPr>
            <p:cNvSpPr/>
            <p:nvPr/>
          </p:nvSpPr>
          <p:spPr>
            <a:xfrm>
              <a:off x="1264622" y="3362170"/>
              <a:ext cx="2344935" cy="139851"/>
            </a:xfrm>
            <a:prstGeom prst="rect">
              <a:avLst/>
            </a:prstGeom>
          </p:spPr>
          <p:txBody>
            <a:bodyPr wrap="square" lIns="0" tIns="0" rIns="0" bIns="0">
              <a:spAutoFit/>
            </a:bodyPr>
            <a:lstStyle/>
            <a:p>
              <a:pPr>
                <a:lnSpc>
                  <a:spcPct val="106000"/>
                </a:lnSpc>
              </a:pPr>
              <a:r>
                <a:rPr lang="da-DK" sz="1250" b="1" dirty="0">
                  <a:latin typeface="Verdana" panose="020B0604030504040204" pitchFamily="34" charset="0"/>
                  <a:ea typeface="Verdana" panose="020B0604030504040204" pitchFamily="34" charset="0"/>
                  <a:cs typeface="Verdana" panose="020B0604030504040204" pitchFamily="34" charset="0"/>
                </a:rPr>
                <a:t>empresa.cumplida@economia.gob.mx</a:t>
              </a:r>
              <a:endParaRPr lang="en-IN" sz="1250" b="1" dirty="0">
                <a:latin typeface="Verdana" panose="020B0604030504040204" pitchFamily="34" charset="0"/>
                <a:ea typeface="Verdana" panose="020B0604030504040204" pitchFamily="34" charset="0"/>
                <a:cs typeface="Verdana" panose="020B0604030504040204" pitchFamily="34" charset="0"/>
              </a:endParaRPr>
            </a:p>
          </p:txBody>
        </p:sp>
        <p:sp>
          <p:nvSpPr>
            <p:cNvPr id="81" name="Rectangle 80">
              <a:extLst>
                <a:ext uri="{FF2B5EF4-FFF2-40B4-BE49-F238E27FC236}">
                  <a16:creationId xmlns:a16="http://schemas.microsoft.com/office/drawing/2014/main" id="{BE7E0447-F949-45FE-B654-403D8258A096}"/>
                </a:ext>
              </a:extLst>
            </p:cNvPr>
            <p:cNvSpPr/>
            <p:nvPr/>
          </p:nvSpPr>
          <p:spPr>
            <a:xfrm>
              <a:off x="860496" y="4633812"/>
              <a:ext cx="2730852" cy="293045"/>
            </a:xfrm>
            <a:prstGeom prst="rect">
              <a:avLst/>
            </a:prstGeom>
          </p:spPr>
          <p:txBody>
            <a:bodyPr wrap="square" lIns="0" tIns="0" rIns="0" bIns="0">
              <a:spAutoFit/>
            </a:bodyPr>
            <a:lstStyle/>
            <a:p>
              <a:pPr algn="ctr">
                <a:lnSpc>
                  <a:spcPct val="106000"/>
                </a:lnSpc>
              </a:pPr>
              <a:r>
                <a:rPr lang="es-MX" sz="1250" b="1" i="1" dirty="0">
                  <a:latin typeface="Verdana" panose="020B0604030504040204" pitchFamily="34" charset="0"/>
                  <a:ea typeface="Verdana" panose="020B0604030504040204" pitchFamily="34" charset="0"/>
                  <a:cs typeface="Verdana" panose="020B0604030504040204" pitchFamily="34" charset="0"/>
                </a:rPr>
                <a:t>De las empresas solicitantes se seleccionarán a 50 (cincuenta)</a:t>
              </a:r>
              <a:endParaRPr lang="en-IN" sz="1250" b="1" i="1" dirty="0">
                <a:latin typeface="Verdana" panose="020B0604030504040204" pitchFamily="34" charset="0"/>
                <a:ea typeface="Verdana" panose="020B0604030504040204" pitchFamily="34" charset="0"/>
                <a:cs typeface="Verdana" panose="020B0604030504040204" pitchFamily="34" charset="0"/>
              </a:endParaRPr>
            </a:p>
          </p:txBody>
        </p:sp>
        <p:sp>
          <p:nvSpPr>
            <p:cNvPr id="82" name="Rectangle 81">
              <a:extLst>
                <a:ext uri="{FF2B5EF4-FFF2-40B4-BE49-F238E27FC236}">
                  <a16:creationId xmlns:a16="http://schemas.microsoft.com/office/drawing/2014/main" id="{4432C533-A841-49CA-A113-BF55F2E8C76D}"/>
                </a:ext>
              </a:extLst>
            </p:cNvPr>
            <p:cNvSpPr/>
            <p:nvPr/>
          </p:nvSpPr>
          <p:spPr>
            <a:xfrm>
              <a:off x="1256717" y="3805240"/>
              <a:ext cx="2344934" cy="599434"/>
            </a:xfrm>
            <a:prstGeom prst="rect">
              <a:avLst/>
            </a:prstGeom>
          </p:spPr>
          <p:txBody>
            <a:bodyPr wrap="square" lIns="0" tIns="0" rIns="0" bIns="0">
              <a:spAutoFit/>
            </a:bodyPr>
            <a:lstStyle/>
            <a:p>
              <a:pPr>
                <a:lnSpc>
                  <a:spcPct val="106000"/>
                </a:lnSpc>
              </a:pPr>
              <a:r>
                <a:rPr lang="es-MX" sz="1250" b="1" dirty="0">
                  <a:latin typeface="Verdana" panose="020B0604030504040204" pitchFamily="34" charset="0"/>
                  <a:ea typeface="Verdana" panose="020B0604030504040204" pitchFamily="34" charset="0"/>
                  <a:cs typeface="Verdana" panose="020B0604030504040204" pitchFamily="34" charset="0"/>
                </a:rPr>
                <a:t>Las empresas interesadas en ser consideradas, podrán manifestar su interés a través del correo electrónico empresa.cumplida@economia.gob.mx</a:t>
              </a:r>
              <a:endParaRPr lang="en-IN" sz="1250" b="1" dirty="0">
                <a:latin typeface="Verdana" panose="020B0604030504040204" pitchFamily="34" charset="0"/>
                <a:ea typeface="Verdana" panose="020B0604030504040204" pitchFamily="34" charset="0"/>
                <a:cs typeface="Verdana" panose="020B0604030504040204" pitchFamily="34" charset="0"/>
              </a:endParaRPr>
            </a:p>
          </p:txBody>
        </p:sp>
        <p:cxnSp>
          <p:nvCxnSpPr>
            <p:cNvPr id="86" name="Straight Connector 85">
              <a:extLst>
                <a:ext uri="{FF2B5EF4-FFF2-40B4-BE49-F238E27FC236}">
                  <a16:creationId xmlns:a16="http://schemas.microsoft.com/office/drawing/2014/main" id="{AFBC61EA-F018-4E73-AFEA-89432223C45D}"/>
                </a:ext>
              </a:extLst>
            </p:cNvPr>
            <p:cNvCxnSpPr/>
            <p:nvPr/>
          </p:nvCxnSpPr>
          <p:spPr>
            <a:xfrm>
              <a:off x="840659" y="3671441"/>
              <a:ext cx="2730853"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grpSp>
      <p:cxnSp>
        <p:nvCxnSpPr>
          <p:cNvPr id="138" name="Straight Connector 137">
            <a:extLst>
              <a:ext uri="{FF2B5EF4-FFF2-40B4-BE49-F238E27FC236}">
                <a16:creationId xmlns:a16="http://schemas.microsoft.com/office/drawing/2014/main" id="{304B1D3F-23E1-430F-BF38-1DC45491B696}"/>
              </a:ext>
            </a:extLst>
          </p:cNvPr>
          <p:cNvCxnSpPr/>
          <p:nvPr/>
        </p:nvCxnSpPr>
        <p:spPr>
          <a:xfrm>
            <a:off x="1062399" y="3764900"/>
            <a:ext cx="3998242"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39" name="Freeform 240">
            <a:extLst>
              <a:ext uri="{FF2B5EF4-FFF2-40B4-BE49-F238E27FC236}">
                <a16:creationId xmlns:a16="http://schemas.microsoft.com/office/drawing/2014/main" id="{79E76178-0C5C-47AC-B6CD-D118F8E47536}"/>
              </a:ext>
            </a:extLst>
          </p:cNvPr>
          <p:cNvSpPr>
            <a:spLocks noChangeAspect="1" noEditPoints="1"/>
          </p:cNvSpPr>
          <p:nvPr/>
        </p:nvSpPr>
        <p:spPr bwMode="auto">
          <a:xfrm>
            <a:off x="1230473" y="2117502"/>
            <a:ext cx="415019" cy="415019"/>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43 w 512"/>
              <a:gd name="T21" fmla="*/ 327 h 512"/>
              <a:gd name="T22" fmla="*/ 153 w 512"/>
              <a:gd name="T23" fmla="*/ 319 h 512"/>
              <a:gd name="T24" fmla="*/ 194 w 512"/>
              <a:gd name="T25" fmla="*/ 263 h 512"/>
              <a:gd name="T26" fmla="*/ 105 w 512"/>
              <a:gd name="T27" fmla="*/ 234 h 512"/>
              <a:gd name="T28" fmla="*/ 96 w 512"/>
              <a:gd name="T29" fmla="*/ 246 h 512"/>
              <a:gd name="T30" fmla="*/ 107 w 512"/>
              <a:gd name="T31" fmla="*/ 256 h 512"/>
              <a:gd name="T32" fmla="*/ 174 w 512"/>
              <a:gd name="T33" fmla="*/ 269 h 512"/>
              <a:gd name="T34" fmla="*/ 145 w 512"/>
              <a:gd name="T35" fmla="*/ 299 h 512"/>
              <a:gd name="T36" fmla="*/ 122 w 512"/>
              <a:gd name="T37" fmla="*/ 326 h 512"/>
              <a:gd name="T38" fmla="*/ 143 w 512"/>
              <a:gd name="T39" fmla="*/ 360 h 512"/>
              <a:gd name="T40" fmla="*/ 149 w 512"/>
              <a:gd name="T41" fmla="*/ 362 h 512"/>
              <a:gd name="T42" fmla="*/ 158 w 512"/>
              <a:gd name="T43" fmla="*/ 358 h 512"/>
              <a:gd name="T44" fmla="*/ 155 w 512"/>
              <a:gd name="T45" fmla="*/ 343 h 512"/>
              <a:gd name="T46" fmla="*/ 143 w 512"/>
              <a:gd name="T47" fmla="*/ 327 h 512"/>
              <a:gd name="T48" fmla="*/ 396 w 512"/>
              <a:gd name="T49" fmla="*/ 205 h 512"/>
              <a:gd name="T50" fmla="*/ 400 w 512"/>
              <a:gd name="T51" fmla="*/ 197 h 512"/>
              <a:gd name="T52" fmla="*/ 396 w 512"/>
              <a:gd name="T53" fmla="*/ 190 h 512"/>
              <a:gd name="T54" fmla="*/ 366 w 512"/>
              <a:gd name="T55" fmla="*/ 159 h 512"/>
              <a:gd name="T56" fmla="*/ 351 w 512"/>
              <a:gd name="T57" fmla="*/ 159 h 512"/>
              <a:gd name="T58" fmla="*/ 200 w 512"/>
              <a:gd name="T59" fmla="*/ 310 h 512"/>
              <a:gd name="T60" fmla="*/ 198 w 512"/>
              <a:gd name="T61" fmla="*/ 314 h 512"/>
              <a:gd name="T62" fmla="*/ 183 w 512"/>
              <a:gd name="T63" fmla="*/ 360 h 512"/>
              <a:gd name="T64" fmla="*/ 185 w 512"/>
              <a:gd name="T65" fmla="*/ 371 h 512"/>
              <a:gd name="T66" fmla="*/ 193 w 512"/>
              <a:gd name="T67" fmla="*/ 374 h 512"/>
              <a:gd name="T68" fmla="*/ 196 w 512"/>
              <a:gd name="T69" fmla="*/ 373 h 512"/>
              <a:gd name="T70" fmla="*/ 241 w 512"/>
              <a:gd name="T71" fmla="*/ 358 h 512"/>
              <a:gd name="T72" fmla="*/ 246 w 512"/>
              <a:gd name="T73" fmla="*/ 356 h 512"/>
              <a:gd name="T74" fmla="*/ 396 w 512"/>
              <a:gd name="T75" fmla="*/ 205 h 512"/>
              <a:gd name="T76" fmla="*/ 413 w 512"/>
              <a:gd name="T77" fmla="*/ 237 h 512"/>
              <a:gd name="T78" fmla="*/ 397 w 512"/>
              <a:gd name="T79" fmla="*/ 237 h 512"/>
              <a:gd name="T80" fmla="*/ 355 w 512"/>
              <a:gd name="T81" fmla="*/ 280 h 512"/>
              <a:gd name="T82" fmla="*/ 355 w 512"/>
              <a:gd name="T83" fmla="*/ 295 h 512"/>
              <a:gd name="T84" fmla="*/ 362 w 512"/>
              <a:gd name="T85" fmla="*/ 298 h 512"/>
              <a:gd name="T86" fmla="*/ 370 w 512"/>
              <a:gd name="T87" fmla="*/ 295 h 512"/>
              <a:gd name="T88" fmla="*/ 413 w 512"/>
              <a:gd name="T89" fmla="*/ 253 h 512"/>
              <a:gd name="T90" fmla="*/ 413 w 512"/>
              <a:gd name="T91" fmla="*/ 237 h 512"/>
              <a:gd name="T92" fmla="*/ 217 w 512"/>
              <a:gd name="T93" fmla="*/ 324 h 512"/>
              <a:gd name="T94" fmla="*/ 210 w 512"/>
              <a:gd name="T95" fmla="*/ 346 h 512"/>
              <a:gd name="T96" fmla="*/ 232 w 512"/>
              <a:gd name="T97" fmla="*/ 339 h 512"/>
              <a:gd name="T98" fmla="*/ 313 w 512"/>
              <a:gd name="T99" fmla="*/ 257 h 512"/>
              <a:gd name="T100" fmla="*/ 298 w 512"/>
              <a:gd name="T101" fmla="*/ 242 h 512"/>
              <a:gd name="T102" fmla="*/ 217 w 512"/>
              <a:gd name="T103" fmla="*/ 3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396" y="205"/>
                </a:moveTo>
                <a:cubicBezTo>
                  <a:pt x="398" y="203"/>
                  <a:pt x="400" y="200"/>
                  <a:pt x="400" y="197"/>
                </a:cubicBezTo>
                <a:cubicBezTo>
                  <a:pt x="400" y="194"/>
                  <a:pt x="398" y="192"/>
                  <a:pt x="396" y="190"/>
                </a:cubicBezTo>
                <a:cubicBezTo>
                  <a:pt x="366" y="159"/>
                  <a:pt x="366" y="159"/>
                  <a:pt x="366" y="159"/>
                </a:cubicBezTo>
                <a:cubicBezTo>
                  <a:pt x="362" y="155"/>
                  <a:pt x="355" y="155"/>
                  <a:pt x="351" y="159"/>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lnTo>
                  <a:pt x="396" y="205"/>
                </a:lnTo>
                <a:close/>
                <a:moveTo>
                  <a:pt x="413" y="237"/>
                </a:moveTo>
                <a:cubicBezTo>
                  <a:pt x="408" y="233"/>
                  <a:pt x="402" y="233"/>
                  <a:pt x="397" y="237"/>
                </a:cubicBezTo>
                <a:cubicBezTo>
                  <a:pt x="355" y="280"/>
                  <a:pt x="355" y="280"/>
                  <a:pt x="355" y="280"/>
                </a:cubicBezTo>
                <a:cubicBezTo>
                  <a:pt x="351" y="284"/>
                  <a:pt x="351" y="291"/>
                  <a:pt x="355" y="295"/>
                </a:cubicBezTo>
                <a:cubicBezTo>
                  <a:pt x="357" y="297"/>
                  <a:pt x="360" y="298"/>
                  <a:pt x="362" y="298"/>
                </a:cubicBezTo>
                <a:cubicBezTo>
                  <a:pt x="365" y="298"/>
                  <a:pt x="368" y="297"/>
                  <a:pt x="370" y="295"/>
                </a:cubicBezTo>
                <a:cubicBezTo>
                  <a:pt x="413" y="253"/>
                  <a:pt x="413" y="253"/>
                  <a:pt x="413" y="253"/>
                </a:cubicBezTo>
                <a:cubicBezTo>
                  <a:pt x="417" y="248"/>
                  <a:pt x="417" y="242"/>
                  <a:pt x="413" y="237"/>
                </a:cubicBez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0" name="Freeform 774">
            <a:extLst>
              <a:ext uri="{FF2B5EF4-FFF2-40B4-BE49-F238E27FC236}">
                <a16:creationId xmlns:a16="http://schemas.microsoft.com/office/drawing/2014/main" id="{DC732578-CC50-4323-BA39-D70CECB5A900}"/>
              </a:ext>
            </a:extLst>
          </p:cNvPr>
          <p:cNvSpPr>
            <a:spLocks noChangeAspect="1" noEditPoints="1"/>
          </p:cNvSpPr>
          <p:nvPr/>
        </p:nvSpPr>
        <p:spPr bwMode="auto">
          <a:xfrm>
            <a:off x="1217991" y="3882783"/>
            <a:ext cx="418615" cy="418615"/>
          </a:xfrm>
          <a:custGeom>
            <a:avLst/>
            <a:gdLst>
              <a:gd name="T0" fmla="*/ 216 w 512"/>
              <a:gd name="T1" fmla="*/ 171 h 512"/>
              <a:gd name="T2" fmla="*/ 320 w 512"/>
              <a:gd name="T3" fmla="*/ 275 h 512"/>
              <a:gd name="T4" fmla="*/ 223 w 512"/>
              <a:gd name="T5" fmla="*/ 268 h 512"/>
              <a:gd name="T6" fmla="*/ 216 w 512"/>
              <a:gd name="T7" fmla="*/ 171 h 512"/>
              <a:gd name="T8" fmla="*/ 197 w 512"/>
              <a:gd name="T9" fmla="*/ 395 h 512"/>
              <a:gd name="T10" fmla="*/ 251 w 512"/>
              <a:gd name="T11" fmla="*/ 395 h 512"/>
              <a:gd name="T12" fmla="*/ 224 w 512"/>
              <a:gd name="T13" fmla="*/ 320 h 512"/>
              <a:gd name="T14" fmla="*/ 197 w 512"/>
              <a:gd name="T15" fmla="*/ 395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47 w 512"/>
              <a:gd name="T27" fmla="*/ 276 h 512"/>
              <a:gd name="T28" fmla="*/ 343 w 512"/>
              <a:gd name="T29" fmla="*/ 268 h 512"/>
              <a:gd name="T30" fmla="*/ 291 w 512"/>
              <a:gd name="T31" fmla="*/ 215 h 512"/>
              <a:gd name="T32" fmla="*/ 296 w 512"/>
              <a:gd name="T33" fmla="*/ 211 h 512"/>
              <a:gd name="T34" fmla="*/ 296 w 512"/>
              <a:gd name="T35" fmla="*/ 195 h 512"/>
              <a:gd name="T36" fmla="*/ 280 w 512"/>
              <a:gd name="T37" fmla="*/ 195 h 512"/>
              <a:gd name="T38" fmla="*/ 276 w 512"/>
              <a:gd name="T39" fmla="*/ 200 h 512"/>
              <a:gd name="T40" fmla="*/ 223 w 512"/>
              <a:gd name="T41" fmla="*/ 148 h 512"/>
              <a:gd name="T42" fmla="*/ 208 w 512"/>
              <a:gd name="T43" fmla="*/ 148 h 512"/>
              <a:gd name="T44" fmla="*/ 208 w 512"/>
              <a:gd name="T45" fmla="*/ 283 h 512"/>
              <a:gd name="T46" fmla="*/ 213 w 512"/>
              <a:gd name="T47" fmla="*/ 288 h 512"/>
              <a:gd name="T48" fmla="*/ 174 w 512"/>
              <a:gd name="T49" fmla="*/ 395 h 512"/>
              <a:gd name="T50" fmla="*/ 160 w 512"/>
              <a:gd name="T51" fmla="*/ 395 h 512"/>
              <a:gd name="T52" fmla="*/ 149 w 512"/>
              <a:gd name="T53" fmla="*/ 406 h 512"/>
              <a:gd name="T54" fmla="*/ 160 w 512"/>
              <a:gd name="T55" fmla="*/ 416 h 512"/>
              <a:gd name="T56" fmla="*/ 288 w 512"/>
              <a:gd name="T57" fmla="*/ 416 h 512"/>
              <a:gd name="T58" fmla="*/ 299 w 512"/>
              <a:gd name="T59" fmla="*/ 406 h 512"/>
              <a:gd name="T60" fmla="*/ 288 w 512"/>
              <a:gd name="T61" fmla="*/ 395 h 512"/>
              <a:gd name="T62" fmla="*/ 274 w 512"/>
              <a:gd name="T63" fmla="*/ 395 h 512"/>
              <a:gd name="T64" fmla="*/ 241 w 512"/>
              <a:gd name="T65" fmla="*/ 305 h 512"/>
              <a:gd name="T66" fmla="*/ 276 w 512"/>
              <a:gd name="T67" fmla="*/ 311 h 512"/>
              <a:gd name="T68" fmla="*/ 343 w 512"/>
              <a:gd name="T69" fmla="*/ 283 h 512"/>
              <a:gd name="T70" fmla="*/ 347 w 512"/>
              <a:gd name="T71" fmla="*/ 276 h 512"/>
              <a:gd name="T72" fmla="*/ 288 w 512"/>
              <a:gd name="T73" fmla="*/ 182 h 512"/>
              <a:gd name="T74" fmla="*/ 309 w 512"/>
              <a:gd name="T75" fmla="*/ 203 h 512"/>
              <a:gd name="T76" fmla="*/ 320 w 512"/>
              <a:gd name="T77" fmla="*/ 214 h 512"/>
              <a:gd name="T78" fmla="*/ 331 w 512"/>
              <a:gd name="T79" fmla="*/ 203 h 512"/>
              <a:gd name="T80" fmla="*/ 288 w 512"/>
              <a:gd name="T81" fmla="*/ 160 h 512"/>
              <a:gd name="T82" fmla="*/ 277 w 512"/>
              <a:gd name="T83" fmla="*/ 171 h 512"/>
              <a:gd name="T84" fmla="*/ 288 w 512"/>
              <a:gd name="T85" fmla="*/ 182 h 512"/>
              <a:gd name="T86" fmla="*/ 373 w 512"/>
              <a:gd name="T87" fmla="*/ 203 h 512"/>
              <a:gd name="T88" fmla="*/ 288 w 512"/>
              <a:gd name="T89" fmla="*/ 118 h 512"/>
              <a:gd name="T90" fmla="*/ 277 w 512"/>
              <a:gd name="T91" fmla="*/ 128 h 512"/>
              <a:gd name="T92" fmla="*/ 288 w 512"/>
              <a:gd name="T93" fmla="*/ 139 h 512"/>
              <a:gd name="T94" fmla="*/ 352 w 512"/>
              <a:gd name="T95" fmla="*/ 203 h 512"/>
              <a:gd name="T96" fmla="*/ 363 w 512"/>
              <a:gd name="T97" fmla="*/ 214 h 512"/>
              <a:gd name="T98" fmla="*/ 373 w 512"/>
              <a:gd name="T99" fmla="*/ 20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16" y="171"/>
                </a:moveTo>
                <a:cubicBezTo>
                  <a:pt x="320" y="275"/>
                  <a:pt x="320" y="275"/>
                  <a:pt x="320" y="275"/>
                </a:cubicBezTo>
                <a:cubicBezTo>
                  <a:pt x="291" y="297"/>
                  <a:pt x="249" y="295"/>
                  <a:pt x="223" y="268"/>
                </a:cubicBezTo>
                <a:cubicBezTo>
                  <a:pt x="196" y="242"/>
                  <a:pt x="194" y="200"/>
                  <a:pt x="216" y="171"/>
                </a:cubicBezTo>
                <a:close/>
                <a:moveTo>
                  <a:pt x="197" y="395"/>
                </a:moveTo>
                <a:cubicBezTo>
                  <a:pt x="251" y="395"/>
                  <a:pt x="251" y="395"/>
                  <a:pt x="251" y="395"/>
                </a:cubicBezTo>
                <a:cubicBezTo>
                  <a:pt x="224" y="320"/>
                  <a:pt x="224" y="320"/>
                  <a:pt x="224" y="320"/>
                </a:cubicBezTo>
                <a:lnTo>
                  <a:pt x="197" y="395"/>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47" y="276"/>
                </a:moveTo>
                <a:cubicBezTo>
                  <a:pt x="347" y="273"/>
                  <a:pt x="345" y="270"/>
                  <a:pt x="343" y="268"/>
                </a:cubicBezTo>
                <a:cubicBezTo>
                  <a:pt x="291" y="215"/>
                  <a:pt x="291" y="215"/>
                  <a:pt x="291" y="215"/>
                </a:cubicBezTo>
                <a:cubicBezTo>
                  <a:pt x="296" y="211"/>
                  <a:pt x="296" y="211"/>
                  <a:pt x="296" y="211"/>
                </a:cubicBezTo>
                <a:cubicBezTo>
                  <a:pt x="300" y="206"/>
                  <a:pt x="300" y="200"/>
                  <a:pt x="296" y="195"/>
                </a:cubicBezTo>
                <a:cubicBezTo>
                  <a:pt x="291" y="191"/>
                  <a:pt x="285" y="191"/>
                  <a:pt x="280" y="195"/>
                </a:cubicBezTo>
                <a:cubicBezTo>
                  <a:pt x="276" y="200"/>
                  <a:pt x="276" y="200"/>
                  <a:pt x="276" y="200"/>
                </a:cubicBezTo>
                <a:cubicBezTo>
                  <a:pt x="223" y="148"/>
                  <a:pt x="223" y="148"/>
                  <a:pt x="223" y="148"/>
                </a:cubicBezTo>
                <a:cubicBezTo>
                  <a:pt x="219" y="143"/>
                  <a:pt x="212" y="143"/>
                  <a:pt x="208" y="148"/>
                </a:cubicBezTo>
                <a:cubicBezTo>
                  <a:pt x="170" y="185"/>
                  <a:pt x="170" y="246"/>
                  <a:pt x="208" y="283"/>
                </a:cubicBezTo>
                <a:cubicBezTo>
                  <a:pt x="209" y="285"/>
                  <a:pt x="211" y="287"/>
                  <a:pt x="213" y="288"/>
                </a:cubicBezTo>
                <a:cubicBezTo>
                  <a:pt x="174" y="395"/>
                  <a:pt x="174" y="395"/>
                  <a:pt x="174" y="395"/>
                </a:cubicBezTo>
                <a:cubicBezTo>
                  <a:pt x="160" y="395"/>
                  <a:pt x="160" y="395"/>
                  <a:pt x="160" y="395"/>
                </a:cubicBezTo>
                <a:cubicBezTo>
                  <a:pt x="154" y="395"/>
                  <a:pt x="149" y="400"/>
                  <a:pt x="149" y="406"/>
                </a:cubicBezTo>
                <a:cubicBezTo>
                  <a:pt x="149" y="412"/>
                  <a:pt x="154" y="416"/>
                  <a:pt x="160" y="416"/>
                </a:cubicBezTo>
                <a:cubicBezTo>
                  <a:pt x="288" y="416"/>
                  <a:pt x="288" y="416"/>
                  <a:pt x="288" y="416"/>
                </a:cubicBezTo>
                <a:cubicBezTo>
                  <a:pt x="294" y="416"/>
                  <a:pt x="299" y="412"/>
                  <a:pt x="299" y="406"/>
                </a:cubicBezTo>
                <a:cubicBezTo>
                  <a:pt x="299" y="400"/>
                  <a:pt x="294" y="395"/>
                  <a:pt x="288" y="395"/>
                </a:cubicBezTo>
                <a:cubicBezTo>
                  <a:pt x="274" y="395"/>
                  <a:pt x="274" y="395"/>
                  <a:pt x="274" y="395"/>
                </a:cubicBezTo>
                <a:cubicBezTo>
                  <a:pt x="241" y="305"/>
                  <a:pt x="241" y="305"/>
                  <a:pt x="241" y="305"/>
                </a:cubicBezTo>
                <a:cubicBezTo>
                  <a:pt x="252" y="309"/>
                  <a:pt x="264" y="311"/>
                  <a:pt x="276" y="311"/>
                </a:cubicBezTo>
                <a:cubicBezTo>
                  <a:pt x="300" y="311"/>
                  <a:pt x="325" y="302"/>
                  <a:pt x="343" y="283"/>
                </a:cubicBezTo>
                <a:cubicBezTo>
                  <a:pt x="345" y="281"/>
                  <a:pt x="347" y="279"/>
                  <a:pt x="347" y="276"/>
                </a:cubicBezTo>
                <a:close/>
                <a:moveTo>
                  <a:pt x="288" y="182"/>
                </a:moveTo>
                <a:cubicBezTo>
                  <a:pt x="300" y="182"/>
                  <a:pt x="309" y="191"/>
                  <a:pt x="309" y="203"/>
                </a:cubicBezTo>
                <a:cubicBezTo>
                  <a:pt x="309" y="209"/>
                  <a:pt x="314" y="214"/>
                  <a:pt x="320" y="214"/>
                </a:cubicBezTo>
                <a:cubicBezTo>
                  <a:pt x="326" y="214"/>
                  <a:pt x="331" y="209"/>
                  <a:pt x="331" y="203"/>
                </a:cubicBezTo>
                <a:cubicBezTo>
                  <a:pt x="331" y="179"/>
                  <a:pt x="312" y="160"/>
                  <a:pt x="288" y="160"/>
                </a:cubicBezTo>
                <a:cubicBezTo>
                  <a:pt x="282" y="160"/>
                  <a:pt x="277" y="165"/>
                  <a:pt x="277" y="171"/>
                </a:cubicBezTo>
                <a:cubicBezTo>
                  <a:pt x="277" y="177"/>
                  <a:pt x="282" y="182"/>
                  <a:pt x="288" y="182"/>
                </a:cubicBezTo>
                <a:close/>
                <a:moveTo>
                  <a:pt x="373" y="203"/>
                </a:moveTo>
                <a:cubicBezTo>
                  <a:pt x="373" y="156"/>
                  <a:pt x="335" y="118"/>
                  <a:pt x="288" y="118"/>
                </a:cubicBezTo>
                <a:cubicBezTo>
                  <a:pt x="282" y="118"/>
                  <a:pt x="277" y="122"/>
                  <a:pt x="277" y="128"/>
                </a:cubicBezTo>
                <a:cubicBezTo>
                  <a:pt x="277" y="134"/>
                  <a:pt x="282" y="139"/>
                  <a:pt x="288" y="139"/>
                </a:cubicBezTo>
                <a:cubicBezTo>
                  <a:pt x="323" y="139"/>
                  <a:pt x="352" y="168"/>
                  <a:pt x="352" y="203"/>
                </a:cubicBezTo>
                <a:cubicBezTo>
                  <a:pt x="352" y="209"/>
                  <a:pt x="357" y="214"/>
                  <a:pt x="363" y="214"/>
                </a:cubicBezTo>
                <a:cubicBezTo>
                  <a:pt x="369" y="214"/>
                  <a:pt x="373" y="209"/>
                  <a:pt x="373" y="203"/>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1" name="Group 331">
            <a:extLst>
              <a:ext uri="{FF2B5EF4-FFF2-40B4-BE49-F238E27FC236}">
                <a16:creationId xmlns:a16="http://schemas.microsoft.com/office/drawing/2014/main" id="{05487B54-7610-4318-8E2A-87B3C29698BC}"/>
              </a:ext>
            </a:extLst>
          </p:cNvPr>
          <p:cNvGrpSpPr>
            <a:grpSpLocks noChangeAspect="1"/>
          </p:cNvGrpSpPr>
          <p:nvPr/>
        </p:nvGrpSpPr>
        <p:grpSpPr bwMode="auto">
          <a:xfrm>
            <a:off x="1207324" y="2986158"/>
            <a:ext cx="415019" cy="415019"/>
            <a:chOff x="3832" y="1197"/>
            <a:chExt cx="340" cy="340"/>
          </a:xfrm>
          <a:solidFill>
            <a:schemeClr val="accent5"/>
          </a:solidFill>
        </p:grpSpPr>
        <p:sp>
          <p:nvSpPr>
            <p:cNvPr id="142" name="Freeform 332">
              <a:extLst>
                <a:ext uri="{FF2B5EF4-FFF2-40B4-BE49-F238E27FC236}">
                  <a16:creationId xmlns:a16="http://schemas.microsoft.com/office/drawing/2014/main" id="{078AA8BE-B9F2-4C8C-89D3-7F572E3F5D38}"/>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333">
              <a:extLst>
                <a:ext uri="{FF2B5EF4-FFF2-40B4-BE49-F238E27FC236}">
                  <a16:creationId xmlns:a16="http://schemas.microsoft.com/office/drawing/2014/main" id="{FB5AD0D1-B17C-4F4D-AABA-C37285275DFC}"/>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a:extLst>
              <a:ext uri="{FF2B5EF4-FFF2-40B4-BE49-F238E27FC236}">
                <a16:creationId xmlns:a16="http://schemas.microsoft.com/office/drawing/2014/main" id="{A326F447-CE2B-4630-98B8-79BFB15E1B92}"/>
              </a:ext>
            </a:extLst>
          </p:cNvPr>
          <p:cNvGrpSpPr/>
          <p:nvPr/>
        </p:nvGrpSpPr>
        <p:grpSpPr>
          <a:xfrm>
            <a:off x="6936977" y="958106"/>
            <a:ext cx="4181076" cy="5636835"/>
            <a:chOff x="7203202" y="958106"/>
            <a:chExt cx="4181076" cy="5636835"/>
          </a:xfrm>
        </p:grpSpPr>
        <p:pic>
          <p:nvPicPr>
            <p:cNvPr id="150" name="Picture 149" descr="A picture containing text, weapon, gun, screenshot&#10;&#10;Description automatically generated">
              <a:extLst>
                <a:ext uri="{FF2B5EF4-FFF2-40B4-BE49-F238E27FC236}">
                  <a16:creationId xmlns:a16="http://schemas.microsoft.com/office/drawing/2014/main" id="{1A7FB9FB-A8B1-47EE-8E0C-68E763AE3EAF}"/>
                </a:ext>
              </a:extLst>
            </p:cNvPr>
            <p:cNvPicPr>
              <a:picLocks noChangeAspect="1"/>
            </p:cNvPicPr>
            <p:nvPr/>
          </p:nvPicPr>
          <p:blipFill>
            <a:blip r:embed="rId2"/>
            <a:stretch>
              <a:fillRect/>
            </a:stretch>
          </p:blipFill>
          <p:spPr>
            <a:xfrm>
              <a:off x="7203202" y="958106"/>
              <a:ext cx="4181076" cy="5636835"/>
            </a:xfrm>
            <a:prstGeom prst="rect">
              <a:avLst/>
            </a:prstGeom>
          </p:spPr>
        </p:pic>
        <p:sp>
          <p:nvSpPr>
            <p:cNvPr id="151" name="Freeform 11">
              <a:extLst>
                <a:ext uri="{FF2B5EF4-FFF2-40B4-BE49-F238E27FC236}">
                  <a16:creationId xmlns:a16="http://schemas.microsoft.com/office/drawing/2014/main" id="{1E8F77E2-D44B-478E-81D7-B80194418A10}"/>
                </a:ext>
              </a:extLst>
            </p:cNvPr>
            <p:cNvSpPr/>
            <p:nvPr/>
          </p:nvSpPr>
          <p:spPr>
            <a:xfrm>
              <a:off x="7856567" y="2018664"/>
              <a:ext cx="2757415" cy="886465"/>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1"/>
            </a:solidFill>
            <a:ln>
              <a:noFill/>
            </a:ln>
          </p:spPr>
          <p:style>
            <a:lnRef idx="2">
              <a:schemeClr val="lt1">
                <a:hueOff val="0"/>
                <a:satOff val="0"/>
                <a:lumOff val="0"/>
                <a:alphaOff val="0"/>
              </a:schemeClr>
            </a:lnRef>
            <a:fillRef idx="1">
              <a:schemeClr val="accent2">
                <a:hueOff val="280315"/>
                <a:satOff val="-1924"/>
                <a:lumOff val="3868"/>
                <a:alphaOff val="0"/>
              </a:schemeClr>
            </a:fillRef>
            <a:effectRef idx="0">
              <a:schemeClr val="accent2">
                <a:hueOff val="280315"/>
                <a:satOff val="-1924"/>
                <a:lumOff val="3868"/>
                <a:alphaOff val="0"/>
              </a:schemeClr>
            </a:effectRef>
            <a:fontRef idx="minor">
              <a:schemeClr val="lt1"/>
            </a:fontRef>
          </p:style>
          <p:txBody>
            <a:bodyPr spcFirstLastPara="0" vert="horz" wrap="square" lIns="34547" tIns="29467" rIns="34547" bIns="29467" numCol="1" spcCol="1270" anchor="t" anchorCtr="0">
              <a:noAutofit/>
            </a:bodyPr>
            <a:lstStyle/>
            <a:p>
              <a:pPr lvl="0" algn="ctr" defTabSz="355600">
                <a:spcBef>
                  <a:spcPct val="0"/>
                </a:spcBef>
              </a:pPr>
              <a:r>
                <a:rPr lang="es-MX" altLang="zh-CN" sz="1250" b="1" dirty="0">
                  <a:latin typeface="Verdana" panose="020B0604030504040204" pitchFamily="34" charset="0"/>
                  <a:ea typeface="Verdana" panose="020B0604030504040204" pitchFamily="34" charset="0"/>
                </a:rPr>
                <a:t>La secretaría de Economía procurará que la selección de las 50 empresas sean de diferentes sectores y tamaño.</a:t>
              </a:r>
            </a:p>
          </p:txBody>
        </p:sp>
        <p:sp>
          <p:nvSpPr>
            <p:cNvPr id="152" name="Freeform 12">
              <a:extLst>
                <a:ext uri="{FF2B5EF4-FFF2-40B4-BE49-F238E27FC236}">
                  <a16:creationId xmlns:a16="http://schemas.microsoft.com/office/drawing/2014/main" id="{21EDDB2C-D336-4215-B984-DAC79301E7DF}"/>
                </a:ext>
              </a:extLst>
            </p:cNvPr>
            <p:cNvSpPr/>
            <p:nvPr/>
          </p:nvSpPr>
          <p:spPr>
            <a:xfrm>
              <a:off x="7856567" y="3089823"/>
              <a:ext cx="2757415" cy="1287848"/>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2"/>
            </a:solidFill>
            <a:ln>
              <a:noFill/>
            </a:ln>
          </p:spPr>
          <p:style>
            <a:lnRef idx="2">
              <a:schemeClr val="lt1">
                <a:hueOff val="0"/>
                <a:satOff val="0"/>
                <a:lumOff val="0"/>
                <a:alphaOff val="0"/>
              </a:schemeClr>
            </a:lnRef>
            <a:fillRef idx="1">
              <a:schemeClr val="accent2">
                <a:hueOff val="560630"/>
                <a:satOff val="-3848"/>
                <a:lumOff val="7737"/>
                <a:alphaOff val="0"/>
              </a:schemeClr>
            </a:fillRef>
            <a:effectRef idx="0">
              <a:schemeClr val="accent2">
                <a:hueOff val="560630"/>
                <a:satOff val="-3848"/>
                <a:lumOff val="7737"/>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s-MX" altLang="zh-CN" sz="1250" b="1" dirty="0">
                  <a:latin typeface="Verdana" panose="020B0604030504040204" pitchFamily="34" charset="0"/>
                  <a:ea typeface="Verdana" panose="020B0604030504040204" pitchFamily="34" charset="0"/>
                </a:rPr>
                <a:t>La selección se comunicará a través de la información de contacto proporcionada a través de correo electrónico y se publicará en el SNICE.</a:t>
              </a:r>
            </a:p>
          </p:txBody>
        </p:sp>
        <p:sp>
          <p:nvSpPr>
            <p:cNvPr id="153" name="Freeform 13">
              <a:extLst>
                <a:ext uri="{FF2B5EF4-FFF2-40B4-BE49-F238E27FC236}">
                  <a16:creationId xmlns:a16="http://schemas.microsoft.com/office/drawing/2014/main" id="{F28C628E-6111-4BBF-BDE3-91B8C69EA9BB}"/>
                </a:ext>
              </a:extLst>
            </p:cNvPr>
            <p:cNvSpPr/>
            <p:nvPr/>
          </p:nvSpPr>
          <p:spPr>
            <a:xfrm>
              <a:off x="7856567" y="4581448"/>
              <a:ext cx="2757415" cy="1287848"/>
            </a:xfrm>
            <a:custGeom>
              <a:avLst/>
              <a:gdLst>
                <a:gd name="connsiteX0" fmla="*/ 0 w 3225322"/>
                <a:gd name="connsiteY0" fmla="*/ 48574 h 485741"/>
                <a:gd name="connsiteX1" fmla="*/ 48574 w 3225322"/>
                <a:gd name="connsiteY1" fmla="*/ 0 h 485741"/>
                <a:gd name="connsiteX2" fmla="*/ 3176748 w 3225322"/>
                <a:gd name="connsiteY2" fmla="*/ 0 h 485741"/>
                <a:gd name="connsiteX3" fmla="*/ 3225322 w 3225322"/>
                <a:gd name="connsiteY3" fmla="*/ 48574 h 485741"/>
                <a:gd name="connsiteX4" fmla="*/ 3225322 w 3225322"/>
                <a:gd name="connsiteY4" fmla="*/ 437167 h 485741"/>
                <a:gd name="connsiteX5" fmla="*/ 3176748 w 3225322"/>
                <a:gd name="connsiteY5" fmla="*/ 485741 h 485741"/>
                <a:gd name="connsiteX6" fmla="*/ 48574 w 3225322"/>
                <a:gd name="connsiteY6" fmla="*/ 485741 h 485741"/>
                <a:gd name="connsiteX7" fmla="*/ 0 w 3225322"/>
                <a:gd name="connsiteY7" fmla="*/ 437167 h 485741"/>
                <a:gd name="connsiteX8" fmla="*/ 0 w 3225322"/>
                <a:gd name="connsiteY8" fmla="*/ 48574 h 48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5322" h="485741">
                  <a:moveTo>
                    <a:pt x="0" y="48574"/>
                  </a:moveTo>
                  <a:cubicBezTo>
                    <a:pt x="0" y="21747"/>
                    <a:pt x="21747" y="0"/>
                    <a:pt x="48574" y="0"/>
                  </a:cubicBezTo>
                  <a:lnTo>
                    <a:pt x="3176748" y="0"/>
                  </a:lnTo>
                  <a:cubicBezTo>
                    <a:pt x="3203575" y="0"/>
                    <a:pt x="3225322" y="21747"/>
                    <a:pt x="3225322" y="48574"/>
                  </a:cubicBezTo>
                  <a:lnTo>
                    <a:pt x="3225322" y="437167"/>
                  </a:lnTo>
                  <a:cubicBezTo>
                    <a:pt x="3225322" y="463994"/>
                    <a:pt x="3203575" y="485741"/>
                    <a:pt x="3176748" y="485741"/>
                  </a:cubicBezTo>
                  <a:lnTo>
                    <a:pt x="48574" y="485741"/>
                  </a:lnTo>
                  <a:cubicBezTo>
                    <a:pt x="21747" y="485741"/>
                    <a:pt x="0" y="463994"/>
                    <a:pt x="0" y="437167"/>
                  </a:cubicBezTo>
                  <a:lnTo>
                    <a:pt x="0" y="48574"/>
                  </a:lnTo>
                  <a:close/>
                </a:path>
              </a:pathLst>
            </a:custGeom>
            <a:solidFill>
              <a:schemeClr val="accent3"/>
            </a:solidFill>
            <a:ln>
              <a:noFill/>
            </a:ln>
          </p:spPr>
          <p:style>
            <a:lnRef idx="2">
              <a:schemeClr val="lt1">
                <a:hueOff val="0"/>
                <a:satOff val="0"/>
                <a:lumOff val="0"/>
                <a:alphaOff val="0"/>
              </a:schemeClr>
            </a:lnRef>
            <a:fillRef idx="1">
              <a:schemeClr val="accent2">
                <a:hueOff val="840944"/>
                <a:satOff val="-5773"/>
                <a:lumOff val="11605"/>
                <a:alphaOff val="0"/>
              </a:schemeClr>
            </a:fillRef>
            <a:effectRef idx="0">
              <a:schemeClr val="accent2">
                <a:hueOff val="840944"/>
                <a:satOff val="-5773"/>
                <a:lumOff val="11605"/>
                <a:alphaOff val="0"/>
              </a:schemeClr>
            </a:effectRef>
            <a:fontRef idx="minor">
              <a:schemeClr val="lt1"/>
            </a:fontRef>
          </p:style>
          <p:txBody>
            <a:bodyPr spcFirstLastPara="0" vert="horz" wrap="square" lIns="34547" tIns="29467" rIns="34547" bIns="29467" numCol="1" spcCol="1270" anchor="ctr" anchorCtr="0">
              <a:noAutofit/>
            </a:bodyPr>
            <a:lstStyle/>
            <a:p>
              <a:pPr lvl="0" algn="ctr" defTabSz="355600">
                <a:spcBef>
                  <a:spcPct val="0"/>
                </a:spcBef>
              </a:pPr>
              <a:r>
                <a:rPr lang="es-MX" altLang="zh-CN" sz="1250" b="1" dirty="0">
                  <a:latin typeface="Verdana" panose="020B0604030504040204" pitchFamily="34" charset="0"/>
                  <a:ea typeface="Verdana" panose="020B0604030504040204" pitchFamily="34" charset="0"/>
                </a:rPr>
                <a:t>El periodo para manifestar su interés al "Piloto de la Empresa Cumplida en Comercio Exterior" se </a:t>
              </a:r>
              <a:r>
                <a:rPr lang="es-MX" altLang="zh-CN" sz="1250" b="1" dirty="0" err="1">
                  <a:latin typeface="Verdana" panose="020B0604030504040204" pitchFamily="34" charset="0"/>
                  <a:ea typeface="Verdana" panose="020B0604030504040204" pitchFamily="34" charset="0"/>
                </a:rPr>
                <a:t>extiendió</a:t>
              </a:r>
              <a:r>
                <a:rPr lang="es-MX" altLang="zh-CN" sz="1250" b="1" dirty="0">
                  <a:latin typeface="Verdana" panose="020B0604030504040204" pitchFamily="34" charset="0"/>
                  <a:ea typeface="Verdana" panose="020B0604030504040204" pitchFamily="34" charset="0"/>
                </a:rPr>
                <a:t> hasta el </a:t>
              </a:r>
            </a:p>
            <a:p>
              <a:pPr lvl="0" algn="ctr" defTabSz="355600">
                <a:spcBef>
                  <a:spcPct val="0"/>
                </a:spcBef>
              </a:pPr>
              <a:r>
                <a:rPr lang="es-MX" altLang="zh-CN" sz="1400" b="1" u="sng" dirty="0">
                  <a:latin typeface="Verdana" panose="020B0604030504040204" pitchFamily="34" charset="0"/>
                  <a:ea typeface="Verdana" panose="020B0604030504040204" pitchFamily="34" charset="0"/>
                </a:rPr>
                <a:t>31 de Octubre de 2022</a:t>
              </a:r>
              <a:endParaRPr lang="en-US" altLang="zh-CN" sz="1400" u="sng" dirty="0">
                <a:latin typeface="Verdana" panose="020B0604030504040204" pitchFamily="34" charset="0"/>
                <a:ea typeface="Verdana" panose="020B0604030504040204" pitchFamily="34" charset="0"/>
                <a:sym typeface="Wingdings" panose="05000000000000000000" pitchFamily="2" charset="2"/>
              </a:endParaRPr>
            </a:p>
          </p:txBody>
        </p:sp>
        <p:sp>
          <p:nvSpPr>
            <p:cNvPr id="154" name="矩形 31">
              <a:extLst>
                <a:ext uri="{FF2B5EF4-FFF2-40B4-BE49-F238E27FC236}">
                  <a16:creationId xmlns:a16="http://schemas.microsoft.com/office/drawing/2014/main" id="{81AC4DBD-A815-43EB-926D-EB62E157AF41}"/>
                </a:ext>
              </a:extLst>
            </p:cNvPr>
            <p:cNvSpPr/>
            <p:nvPr/>
          </p:nvSpPr>
          <p:spPr>
            <a:xfrm>
              <a:off x="7493904" y="1589058"/>
              <a:ext cx="2560316" cy="286232"/>
            </a:xfrm>
            <a:prstGeom prst="rect">
              <a:avLst/>
            </a:prstGeom>
          </p:spPr>
          <p:txBody>
            <a:bodyPr wrap="none">
              <a:spAutoFit/>
            </a:bodyPr>
            <a:lstStyle/>
            <a:p>
              <a:pPr lvl="0" defTabSz="889000">
                <a:lnSpc>
                  <a:spcPct val="90000"/>
                </a:lnSpc>
                <a:spcBef>
                  <a:spcPct val="0"/>
                </a:spcBef>
                <a:spcAft>
                  <a:spcPct val="35000"/>
                </a:spcAft>
              </a:pPr>
              <a:r>
                <a:rPr lang="es-MX" altLang="zh-CN" sz="1400" b="1" dirty="0">
                  <a:solidFill>
                    <a:schemeClr val="accent1"/>
                  </a:solidFill>
                  <a:latin typeface="Verdana" panose="020B0604030504040204" pitchFamily="34" charset="0"/>
                  <a:ea typeface="Verdana" panose="020B0604030504040204" pitchFamily="34" charset="0"/>
                </a:rPr>
                <a:t>Secretaría de Economía</a:t>
              </a:r>
            </a:p>
          </p:txBody>
        </p:sp>
      </p:grpSp>
      <p:sp>
        <p:nvSpPr>
          <p:cNvPr id="33" name="Rectangle 32">
            <a:extLst>
              <a:ext uri="{FF2B5EF4-FFF2-40B4-BE49-F238E27FC236}">
                <a16:creationId xmlns:a16="http://schemas.microsoft.com/office/drawing/2014/main" id="{2BFB7F30-908C-4F8F-B7C4-FDBEEB868EB7}"/>
              </a:ext>
            </a:extLst>
          </p:cNvPr>
          <p:cNvSpPr/>
          <p:nvPr/>
        </p:nvSpPr>
        <p:spPr bwMode="gray">
          <a:xfrm>
            <a:off x="340417" y="6438813"/>
            <a:ext cx="2788788" cy="34499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4" name="Rectangle 33">
            <a:extLst>
              <a:ext uri="{FF2B5EF4-FFF2-40B4-BE49-F238E27FC236}">
                <a16:creationId xmlns:a16="http://schemas.microsoft.com/office/drawing/2014/main" id="{4E117DCF-1CA5-40D7-82CF-F0F50722AE17}"/>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35" name="Rectangle 34">
            <a:extLst>
              <a:ext uri="{FF2B5EF4-FFF2-40B4-BE49-F238E27FC236}">
                <a16:creationId xmlns:a16="http://schemas.microsoft.com/office/drawing/2014/main" id="{6D1199C2-206C-427A-9DF8-2E39C6528276}"/>
              </a:ext>
            </a:extLst>
          </p:cNvPr>
          <p:cNvSpPr/>
          <p:nvPr/>
        </p:nvSpPr>
        <p:spPr bwMode="gray">
          <a:xfrm>
            <a:off x="9084848" y="6416842"/>
            <a:ext cx="2788788" cy="34499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44146290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9900" y="1097746"/>
            <a:ext cx="10418233" cy="1592403"/>
          </a:xfrm>
        </p:spPr>
        <p:txBody>
          <a:bodyPr/>
          <a:lstStyle/>
          <a:p>
            <a:r>
              <a:rPr lang="es-MX" dirty="0"/>
              <a:t>Preguntas y respuestas </a:t>
            </a:r>
          </a:p>
        </p:txBody>
      </p:sp>
    </p:spTree>
    <p:extLst>
      <p:ext uri="{BB962C8B-B14F-4D97-AF65-F5344CB8AC3E}">
        <p14:creationId xmlns:p14="http://schemas.microsoft.com/office/powerpoint/2010/main" val="173887897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E095C-69D9-4B23-87F7-36EBDD4C8C2D}"/>
              </a:ext>
            </a:extLst>
          </p:cNvPr>
          <p:cNvSpPr>
            <a:spLocks noGrp="1"/>
          </p:cNvSpPr>
          <p:nvPr>
            <p:ph type="title"/>
          </p:nvPr>
        </p:nvSpPr>
        <p:spPr/>
        <p:txBody>
          <a:bodyPr/>
          <a:lstStyle/>
          <a:p>
            <a:r>
              <a:rPr lang="es-MX" dirty="0"/>
              <a:t>Muchas Gracias!!</a:t>
            </a:r>
          </a:p>
        </p:txBody>
      </p:sp>
      <p:sp>
        <p:nvSpPr>
          <p:cNvPr id="27" name="TextBox 26">
            <a:extLst>
              <a:ext uri="{FF2B5EF4-FFF2-40B4-BE49-F238E27FC236}">
                <a16:creationId xmlns:a16="http://schemas.microsoft.com/office/drawing/2014/main" id="{AA3F1FC6-533B-4F14-96B4-A657D2D64D13}"/>
              </a:ext>
            </a:extLst>
          </p:cNvPr>
          <p:cNvSpPr txBox="1"/>
          <p:nvPr/>
        </p:nvSpPr>
        <p:spPr>
          <a:xfrm>
            <a:off x="7198686" y="5723890"/>
            <a:ext cx="2689099" cy="224399"/>
          </a:xfrm>
          <a:prstGeom prst="rect">
            <a:avLst/>
          </a:prstGeom>
          <a:noFill/>
        </p:spPr>
        <p:txBody>
          <a:bodyPr vert="horz" wrap="square" lIns="0" tIns="0" rIns="0" bIns="0" rtlCol="0">
            <a:spAutoFit/>
          </a:bodyPr>
          <a:lstStyle/>
          <a:p>
            <a:pPr algn="ctr">
              <a:buSzPct val="100000"/>
            </a:pPr>
            <a:endParaRPr lang="es-MX" sz="1200" dirty="0"/>
          </a:p>
        </p:txBody>
      </p:sp>
      <p:sp>
        <p:nvSpPr>
          <p:cNvPr id="23" name="TextBox 22">
            <a:extLst>
              <a:ext uri="{FF2B5EF4-FFF2-40B4-BE49-F238E27FC236}">
                <a16:creationId xmlns:a16="http://schemas.microsoft.com/office/drawing/2014/main" id="{AA3F1FC6-533B-4F14-96B4-A657D2D64D13}"/>
              </a:ext>
            </a:extLst>
          </p:cNvPr>
          <p:cNvSpPr txBox="1"/>
          <p:nvPr/>
        </p:nvSpPr>
        <p:spPr>
          <a:xfrm>
            <a:off x="6746816" y="3988799"/>
            <a:ext cx="2689099" cy="224399"/>
          </a:xfrm>
          <a:prstGeom prst="rect">
            <a:avLst/>
          </a:prstGeom>
          <a:noFill/>
        </p:spPr>
        <p:txBody>
          <a:bodyPr vert="horz" wrap="square" lIns="0" tIns="0" rIns="0" bIns="0" rtlCol="0">
            <a:spAutoFit/>
          </a:bodyPr>
          <a:lstStyle/>
          <a:p>
            <a:pPr algn="ctr">
              <a:buSzPct val="100000"/>
            </a:pPr>
            <a:endParaRPr lang="es-MX" sz="1200" dirty="0"/>
          </a:p>
        </p:txBody>
      </p:sp>
      <p:sp>
        <p:nvSpPr>
          <p:cNvPr id="12" name="TextBox 11">
            <a:extLst>
              <a:ext uri="{FF2B5EF4-FFF2-40B4-BE49-F238E27FC236}">
                <a16:creationId xmlns:a16="http://schemas.microsoft.com/office/drawing/2014/main" id="{AA3F1FC6-533B-4F14-96B4-A657D2D64D13}"/>
              </a:ext>
            </a:extLst>
          </p:cNvPr>
          <p:cNvSpPr txBox="1"/>
          <p:nvPr/>
        </p:nvSpPr>
        <p:spPr>
          <a:xfrm>
            <a:off x="6746816" y="3988799"/>
            <a:ext cx="2689099" cy="224399"/>
          </a:xfrm>
          <a:prstGeom prst="rect">
            <a:avLst/>
          </a:prstGeom>
          <a:noFill/>
        </p:spPr>
        <p:txBody>
          <a:bodyPr vert="horz" wrap="square" lIns="0" tIns="0" rIns="0" bIns="0" rtlCol="0">
            <a:spAutoFit/>
          </a:bodyPr>
          <a:lstStyle/>
          <a:p>
            <a:pPr algn="ctr">
              <a:buSzPct val="100000"/>
            </a:pPr>
            <a:endParaRPr lang="es-MX" sz="1200" dirty="0"/>
          </a:p>
        </p:txBody>
      </p:sp>
      <p:pic>
        <p:nvPicPr>
          <p:cNvPr id="31" name="Picture 30">
            <a:extLst>
              <a:ext uri="{FF2B5EF4-FFF2-40B4-BE49-F238E27FC236}">
                <a16:creationId xmlns:a16="http://schemas.microsoft.com/office/drawing/2014/main" id="{AFEA7C4A-0758-49E2-BCCD-4C72FC0F01B2}"/>
              </a:ext>
            </a:extLst>
          </p:cNvPr>
          <p:cNvPicPr>
            <a:picLocks noChangeAspect="1"/>
          </p:cNvPicPr>
          <p:nvPr/>
        </p:nvPicPr>
        <p:blipFill>
          <a:blip r:embed="rId3"/>
          <a:stretch>
            <a:fillRect/>
          </a:stretch>
        </p:blipFill>
        <p:spPr>
          <a:xfrm>
            <a:off x="4983837" y="1766087"/>
            <a:ext cx="2103027" cy="1943511"/>
          </a:xfrm>
          <a:prstGeom prst="rect">
            <a:avLst/>
          </a:prstGeom>
        </p:spPr>
      </p:pic>
      <p:sp>
        <p:nvSpPr>
          <p:cNvPr id="32" name="TextBox 31">
            <a:extLst>
              <a:ext uri="{FF2B5EF4-FFF2-40B4-BE49-F238E27FC236}">
                <a16:creationId xmlns:a16="http://schemas.microsoft.com/office/drawing/2014/main" id="{AA3F1FC6-533B-4F14-96B4-A657D2D64D13}"/>
              </a:ext>
            </a:extLst>
          </p:cNvPr>
          <p:cNvSpPr txBox="1"/>
          <p:nvPr/>
        </p:nvSpPr>
        <p:spPr>
          <a:xfrm>
            <a:off x="5077664" y="3800049"/>
            <a:ext cx="1915372" cy="553998"/>
          </a:xfrm>
          <a:prstGeom prst="rect">
            <a:avLst/>
          </a:prstGeom>
          <a:noFill/>
        </p:spPr>
        <p:txBody>
          <a:bodyPr vert="horz" wrap="square" lIns="0" tIns="0" rIns="0" bIns="0" rtlCol="0">
            <a:spAutoFit/>
          </a:bodyPr>
          <a:lstStyle/>
          <a:p>
            <a:pPr algn="ctr">
              <a:buSzPct val="100000"/>
            </a:pPr>
            <a:r>
              <a:rPr lang="es-MX" sz="1200" b="1" dirty="0"/>
              <a:t>Cecilia Montaño</a:t>
            </a:r>
          </a:p>
          <a:p>
            <a:pPr algn="ctr">
              <a:buSzPct val="100000"/>
            </a:pPr>
            <a:r>
              <a:rPr lang="es-MX" sz="1200" dirty="0"/>
              <a:t>Socia Líder de Comercio Exterior para México </a:t>
            </a:r>
          </a:p>
        </p:txBody>
      </p:sp>
      <p:sp>
        <p:nvSpPr>
          <p:cNvPr id="33" name="TextBox 32">
            <a:extLst>
              <a:ext uri="{FF2B5EF4-FFF2-40B4-BE49-F238E27FC236}">
                <a16:creationId xmlns:a16="http://schemas.microsoft.com/office/drawing/2014/main" id="{7C6E0C5E-520D-4F4C-BF25-BEF4E2A46028}"/>
              </a:ext>
            </a:extLst>
          </p:cNvPr>
          <p:cNvSpPr txBox="1"/>
          <p:nvPr/>
        </p:nvSpPr>
        <p:spPr>
          <a:xfrm>
            <a:off x="4370210" y="4393542"/>
            <a:ext cx="3721155" cy="1061829"/>
          </a:xfrm>
          <a:prstGeom prst="rect">
            <a:avLst/>
          </a:prstGeom>
          <a:noFill/>
        </p:spPr>
        <p:txBody>
          <a:bodyPr vert="horz" wrap="square" lIns="0" tIns="0" rIns="0" bIns="0" rtlCol="0">
            <a:spAutoFit/>
          </a:bodyPr>
          <a:lstStyle/>
          <a:p>
            <a:pPr algn="ctr">
              <a:buSzPct val="100000"/>
            </a:pPr>
            <a:r>
              <a:rPr lang="es-MX" sz="1600" dirty="0">
                <a:ea typeface="Verdana" panose="020B0604030504040204" pitchFamily="34" charset="0"/>
                <a:hlinkClick r:id="rId4"/>
              </a:rPr>
              <a:t>cmontanohernandez@deloittemx.com</a:t>
            </a:r>
            <a:endParaRPr lang="es-MX" sz="1600" dirty="0">
              <a:ea typeface="Verdana" panose="020B0604030504040204" pitchFamily="34" charset="0"/>
            </a:endParaRPr>
          </a:p>
          <a:p>
            <a:pPr algn="ctr">
              <a:buSzPct val="100000"/>
            </a:pPr>
            <a:endParaRPr lang="es-MX" sz="1600" dirty="0">
              <a:ea typeface="Verdana" panose="020B0604030504040204" pitchFamily="34" charset="0"/>
            </a:endParaRPr>
          </a:p>
          <a:p>
            <a:pPr>
              <a:spcAft>
                <a:spcPts val="600"/>
              </a:spcAft>
              <a:buSzPct val="100000"/>
            </a:pPr>
            <a:endParaRPr lang="es-MX" sz="1600" dirty="0">
              <a:ea typeface="Verdana" panose="020B0604030504040204" pitchFamily="34" charset="0"/>
            </a:endParaRPr>
          </a:p>
          <a:p>
            <a:pPr>
              <a:spcAft>
                <a:spcPts val="600"/>
              </a:spcAft>
              <a:buSzPct val="100000"/>
            </a:pPr>
            <a:endParaRPr lang="es-MX" sz="1600" dirty="0">
              <a:ea typeface="Verdana" panose="020B0604030504040204" pitchFamily="34" charset="0"/>
            </a:endParaRPr>
          </a:p>
        </p:txBody>
      </p:sp>
      <p:sp>
        <p:nvSpPr>
          <p:cNvPr id="9" name="Rectangle 8">
            <a:extLst>
              <a:ext uri="{FF2B5EF4-FFF2-40B4-BE49-F238E27FC236}">
                <a16:creationId xmlns:a16="http://schemas.microsoft.com/office/drawing/2014/main" id="{659DF4CA-073B-433A-B01E-DD2B09C3ECE7}"/>
              </a:ext>
            </a:extLst>
          </p:cNvPr>
          <p:cNvSpPr/>
          <p:nvPr/>
        </p:nvSpPr>
        <p:spPr bwMode="gray">
          <a:xfrm>
            <a:off x="228600" y="6339212"/>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10" name="Rectangle 9">
            <a:extLst>
              <a:ext uri="{FF2B5EF4-FFF2-40B4-BE49-F238E27FC236}">
                <a16:creationId xmlns:a16="http://schemas.microsoft.com/office/drawing/2014/main" id="{67051358-4606-4F9E-9A2B-29DAEF452C10}"/>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1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11" name="Rectangle 10">
            <a:extLst>
              <a:ext uri="{FF2B5EF4-FFF2-40B4-BE49-F238E27FC236}">
                <a16:creationId xmlns:a16="http://schemas.microsoft.com/office/drawing/2014/main" id="{AB7B217C-630B-4CC8-83D6-F613BBB4ED56}"/>
              </a:ext>
            </a:extLst>
          </p:cNvPr>
          <p:cNvSpPr/>
          <p:nvPr/>
        </p:nvSpPr>
        <p:spPr bwMode="gray">
          <a:xfrm>
            <a:off x="340417" y="6318537"/>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 name="Rectangle 12">
            <a:extLst>
              <a:ext uri="{FF2B5EF4-FFF2-40B4-BE49-F238E27FC236}">
                <a16:creationId xmlns:a16="http://schemas.microsoft.com/office/drawing/2014/main" id="{DAD387D6-8981-4C60-9CD2-196BFB7C4B6F}"/>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14" name="Rectangle 13">
            <a:extLst>
              <a:ext uri="{FF2B5EF4-FFF2-40B4-BE49-F238E27FC236}">
                <a16:creationId xmlns:a16="http://schemas.microsoft.com/office/drawing/2014/main" id="{58EDFEBC-3CBA-49BD-8FD0-AB2844D4BE58}"/>
              </a:ext>
            </a:extLst>
          </p:cNvPr>
          <p:cNvSpPr/>
          <p:nvPr/>
        </p:nvSpPr>
        <p:spPr bwMode="gray">
          <a:xfrm>
            <a:off x="9084848" y="6296566"/>
            <a:ext cx="2788788" cy="46527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259820299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672" y="298551"/>
            <a:ext cx="2305614" cy="437889"/>
          </a:xfrm>
          <a:prstGeom prst="rect">
            <a:avLst/>
          </a:prstGeom>
        </p:spPr>
      </p:pic>
      <p:sp>
        <p:nvSpPr>
          <p:cNvPr id="45" name="Text Placeholder 3"/>
          <p:cNvSpPr txBox="1">
            <a:spLocks/>
          </p:cNvSpPr>
          <p:nvPr/>
        </p:nvSpPr>
        <p:spPr>
          <a:xfrm>
            <a:off x="348671" y="3863195"/>
            <a:ext cx="11527895" cy="2481654"/>
          </a:xfrm>
          <a:prstGeom prst="rect">
            <a:avLst/>
          </a:prstGeom>
        </p:spPr>
        <p:txBody>
          <a:bodyPr vert="horz" lIns="91440" tIns="45720" rIns="91440" bIns="4572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ct val="0"/>
              </a:spcBef>
            </a:pPr>
            <a:r>
              <a:rPr lang="en-US" sz="1250" dirty="0">
                <a:latin typeface="Verdana" panose="020B0604030504040204" pitchFamily="34" charset="0"/>
                <a:ea typeface="Verdana" panose="020B0604030504040204" pitchFamily="34" charset="0"/>
                <a:cs typeface="Verdana" panose="020B0604030504040204" pitchFamily="34" charset="0"/>
              </a:rPr>
              <a:t>Deloitte refers to Deloitte </a:t>
            </a:r>
            <a:r>
              <a:rPr lang="en-US" sz="1250" dirty="0" err="1">
                <a:latin typeface="Verdana" panose="020B0604030504040204" pitchFamily="34" charset="0"/>
                <a:ea typeface="Verdana" panose="020B0604030504040204" pitchFamily="34" charset="0"/>
                <a:cs typeface="Verdana" panose="020B0604030504040204" pitchFamily="34" charset="0"/>
              </a:rPr>
              <a:t>Touche</a:t>
            </a:r>
            <a:r>
              <a:rPr lang="en-US" sz="1250" dirty="0">
                <a:latin typeface="Verdana" panose="020B0604030504040204" pitchFamily="34" charset="0"/>
                <a:ea typeface="Verdana" panose="020B0604030504040204" pitchFamily="34" charset="0"/>
                <a:cs typeface="Verdana" panose="020B0604030504040204" pitchFamily="34" charset="0"/>
              </a:rPr>
              <a:t> Tohmatsu Limited, a private limited liability company in the United Kingdom, and its network of member firms, each of which is a unique and independent legal entity. Get to know at www.deloitte.com/mx/contact us the detailed description of the legal structure of Deloitte </a:t>
            </a:r>
            <a:r>
              <a:rPr lang="en-US" sz="1250" dirty="0" err="1">
                <a:latin typeface="Verdana" panose="020B0604030504040204" pitchFamily="34" charset="0"/>
                <a:ea typeface="Verdana" panose="020B0604030504040204" pitchFamily="34" charset="0"/>
                <a:cs typeface="Verdana" panose="020B0604030504040204" pitchFamily="34" charset="0"/>
              </a:rPr>
              <a:t>Touche</a:t>
            </a:r>
            <a:r>
              <a:rPr lang="en-US" sz="1250" dirty="0">
                <a:latin typeface="Verdana" panose="020B0604030504040204" pitchFamily="34" charset="0"/>
                <a:ea typeface="Verdana" panose="020B0604030504040204" pitchFamily="34" charset="0"/>
                <a:cs typeface="Verdana" panose="020B0604030504040204" pitchFamily="34" charset="0"/>
              </a:rPr>
              <a:t> Tohmatsu Limited and its member firms.</a:t>
            </a:r>
          </a:p>
          <a:p>
            <a:pPr marL="0" indent="0" algn="just">
              <a:spcBef>
                <a:spcPct val="0"/>
              </a:spcBef>
            </a:pPr>
            <a:r>
              <a:rPr lang="en-US" sz="1250" dirty="0">
                <a:latin typeface="Verdana" panose="020B0604030504040204" pitchFamily="34" charset="0"/>
                <a:ea typeface="Verdana" panose="020B0604030504040204" pitchFamily="34" charset="0"/>
                <a:cs typeface="Verdana" panose="020B0604030504040204" pitchFamily="34" charset="0"/>
              </a:rPr>
              <a:t>Deloitte provides professional audit, tax and legal services, consulting and advisory services to public and private clients in various industries. With a global network of member firms in more than 150 countries, Deloitte provides world-class capabilities and high-quality service to its clients, providing the necessary experience to face the most complex business challenges. The more than 225,000 professionals at Deloitte are committed to achieving significant impacts.</a:t>
            </a:r>
          </a:p>
          <a:p>
            <a:pPr marL="0" indent="0" algn="just">
              <a:spcBef>
                <a:spcPct val="0"/>
              </a:spcBef>
            </a:pPr>
            <a:endParaRPr lang="en-US" sz="1250" dirty="0">
              <a:latin typeface="Verdana" panose="020B0604030504040204" pitchFamily="34" charset="0"/>
              <a:ea typeface="Verdana" panose="020B0604030504040204" pitchFamily="34" charset="0"/>
              <a:cs typeface="Verdana" panose="020B0604030504040204" pitchFamily="34" charset="0"/>
            </a:endParaRPr>
          </a:p>
          <a:p>
            <a:pPr marL="0" indent="0" algn="just">
              <a:spcBef>
                <a:spcPct val="0"/>
              </a:spcBef>
            </a:pPr>
            <a:r>
              <a:rPr lang="en-US" sz="1250" dirty="0">
                <a:latin typeface="Verdana" panose="020B0604030504040204" pitchFamily="34" charset="0"/>
                <a:ea typeface="Verdana" panose="020B0604030504040204" pitchFamily="34" charset="0"/>
                <a:cs typeface="Verdana" panose="020B0604030504040204" pitchFamily="34" charset="0"/>
              </a:rPr>
              <a:t>As used in this document, "Deloitte" means </a:t>
            </a:r>
            <a:r>
              <a:rPr lang="en-US" sz="1250" dirty="0" err="1">
                <a:latin typeface="Verdana" panose="020B0604030504040204" pitchFamily="34" charset="0"/>
                <a:ea typeface="Verdana" panose="020B0604030504040204" pitchFamily="34" charset="0"/>
                <a:cs typeface="Verdana" panose="020B0604030504040204" pitchFamily="34" charset="0"/>
              </a:rPr>
              <a:t>Galaz</a:t>
            </a:r>
            <a:r>
              <a:rPr lang="en-US" sz="1250" dirty="0">
                <a:latin typeface="Verdana" panose="020B0604030504040204" pitchFamily="34" charset="0"/>
                <a:ea typeface="Verdana" panose="020B0604030504040204" pitchFamily="34" charset="0"/>
                <a:cs typeface="Verdana" panose="020B0604030504040204" pitchFamily="34" charset="0"/>
              </a:rPr>
              <a:t>, Yamazaki, Ruiz </a:t>
            </a:r>
            <a:r>
              <a:rPr lang="en-US" sz="1250" dirty="0" err="1">
                <a:latin typeface="Verdana" panose="020B0604030504040204" pitchFamily="34" charset="0"/>
                <a:ea typeface="Verdana" panose="020B0604030504040204" pitchFamily="34" charset="0"/>
                <a:cs typeface="Verdana" panose="020B0604030504040204" pitchFamily="34" charset="0"/>
              </a:rPr>
              <a:t>Urquiza</a:t>
            </a:r>
            <a:r>
              <a:rPr lang="en-US" sz="1250" dirty="0">
                <a:latin typeface="Verdana" panose="020B0604030504040204" pitchFamily="34" charset="0"/>
                <a:ea typeface="Verdana" panose="020B0604030504040204" pitchFamily="34" charset="0"/>
                <a:cs typeface="Verdana" panose="020B0604030504040204" pitchFamily="34" charset="0"/>
              </a:rPr>
              <a:t>, SC, which has the exclusive legal right to be involved in, and limits its business to, the provision of audit services, tax consulting, consulting and other professional services in Mexico, under the name of "Deloitte".</a:t>
            </a:r>
          </a:p>
          <a:p>
            <a:pPr marL="0" indent="0" algn="just">
              <a:spcBef>
                <a:spcPct val="0"/>
              </a:spcBef>
            </a:pPr>
            <a:endParaRPr lang="en-US" sz="1250" dirty="0">
              <a:latin typeface="Verdana" panose="020B0604030504040204" pitchFamily="34" charset="0"/>
              <a:ea typeface="Verdana" panose="020B0604030504040204" pitchFamily="34" charset="0"/>
              <a:cs typeface="Verdana" panose="020B0604030504040204" pitchFamily="34" charset="0"/>
            </a:endParaRPr>
          </a:p>
          <a:p>
            <a:pPr marL="0" indent="0" algn="just">
              <a:spcBef>
                <a:spcPct val="0"/>
              </a:spcBef>
            </a:pPr>
            <a:r>
              <a:rPr lang="en-US" sz="1250" dirty="0">
                <a:latin typeface="Verdana" panose="020B0604030504040204" pitchFamily="34" charset="0"/>
                <a:ea typeface="Verdana" panose="020B0604030504040204" pitchFamily="34" charset="0"/>
                <a:cs typeface="Verdana" panose="020B0604030504040204" pitchFamily="34" charset="0"/>
              </a:rPr>
              <a:t>This publication only contains general information and neither Deloitte </a:t>
            </a:r>
            <a:r>
              <a:rPr lang="en-US" sz="1250" dirty="0" err="1">
                <a:latin typeface="Verdana" panose="020B0604030504040204" pitchFamily="34" charset="0"/>
                <a:ea typeface="Verdana" panose="020B0604030504040204" pitchFamily="34" charset="0"/>
                <a:cs typeface="Verdana" panose="020B0604030504040204" pitchFamily="34" charset="0"/>
              </a:rPr>
              <a:t>Touche</a:t>
            </a:r>
            <a:r>
              <a:rPr lang="en-US" sz="1250" dirty="0">
                <a:latin typeface="Verdana" panose="020B0604030504040204" pitchFamily="34" charset="0"/>
                <a:ea typeface="Verdana" panose="020B0604030504040204" pitchFamily="34" charset="0"/>
                <a:cs typeface="Verdana" panose="020B0604030504040204" pitchFamily="34" charset="0"/>
              </a:rPr>
              <a:t> Tohmatsu Limited, nor its member firms, nor any of its respective affiliates (collectively the "Red Deloitte"), provides advice or services through this publication. Before making any decision or action that may affect your finances or business, you should consult a qualified professional advisor. No entity of the Deloitte Network shall be liable for losses that any person or entity that may consult this publication may suffer.</a:t>
            </a:r>
            <a:endParaRPr lang="es-MX" sz="1250" dirty="0">
              <a:latin typeface="Verdana" panose="020B0604030504040204" pitchFamily="34" charset="0"/>
              <a:ea typeface="Verdana" panose="020B0604030504040204" pitchFamily="34" charset="0"/>
              <a:cs typeface="Verdana" panose="020B0604030504040204" pitchFamily="34" charset="0"/>
            </a:endParaRPr>
          </a:p>
        </p:txBody>
      </p:sp>
      <p:sp>
        <p:nvSpPr>
          <p:cNvPr id="4" name="Rectangle 3">
            <a:extLst>
              <a:ext uri="{FF2B5EF4-FFF2-40B4-BE49-F238E27FC236}">
                <a16:creationId xmlns:a16="http://schemas.microsoft.com/office/drawing/2014/main" id="{0BF315D2-B6C0-4476-BECE-FFE7D08C8438}"/>
              </a:ext>
            </a:extLst>
          </p:cNvPr>
          <p:cNvSpPr/>
          <p:nvPr/>
        </p:nvSpPr>
        <p:spPr bwMode="gray">
          <a:xfrm>
            <a:off x="340417" y="6438813"/>
            <a:ext cx="2788788" cy="34499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 name="Rectangle 4">
            <a:extLst>
              <a:ext uri="{FF2B5EF4-FFF2-40B4-BE49-F238E27FC236}">
                <a16:creationId xmlns:a16="http://schemas.microsoft.com/office/drawing/2014/main" id="{9E940ADC-1898-4D55-B372-FB1B91A1A569}"/>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
        <p:nvSpPr>
          <p:cNvPr id="6" name="Rectangle 5">
            <a:extLst>
              <a:ext uri="{FF2B5EF4-FFF2-40B4-BE49-F238E27FC236}">
                <a16:creationId xmlns:a16="http://schemas.microsoft.com/office/drawing/2014/main" id="{A58C176E-A995-4DFC-BA46-572F76422A43}"/>
              </a:ext>
            </a:extLst>
          </p:cNvPr>
          <p:cNvSpPr/>
          <p:nvPr/>
        </p:nvSpPr>
        <p:spPr bwMode="gray">
          <a:xfrm>
            <a:off x="8956157" y="6258542"/>
            <a:ext cx="2788788" cy="34499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8" name="Rectangle 7">
            <a:extLst>
              <a:ext uri="{FF2B5EF4-FFF2-40B4-BE49-F238E27FC236}">
                <a16:creationId xmlns:a16="http://schemas.microsoft.com/office/drawing/2014/main" id="{F01206A9-5DBD-437C-99C8-6D87A44C068F}"/>
              </a:ext>
            </a:extLst>
          </p:cNvPr>
          <p:cNvSpPr/>
          <p:nvPr/>
        </p:nvSpPr>
        <p:spPr bwMode="gray">
          <a:xfrm>
            <a:off x="492817" y="6591213"/>
            <a:ext cx="2788788" cy="34499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Tree>
    <p:extLst>
      <p:ext uri="{BB962C8B-B14F-4D97-AF65-F5344CB8AC3E}">
        <p14:creationId xmlns:p14="http://schemas.microsoft.com/office/powerpoint/2010/main" val="21418695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0" y="715100"/>
            <a:ext cx="11188700" cy="757255"/>
          </a:xfrm>
        </p:spPr>
        <p:txBody>
          <a:bodyPr/>
          <a:lstStyle/>
          <a:p>
            <a:r>
              <a:rPr lang="es-MX" dirty="0"/>
              <a:t>Cambios que impactan </a:t>
            </a:r>
          </a:p>
        </p:txBody>
      </p:sp>
      <p:sp>
        <p:nvSpPr>
          <p:cNvPr id="37" name="Title 14"/>
          <p:cNvSpPr>
            <a:spLocks noGrp="1"/>
          </p:cNvSpPr>
          <p:nvPr>
            <p:ph type="title"/>
          </p:nvPr>
        </p:nvSpPr>
        <p:spPr/>
        <p:txBody>
          <a:bodyPr/>
          <a:lstStyle/>
          <a:p>
            <a:r>
              <a:rPr lang="es-MX" dirty="0"/>
              <a:t>Novedades en materia de Comercio Exterior</a:t>
            </a:r>
            <a:endParaRPr lang="es-MX" noProof="0" dirty="0"/>
          </a:p>
        </p:txBody>
      </p:sp>
      <p:sp>
        <p:nvSpPr>
          <p:cNvPr id="43" name="Rectangle 42">
            <a:extLst>
              <a:ext uri="{FF2B5EF4-FFF2-40B4-BE49-F238E27FC236}">
                <a16:creationId xmlns:a16="http://schemas.microsoft.com/office/drawing/2014/main" id="{9B9B23AA-050D-4543-80A0-873FE31AFFF7}"/>
              </a:ext>
            </a:extLst>
          </p:cNvPr>
          <p:cNvSpPr/>
          <p:nvPr/>
        </p:nvSpPr>
        <p:spPr>
          <a:xfrm>
            <a:off x="1285045" y="1849109"/>
            <a:ext cx="6927274" cy="257250"/>
          </a:xfrm>
          <a:prstGeom prst="rect">
            <a:avLst/>
          </a:prstGeom>
        </p:spPr>
        <p:txBody>
          <a:bodyPr wrap="square" lIns="0" tIns="0" rIns="0" bIns="0">
            <a:spAutoFit/>
          </a:bodyPr>
          <a:lstStyle/>
          <a:p>
            <a:pPr lvl="0">
              <a:lnSpc>
                <a:spcPct val="110000"/>
              </a:lnSpc>
            </a:pPr>
            <a:r>
              <a:rPr lang="es-MX" sz="1600" b="1" dirty="0">
                <a:solidFill>
                  <a:srgbClr val="40972B"/>
                </a:solidFill>
                <a:latin typeface="+mj-lt"/>
                <a:ea typeface="Open Sans Semibold" panose="020B0706030804020204" pitchFamily="34" charset="0"/>
                <a:cs typeface="Calibri Light" panose="020F0302020204030204" pitchFamily="34" charset="0"/>
              </a:rPr>
              <a:t>Movimientos en la Agencia Nacional Aduanas Mexico</a:t>
            </a:r>
          </a:p>
        </p:txBody>
      </p:sp>
      <p:grpSp>
        <p:nvGrpSpPr>
          <p:cNvPr id="13" name="Group 12"/>
          <p:cNvGrpSpPr/>
          <p:nvPr/>
        </p:nvGrpSpPr>
        <p:grpSpPr>
          <a:xfrm>
            <a:off x="469900" y="1665288"/>
            <a:ext cx="678810" cy="678810"/>
            <a:chOff x="376239" y="3744979"/>
            <a:chExt cx="678810" cy="678810"/>
          </a:xfrm>
        </p:grpSpPr>
        <p:sp>
          <p:nvSpPr>
            <p:cNvPr id="15" name="Oval 14"/>
            <p:cNvSpPr/>
            <p:nvPr/>
          </p:nvSpPr>
          <p:spPr bwMode="gray">
            <a:xfrm rot="5400000">
              <a:off x="376239" y="3744979"/>
              <a:ext cx="678810" cy="67881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6" name="Oval 15"/>
            <p:cNvSpPr/>
            <p:nvPr/>
          </p:nvSpPr>
          <p:spPr bwMode="gray">
            <a:xfrm rot="5400000">
              <a:off x="400874" y="3769614"/>
              <a:ext cx="629540" cy="629540"/>
            </a:xfrm>
            <a:prstGeom prst="ellipse">
              <a:avLst/>
            </a:prstGeom>
            <a:solidFill>
              <a:schemeClr val="accent3">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700" b="1">
                <a:solidFill>
                  <a:schemeClr val="bg1"/>
                </a:solidFill>
                <a:latin typeface="+mj-lt"/>
              </a:endParaRPr>
            </a:p>
          </p:txBody>
        </p:sp>
        <p:sp>
          <p:nvSpPr>
            <p:cNvPr id="17" name="Oval 16"/>
            <p:cNvSpPr/>
            <p:nvPr/>
          </p:nvSpPr>
          <p:spPr bwMode="gray">
            <a:xfrm>
              <a:off x="447996" y="3807112"/>
              <a:ext cx="554546" cy="554545"/>
            </a:xfrm>
            <a:prstGeom prst="ellipse">
              <a:avLst/>
            </a:prstGeom>
            <a:solidFill>
              <a:schemeClr val="accent3">
                <a:alpha val="50000"/>
              </a:schemeClr>
            </a:solidFill>
            <a:ln w="28575" algn="ctr">
              <a:solidFill>
                <a:schemeClr val="bg1"/>
              </a:solidFill>
              <a:miter lim="800000"/>
              <a:headEnd/>
              <a:tailEnd/>
            </a:ln>
          </p:spPr>
          <p:txBody>
            <a:bodyPr wrap="square" lIns="88900" tIns="88900" rIns="88900" bIns="88900" rtlCol="0" anchor="ctr"/>
            <a:lstStyle/>
            <a:p>
              <a:pPr algn="ctr"/>
              <a:r>
                <a:rPr lang="es-MX" sz="1600" b="1" i="1">
                  <a:solidFill>
                    <a:schemeClr val="bg1"/>
                  </a:solidFill>
                  <a:latin typeface="+mj-lt"/>
                  <a:cs typeface="Calibri" panose="020F0502020204030204" pitchFamily="34" charset="0"/>
                </a:rPr>
                <a:t> </a:t>
              </a:r>
            </a:p>
          </p:txBody>
        </p:sp>
        <p:sp>
          <p:nvSpPr>
            <p:cNvPr id="18" name="TextBox 17"/>
            <p:cNvSpPr txBox="1"/>
            <p:nvPr/>
          </p:nvSpPr>
          <p:spPr>
            <a:xfrm>
              <a:off x="636838" y="3892034"/>
              <a:ext cx="155492" cy="369332"/>
            </a:xfrm>
            <a:prstGeom prst="rect">
              <a:avLst/>
            </a:prstGeom>
            <a:noFill/>
          </p:spPr>
          <p:txBody>
            <a:bodyPr wrap="square" lIns="0" tIns="0" rIns="0" bIns="0" rtlCol="0">
              <a:spAutoFit/>
            </a:bodyPr>
            <a:lstStyle/>
            <a:p>
              <a:pPr>
                <a:spcBef>
                  <a:spcPts val="600"/>
                </a:spcBef>
                <a:buSzPct val="100000"/>
              </a:pPr>
              <a:r>
                <a:rPr lang="es-MX" sz="2400" b="1" i="1" dirty="0">
                  <a:solidFill>
                    <a:schemeClr val="bg1"/>
                  </a:solidFill>
                  <a:latin typeface="+mj-lt"/>
                </a:rPr>
                <a:t>3</a:t>
              </a:r>
            </a:p>
          </p:txBody>
        </p:sp>
      </p:grpSp>
      <p:sp>
        <p:nvSpPr>
          <p:cNvPr id="10" name="Text Placeholder 6"/>
          <p:cNvSpPr txBox="1">
            <a:spLocks/>
          </p:cNvSpPr>
          <p:nvPr/>
        </p:nvSpPr>
        <p:spPr>
          <a:xfrm>
            <a:off x="479231" y="2475937"/>
            <a:ext cx="7308580" cy="2959442"/>
          </a:xfrm>
          <a:prstGeom prst="rect">
            <a:avLst/>
          </a:prstGeom>
        </p:spPr>
        <p:txBody>
          <a:bodyPr>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lgn="just">
              <a:buNone/>
            </a:pPr>
            <a:r>
              <a:rPr lang="es-MX" sz="1600" b="1" dirty="0"/>
              <a:t>El pasado 12 de octubre </a:t>
            </a:r>
            <a:r>
              <a:rPr lang="es-MX" sz="1600" dirty="0"/>
              <a:t>deja su cargo </a:t>
            </a:r>
            <a:r>
              <a:rPr lang="es-MX" sz="1600" b="1" dirty="0"/>
              <a:t>Horacio Duarte Olivares, titular de la Agencia Nacional de Aduanas Mexico (ANAM),</a:t>
            </a:r>
            <a:r>
              <a:rPr lang="es-MX" sz="1600" dirty="0"/>
              <a:t>para unirse al equipo de Delfina Gomez, candidata de Morena para las elecciones del Estado de México.</a:t>
            </a:r>
          </a:p>
          <a:p>
            <a:pPr marL="0" lvl="2" indent="0" algn="just">
              <a:buNone/>
            </a:pPr>
            <a:r>
              <a:rPr lang="es-MX" sz="1600" dirty="0"/>
              <a:t>Se espera que la </a:t>
            </a:r>
            <a:r>
              <a:rPr lang="es-MX" sz="1600" b="1" dirty="0"/>
              <a:t>mayoría de los puestos de trabajo</a:t>
            </a:r>
            <a:r>
              <a:rPr lang="es-MX" sz="1600" dirty="0"/>
              <a:t>, ocupados por no militares, sean </a:t>
            </a:r>
            <a:r>
              <a:rPr lang="es-MX" sz="1600" b="1" dirty="0"/>
              <a:t>transaccionados a ser ocupados por militares.</a:t>
            </a:r>
          </a:p>
        </p:txBody>
      </p:sp>
      <p:sp>
        <p:nvSpPr>
          <p:cNvPr id="12" name="Rectangle 11">
            <a:extLst>
              <a:ext uri="{FF2B5EF4-FFF2-40B4-BE49-F238E27FC236}">
                <a16:creationId xmlns:a16="http://schemas.microsoft.com/office/drawing/2014/main" id="{BB8EDAAA-91B2-4723-B723-EB26651DF5B6}"/>
              </a:ext>
            </a:extLst>
          </p:cNvPr>
          <p:cNvSpPr/>
          <p:nvPr/>
        </p:nvSpPr>
        <p:spPr bwMode="gray">
          <a:xfrm>
            <a:off x="228600" y="6339212"/>
            <a:ext cx="11495204" cy="32297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MX" sz="1600" b="1" dirty="0">
              <a:solidFill>
                <a:schemeClr val="bg1"/>
              </a:solidFill>
            </a:endParaRPr>
          </a:p>
        </p:txBody>
      </p:sp>
      <p:sp>
        <p:nvSpPr>
          <p:cNvPr id="21" name="Rectangle 20">
            <a:extLst>
              <a:ext uri="{FF2B5EF4-FFF2-40B4-BE49-F238E27FC236}">
                <a16:creationId xmlns:a16="http://schemas.microsoft.com/office/drawing/2014/main" id="{AEA8774A-7C70-4B80-B594-F3D97E5ABDCF}"/>
              </a:ext>
            </a:extLst>
          </p:cNvPr>
          <p:cNvSpPr/>
          <p:nvPr/>
        </p:nvSpPr>
        <p:spPr>
          <a:xfrm>
            <a:off x="535104" y="6329886"/>
            <a:ext cx="27007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pic>
        <p:nvPicPr>
          <p:cNvPr id="20482" name="Picture 2" descr="El presidente de México, Andrés Manuel López Obrador, y Horacio Duarte Olivares, tras su renuncia como titular de la Agencia Nacional de Aduanas, el 12 de octubre de 2022.">
            <a:extLst>
              <a:ext uri="{FF2B5EF4-FFF2-40B4-BE49-F238E27FC236}">
                <a16:creationId xmlns:a16="http://schemas.microsoft.com/office/drawing/2014/main" id="{DA5274FA-7DAC-4096-944B-ED1336AE79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2174" y="2455721"/>
            <a:ext cx="3943350" cy="2828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13352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432" y="2081053"/>
            <a:ext cx="5411136" cy="1592403"/>
          </a:xfrm>
        </p:spPr>
        <p:txBody>
          <a:bodyPr/>
          <a:lstStyle/>
          <a:p>
            <a:r>
              <a:rPr lang="es-MX" dirty="0">
                <a:solidFill>
                  <a:schemeClr val="bg1"/>
                </a:solidFill>
              </a:rPr>
              <a:t>Tendencias en facultades de comprobación</a:t>
            </a:r>
            <a:br>
              <a:rPr lang="es-MX" dirty="0">
                <a:solidFill>
                  <a:schemeClr val="bg1"/>
                </a:solidFill>
              </a:rPr>
            </a:br>
            <a:r>
              <a:rPr lang="es-MX" dirty="0">
                <a:solidFill>
                  <a:schemeClr val="bg1"/>
                </a:solidFill>
              </a:rPr>
              <a:t>de comercio exterior</a:t>
            </a:r>
            <a:endParaRPr lang="en-US" dirty="0">
              <a:solidFill>
                <a:schemeClr val="bg1"/>
              </a:solidFill>
            </a:endParaRPr>
          </a:p>
        </p:txBody>
      </p:sp>
      <p:grpSp>
        <p:nvGrpSpPr>
          <p:cNvPr id="5" name="Group 4">
            <a:extLst>
              <a:ext uri="{FF2B5EF4-FFF2-40B4-BE49-F238E27FC236}">
                <a16:creationId xmlns:a16="http://schemas.microsoft.com/office/drawing/2014/main" id="{E78523AA-C265-4269-B70C-D4C41B5A16ED}"/>
              </a:ext>
            </a:extLst>
          </p:cNvPr>
          <p:cNvGrpSpPr/>
          <p:nvPr/>
        </p:nvGrpSpPr>
        <p:grpSpPr>
          <a:xfrm>
            <a:off x="6966371" y="1654275"/>
            <a:ext cx="3410718" cy="3549449"/>
            <a:chOff x="3872762" y="1017588"/>
            <a:chExt cx="4451150" cy="4538082"/>
          </a:xfrm>
        </p:grpSpPr>
        <p:sp>
          <p:nvSpPr>
            <p:cNvPr id="6" name="Oval 5">
              <a:extLst>
                <a:ext uri="{FF2B5EF4-FFF2-40B4-BE49-F238E27FC236}">
                  <a16:creationId xmlns:a16="http://schemas.microsoft.com/office/drawing/2014/main" id="{64B86265-EDFA-48C2-A723-BBDAA3496BC9}"/>
                </a:ext>
              </a:extLst>
            </p:cNvPr>
            <p:cNvSpPr/>
            <p:nvPr/>
          </p:nvSpPr>
          <p:spPr bwMode="gray">
            <a:xfrm>
              <a:off x="3976724" y="1113576"/>
              <a:ext cx="4347188" cy="4347188"/>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899E5D9E-70DA-4568-8263-2836CADD13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2762" y="1017588"/>
              <a:ext cx="4446475" cy="4538082"/>
            </a:xfrm>
            <a:prstGeom prst="rect">
              <a:avLst/>
            </a:prstGeom>
          </p:spPr>
        </p:pic>
      </p:grpSp>
      <p:sp>
        <p:nvSpPr>
          <p:cNvPr id="8" name="TextBox 7">
            <a:extLst>
              <a:ext uri="{FF2B5EF4-FFF2-40B4-BE49-F238E27FC236}">
                <a16:creationId xmlns:a16="http://schemas.microsoft.com/office/drawing/2014/main" id="{39238435-F95B-4218-AFA8-833A0111BC34}"/>
              </a:ext>
            </a:extLst>
          </p:cNvPr>
          <p:cNvSpPr txBox="1"/>
          <p:nvPr/>
        </p:nvSpPr>
        <p:spPr>
          <a:xfrm>
            <a:off x="11382377" y="6477000"/>
            <a:ext cx="307975"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fld id="{C58DF478-B544-4ED8-9ED4-6A2648E2D233}" type="slidenum">
              <a:rPr kumimoji="0" lang="en-US" sz="900" b="0" i="0" u="none" strike="noStrike" kern="1200" cap="none" spc="0" normalizeH="0" baseline="0" noProof="0" smtClean="0">
                <a:ln>
                  <a:noFill/>
                </a:ln>
                <a:solidFill>
                  <a:prstClr val="white"/>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ts val="600"/>
                </a:spcBef>
                <a:spcAft>
                  <a:spcPts val="0"/>
                </a:spcAft>
                <a:buClrTx/>
                <a:buSzPct val="100000"/>
                <a:buFont typeface="Arial"/>
                <a:buNone/>
                <a:tabLst/>
                <a:defRPr/>
              </a:pPr>
              <a:t>7</a:t>
            </a:fld>
            <a:endParaRPr kumimoji="0" lang="en-US" sz="900" b="0" i="0" u="none" strike="noStrike" kern="120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9" name="Rectangle 8">
            <a:extLst>
              <a:ext uri="{FF2B5EF4-FFF2-40B4-BE49-F238E27FC236}">
                <a16:creationId xmlns:a16="http://schemas.microsoft.com/office/drawing/2014/main" id="{E0F54F77-A312-4CA5-86EF-5839D128CFB8}"/>
              </a:ext>
            </a:extLst>
          </p:cNvPr>
          <p:cNvSpPr/>
          <p:nvPr/>
        </p:nvSpPr>
        <p:spPr bwMode="gray">
          <a:xfrm>
            <a:off x="8126935" y="6223518"/>
            <a:ext cx="3331057" cy="415498"/>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 name="TextBox 9">
            <a:extLst>
              <a:ext uri="{FF2B5EF4-FFF2-40B4-BE49-F238E27FC236}">
                <a16:creationId xmlns:a16="http://schemas.microsoft.com/office/drawing/2014/main" id="{D90D5819-291D-4696-8DEF-3ACD192208ED}"/>
              </a:ext>
            </a:extLst>
          </p:cNvPr>
          <p:cNvSpPr txBox="1"/>
          <p:nvPr/>
        </p:nvSpPr>
        <p:spPr>
          <a:xfrm>
            <a:off x="6335184" y="6469257"/>
            <a:ext cx="4896560" cy="41549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0" lang="es-MX" altLang="es-ES_tradnl" sz="9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580454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0544373" y="133472"/>
            <a:ext cx="1097803" cy="1199742"/>
            <a:chOff x="774459" y="2132409"/>
            <a:chExt cx="1944823" cy="2491327"/>
          </a:xfrm>
        </p:grpSpPr>
        <p:grpSp>
          <p:nvGrpSpPr>
            <p:cNvPr id="101"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514663" y="2591717"/>
              <a:ext cx="464416" cy="460074"/>
              <a:chOff x="2920" y="2264"/>
              <a:chExt cx="340" cy="340"/>
            </a:xfrm>
            <a:solidFill>
              <a:schemeClr val="accent5"/>
            </a:solidFill>
          </p:grpSpPr>
          <p:sp>
            <p:nvSpPr>
              <p:cNvPr id="115"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6"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17"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102" name="Group 101">
              <a:extLst>
                <a:ext uri="{FF2B5EF4-FFF2-40B4-BE49-F238E27FC236}">
                  <a16:creationId xmlns:a16="http://schemas.microsoft.com/office/drawing/2014/main" id="{648D6542-F5A6-4271-A321-4012662AA23B}"/>
                </a:ext>
              </a:extLst>
            </p:cNvPr>
            <p:cNvGrpSpPr/>
            <p:nvPr/>
          </p:nvGrpSpPr>
          <p:grpSpPr>
            <a:xfrm>
              <a:off x="774459" y="2132409"/>
              <a:ext cx="1944823" cy="358453"/>
              <a:chOff x="413228" y="1371600"/>
              <a:chExt cx="1947702" cy="476173"/>
            </a:xfrm>
          </p:grpSpPr>
          <p:sp>
            <p:nvSpPr>
              <p:cNvPr id="112"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3"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14"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Fundamento</a:t>
                </a:r>
              </a:p>
            </p:txBody>
          </p:sp>
        </p:grpSp>
        <p:grpSp>
          <p:nvGrpSpPr>
            <p:cNvPr id="103" name="Group 102">
              <a:extLst>
                <a:ext uri="{FF2B5EF4-FFF2-40B4-BE49-F238E27FC236}">
                  <a16:creationId xmlns:a16="http://schemas.microsoft.com/office/drawing/2014/main" id="{DFD3E7B2-3428-4824-A54D-B24C483AB07C}"/>
                </a:ext>
              </a:extLst>
            </p:cNvPr>
            <p:cNvGrpSpPr/>
            <p:nvPr/>
          </p:nvGrpSpPr>
          <p:grpSpPr>
            <a:xfrm>
              <a:off x="774459" y="3570175"/>
              <a:ext cx="1944823" cy="1053561"/>
              <a:chOff x="582909" y="4047068"/>
              <a:chExt cx="2642778" cy="1686277"/>
            </a:xfrm>
          </p:grpSpPr>
          <p:sp>
            <p:nvSpPr>
              <p:cNvPr id="110" name="Rectangle 109">
                <a:extLst>
                  <a:ext uri="{FF2B5EF4-FFF2-40B4-BE49-F238E27FC236}">
                    <a16:creationId xmlns:a16="http://schemas.microsoft.com/office/drawing/2014/main" id="{FF36E524-1298-445B-81CC-5F5266C44617}"/>
                  </a:ext>
                </a:extLst>
              </p:cNvPr>
              <p:cNvSpPr/>
              <p:nvPr/>
            </p:nvSpPr>
            <p:spPr bwMode="gray">
              <a:xfrm>
                <a:off x="582909" y="4047068"/>
                <a:ext cx="2642778" cy="1644370"/>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l Artículo 33 Fr. III del Código Fiscal de la Federación (CFF)</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11" name="Rectangle 110">
                <a:extLst>
                  <a:ext uri="{FF2B5EF4-FFF2-40B4-BE49-F238E27FC236}">
                    <a16:creationId xmlns:a16="http://schemas.microsoft.com/office/drawing/2014/main" id="{875A85C2-DD85-4D2D-9BAB-86FD318B6471}"/>
                  </a:ext>
                </a:extLst>
              </p:cNvPr>
              <p:cNvSpPr/>
              <p:nvPr/>
            </p:nvSpPr>
            <p:spPr bwMode="gray">
              <a:xfrm>
                <a:off x="756473" y="5645648"/>
                <a:ext cx="2295650" cy="87697"/>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104" name="Group 103">
              <a:extLst>
                <a:ext uri="{FF2B5EF4-FFF2-40B4-BE49-F238E27FC236}">
                  <a16:creationId xmlns:a16="http://schemas.microsoft.com/office/drawing/2014/main" id="{D1192240-DB18-4602-BC96-F713F51F5EA2}"/>
                </a:ext>
              </a:extLst>
            </p:cNvPr>
            <p:cNvGrpSpPr/>
            <p:nvPr/>
          </p:nvGrpSpPr>
          <p:grpSpPr>
            <a:xfrm>
              <a:off x="1427950" y="2490862"/>
              <a:ext cx="637841" cy="1054731"/>
              <a:chOff x="757805" y="1635343"/>
              <a:chExt cx="1185062" cy="2012973"/>
            </a:xfrm>
          </p:grpSpPr>
          <p:sp>
            <p:nvSpPr>
              <p:cNvPr id="105"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6"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7"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8"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9" name="Oval 108">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sp>
        <p:nvSpPr>
          <p:cNvPr id="118" name="Hexagon 10">
            <a:extLst>
              <a:ext uri="{FF2B5EF4-FFF2-40B4-BE49-F238E27FC236}">
                <a16:creationId xmlns:a16="http://schemas.microsoft.com/office/drawing/2014/main" id="{4ED4AE5B-720C-45AB-AA9B-8BBC3938757E}"/>
              </a:ext>
            </a:extLst>
          </p:cNvPr>
          <p:cNvSpPr/>
          <p:nvPr/>
        </p:nvSpPr>
        <p:spPr bwMode="gray">
          <a:xfrm rot="5400000">
            <a:off x="744841" y="5008198"/>
            <a:ext cx="1285695" cy="1116150"/>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119" name="Hexagon 118">
            <a:extLst>
              <a:ext uri="{FF2B5EF4-FFF2-40B4-BE49-F238E27FC236}">
                <a16:creationId xmlns:a16="http://schemas.microsoft.com/office/drawing/2014/main" id="{BAB72693-D087-4056-8E36-8053277E574E}"/>
              </a:ext>
            </a:extLst>
          </p:cNvPr>
          <p:cNvSpPr/>
          <p:nvPr/>
        </p:nvSpPr>
        <p:spPr bwMode="gray">
          <a:xfrm rot="16200000">
            <a:off x="840865" y="5103127"/>
            <a:ext cx="1084781" cy="935156"/>
          </a:xfrm>
          <a:prstGeom prst="hexagon">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20" name="Straight Connector 119">
            <a:extLst>
              <a:ext uri="{FF2B5EF4-FFF2-40B4-BE49-F238E27FC236}">
                <a16:creationId xmlns:a16="http://schemas.microsoft.com/office/drawing/2014/main" id="{C374A749-0585-4784-9822-B5042377F5C8}"/>
              </a:ext>
            </a:extLst>
          </p:cNvPr>
          <p:cNvCxnSpPr>
            <a:cxnSpLocks/>
          </p:cNvCxnSpPr>
          <p:nvPr/>
        </p:nvCxnSpPr>
        <p:spPr>
          <a:xfrm flipV="1">
            <a:off x="1945878" y="5694367"/>
            <a:ext cx="474682" cy="2022"/>
          </a:xfrm>
          <a:prstGeom prst="line">
            <a:avLst/>
          </a:prstGeom>
          <a:ln>
            <a:solidFill>
              <a:schemeClr val="tx2"/>
            </a:solidFill>
            <a:prstDash val="sysDot"/>
            <a:tailEnd type="diamon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524001" y="1032376"/>
            <a:ext cx="9143999" cy="4796849"/>
            <a:chOff x="0" y="1226340"/>
            <a:chExt cx="9143999" cy="4796849"/>
          </a:xfrm>
        </p:grpSpPr>
        <p:grpSp>
          <p:nvGrpSpPr>
            <p:cNvPr id="50" name="Group 49"/>
            <p:cNvGrpSpPr/>
            <p:nvPr/>
          </p:nvGrpSpPr>
          <p:grpSpPr>
            <a:xfrm>
              <a:off x="0" y="1226340"/>
              <a:ext cx="9143999" cy="4796849"/>
              <a:chOff x="0" y="1287390"/>
              <a:chExt cx="9144000" cy="4805258"/>
            </a:xfrm>
          </p:grpSpPr>
          <p:sp>
            <p:nvSpPr>
              <p:cNvPr id="51" name="Block Arc 50"/>
              <p:cNvSpPr/>
              <p:nvPr/>
            </p:nvSpPr>
            <p:spPr bwMode="gray">
              <a:xfrm>
                <a:off x="2490710" y="1371211"/>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52" name="Rounded Rectangle 51"/>
              <p:cNvSpPr/>
              <p:nvPr/>
            </p:nvSpPr>
            <p:spPr bwMode="gray">
              <a:xfrm>
                <a:off x="3303118" y="1764027"/>
                <a:ext cx="4166086"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342900" tIns="66675" rIns="66675" bIns="66675" rtlCol="0" anchor="ct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Times New Roman" pitchFamily="18" charset="0"/>
                  </a:rPr>
                  <a:t>¿Qué es una Carta invitación?</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s un comunicado emitido por el SAT mediante el cual informa a los contribuyentes de alguna irregularidad detectada en sus operaciones.</a:t>
                </a:r>
                <a:endParaRPr kumimoji="0" lang="en-US" sz="1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53" name="Oval 52"/>
              <p:cNvSpPr/>
              <p:nvPr/>
            </p:nvSpPr>
            <p:spPr bwMode="gray">
              <a:xfrm>
                <a:off x="2708208" y="1588710"/>
                <a:ext cx="1123683" cy="1123681"/>
              </a:xfrm>
              <a:prstGeom prst="ellipse">
                <a:avLst/>
              </a:prstGeom>
              <a:solidFill>
                <a:schemeClr val="bg1"/>
              </a:solidFill>
              <a:ln w="9525" algn="ctr">
                <a:no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53"/>
              <p:cNvSpPr/>
              <p:nvPr/>
            </p:nvSpPr>
            <p:spPr bwMode="gray">
              <a:xfrm>
                <a:off x="2870125" y="1750626"/>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500" b="1" i="0" u="none" strike="noStrike" kern="1200" cap="none" spc="0" normalizeH="0" baseline="0" noProof="0" dirty="0">
                  <a:ln>
                    <a:noFill/>
                  </a:ln>
                  <a:solidFill>
                    <a:prstClr val="black"/>
                  </a:solidFill>
                  <a:effectLst/>
                  <a:uLnTx/>
                  <a:uFillTx/>
                  <a:latin typeface="Calibri Light"/>
                  <a:ea typeface="+mn-ea"/>
                  <a:cs typeface="+mn-cs"/>
                </a:endParaRPr>
              </a:p>
            </p:txBody>
          </p:sp>
          <p:sp>
            <p:nvSpPr>
              <p:cNvPr id="61" name="Block Arc 60"/>
              <p:cNvSpPr/>
              <p:nvPr/>
            </p:nvSpPr>
            <p:spPr bwMode="gray">
              <a:xfrm>
                <a:off x="2490710" y="2715184"/>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62" name="Rounded Rectangle 61"/>
              <p:cNvSpPr/>
              <p:nvPr/>
            </p:nvSpPr>
            <p:spPr bwMode="gray">
              <a:xfrm>
                <a:off x="240632" y="3108000"/>
                <a:ext cx="2936574"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68580" tIns="66675" rIns="205740" bIns="66675"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srgbClr val="00B0F0"/>
                    </a:solidFill>
                    <a:effectLst/>
                    <a:uLnTx/>
                    <a:uFillTx/>
                    <a:latin typeface="Verdana" panose="020B0604030504040204" pitchFamily="34" charset="0"/>
                    <a:ea typeface="Verdana" panose="020B0604030504040204" pitchFamily="34" charset="0"/>
                    <a:cs typeface="Times New Roman" pitchFamily="18" charset="0"/>
                  </a:rPr>
                  <a:t>Incrementables / INCOTER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MX" sz="900" b="1" i="0" u="none" strike="noStrike" kern="1200" cap="none" spc="0" normalizeH="0" baseline="0" noProof="0" dirty="0">
                    <a:ln>
                      <a:noFill/>
                    </a:ln>
                    <a:solidFill>
                      <a:srgbClr val="00B0F0"/>
                    </a:solidFill>
                    <a:effectLst/>
                    <a:uLnTx/>
                    <a:uFillTx/>
                    <a:latin typeface="Verdana" panose="020B0604030504040204" pitchFamily="34" charset="0"/>
                    <a:ea typeface="Verdana" panose="020B0604030504040204" pitchFamily="34" charset="0"/>
                    <a:cs typeface="Times New Roman" pitchFamily="18" charset="0"/>
                  </a:rPr>
                  <a:t>Datos </a:t>
                </a:r>
                <a:r>
                  <a:rPr kumimoji="0" lang="es-MX" sz="900" b="1" i="0" u="none" strike="noStrike" kern="1200" cap="none" spc="0" normalizeH="0" baseline="0" noProof="0" dirty="0" err="1">
                    <a:ln>
                      <a:noFill/>
                    </a:ln>
                    <a:solidFill>
                      <a:srgbClr val="00B0F0"/>
                    </a:solidFill>
                    <a:effectLst/>
                    <a:uLnTx/>
                    <a:uFillTx/>
                    <a:latin typeface="Verdana" panose="020B0604030504040204" pitchFamily="34" charset="0"/>
                    <a:ea typeface="Verdana" panose="020B0604030504040204" pitchFamily="34" charset="0"/>
                    <a:cs typeface="Times New Roman" pitchFamily="18" charset="0"/>
                  </a:rPr>
                  <a:t>multables</a:t>
                </a:r>
                <a:endParaRPr kumimoji="0" lang="es-MX" sz="900" b="1" i="0" u="none" strike="noStrike" kern="1200" cap="none" spc="0" normalizeH="0" baseline="0" noProof="0" dirty="0">
                  <a:ln>
                    <a:noFill/>
                  </a:ln>
                  <a:solidFill>
                    <a:srgbClr val="00B0F0"/>
                  </a:solidFill>
                  <a:effectLst/>
                  <a:uLnTx/>
                  <a:uFillTx/>
                  <a:latin typeface="Verdana" panose="020B0604030504040204" pitchFamily="34" charset="0"/>
                  <a:ea typeface="Verdana" panose="020B0604030504040204" pitchFamily="34" charset="0"/>
                  <a:cs typeface="Times New Roman"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900" b="0" i="0" u="none" strike="noStrike" kern="1200" cap="none" spc="0" normalizeH="0" baseline="0" noProof="0" dirty="0">
                  <a:ln>
                    <a:noFill/>
                  </a:ln>
                  <a:solidFill>
                    <a:srgbClr val="00B0F0"/>
                  </a:solidFill>
                  <a:effectLst/>
                  <a:uLnTx/>
                  <a:uFillTx/>
                  <a:latin typeface="Verdana" panose="020B0604030504040204" pitchFamily="34" charset="0"/>
                  <a:ea typeface="Verdana" panose="020B0604030504040204" pitchFamily="34" charset="0"/>
                  <a:cs typeface="+mn-cs"/>
                </a:endParaRPr>
              </a:p>
            </p:txBody>
          </p:sp>
          <p:sp>
            <p:nvSpPr>
              <p:cNvPr id="63" name="Oval 62"/>
              <p:cNvSpPr/>
              <p:nvPr/>
            </p:nvSpPr>
            <p:spPr bwMode="gray">
              <a:xfrm>
                <a:off x="2708209" y="2932683"/>
                <a:ext cx="1123683" cy="1123681"/>
              </a:xfrm>
              <a:prstGeom prst="ellipse">
                <a:avLst/>
              </a:prstGeom>
              <a:solidFill>
                <a:schemeClr val="bg1"/>
              </a:solidFill>
              <a:ln w="9525" algn="ctr">
                <a:no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4" name="Oval 63"/>
              <p:cNvSpPr/>
              <p:nvPr/>
            </p:nvSpPr>
            <p:spPr bwMode="gray">
              <a:xfrm>
                <a:off x="2870125" y="3094599"/>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Calibri Light"/>
                    <a:ea typeface="+mn-ea"/>
                    <a:cs typeface="+mn-cs"/>
                  </a:rPr>
                  <a:t>01</a:t>
                </a:r>
              </a:p>
            </p:txBody>
          </p:sp>
          <p:sp>
            <p:nvSpPr>
              <p:cNvPr id="65" name="Block Arc 64"/>
              <p:cNvSpPr/>
              <p:nvPr/>
            </p:nvSpPr>
            <p:spPr bwMode="gray">
              <a:xfrm>
                <a:off x="3831456" y="2723442"/>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66" name="Rounded Rectangle 65"/>
              <p:cNvSpPr/>
              <p:nvPr/>
            </p:nvSpPr>
            <p:spPr bwMode="gray">
              <a:xfrm>
                <a:off x="4643862" y="3116258"/>
                <a:ext cx="3547237"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342900" tIns="66675" rIns="66675" bIns="66675" rtlCol="0" anchor="ctr"/>
              <a:lstStyle/>
              <a:p>
                <a:pPr marL="182563" marR="0" lvl="0" indent="0" algn="l" defTabSz="914400" rtl="0" eaLnBrk="1" fontAlgn="auto" latinLnBrk="0" hangingPunct="1">
                  <a:lnSpc>
                    <a:spcPct val="106000"/>
                  </a:lnSpc>
                  <a:spcBef>
                    <a:spcPts val="0"/>
                  </a:spcBef>
                  <a:spcAft>
                    <a:spcPts val="0"/>
                  </a:spcAft>
                  <a:buClrTx/>
                  <a:buSzTx/>
                  <a:buFontTx/>
                  <a:buNone/>
                  <a:tabLst/>
                  <a:defRPr/>
                </a:pPr>
                <a:r>
                  <a:rPr kumimoji="0" lang="es-MX" sz="1000" b="1" i="0" u="none" strike="noStrike" kern="1200" cap="none" spc="0" normalizeH="0" baseline="0" noProof="0" dirty="0">
                    <a:ln>
                      <a:noFill/>
                    </a:ln>
                    <a:solidFill>
                      <a:srgbClr val="00B050"/>
                    </a:solidFill>
                    <a:effectLst/>
                    <a:uLnTx/>
                    <a:uFillTx/>
                    <a:latin typeface="Verdana" panose="020B0604030504040204" pitchFamily="34" charset="0"/>
                    <a:ea typeface="Verdana" panose="020B0604030504040204" pitchFamily="34" charset="0"/>
                    <a:cs typeface="+mn-cs"/>
                  </a:rPr>
                  <a:t>Retención de IVA en transferencias virtuales con clave de documento “V5” y Extracción de Deposito Fiscal</a:t>
                </a:r>
              </a:p>
            </p:txBody>
          </p:sp>
          <p:sp>
            <p:nvSpPr>
              <p:cNvPr id="67" name="Oval 66"/>
              <p:cNvSpPr/>
              <p:nvPr/>
            </p:nvSpPr>
            <p:spPr bwMode="gray">
              <a:xfrm>
                <a:off x="4048954" y="2940941"/>
                <a:ext cx="1123683" cy="1123681"/>
              </a:xfrm>
              <a:prstGeom prst="ellipse">
                <a:avLst/>
              </a:prstGeom>
              <a:solidFill>
                <a:schemeClr val="bg1"/>
              </a:solidFill>
              <a:ln w="9525" algn="ctr">
                <a:no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68" name="Oval 67"/>
              <p:cNvSpPr/>
              <p:nvPr/>
            </p:nvSpPr>
            <p:spPr bwMode="gray">
              <a:xfrm>
                <a:off x="4210871" y="3102857"/>
                <a:ext cx="799848" cy="799848"/>
              </a:xfrm>
              <a:prstGeom prst="ellipse">
                <a:avLst/>
              </a:prstGeom>
              <a:solidFill>
                <a:srgbClr val="DDEFE8"/>
              </a:solidFill>
              <a:ln w="9525" algn="ctr">
                <a:solidFill>
                  <a:srgbClr val="009A44"/>
                </a:solid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Calibri Light"/>
                    <a:ea typeface="+mn-ea"/>
                    <a:cs typeface="+mn-cs"/>
                  </a:rPr>
                  <a:t>02</a:t>
                </a:r>
              </a:p>
            </p:txBody>
          </p:sp>
          <p:sp>
            <p:nvSpPr>
              <p:cNvPr id="69" name="Block Arc 68"/>
              <p:cNvSpPr/>
              <p:nvPr/>
            </p:nvSpPr>
            <p:spPr bwMode="gray">
              <a:xfrm>
                <a:off x="3830898" y="4064619"/>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70" name="Rounded Rectangle 69"/>
              <p:cNvSpPr/>
              <p:nvPr/>
            </p:nvSpPr>
            <p:spPr bwMode="gray">
              <a:xfrm>
                <a:off x="1000988" y="4457435"/>
                <a:ext cx="3516406"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68580" tIns="66675" rIns="274320" bIns="66675"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s-MX" sz="1000" b="1" i="0" u="none"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Verificación de cumplimiento del SCI de manera Automatizada en </a:t>
                </a:r>
                <a:r>
                  <a:rPr kumimoji="0" lang="es-MX" sz="1000" b="1" i="1" u="sng"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Importaciones Temporales</a:t>
                </a:r>
                <a:r>
                  <a:rPr kumimoji="0" lang="es-MX" sz="1000" b="1" i="0" u="none"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 así como </a:t>
                </a:r>
                <a:r>
                  <a:rPr kumimoji="0" lang="es-MX" sz="1000" b="1" i="1" u="sng"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Retornos</a:t>
                </a:r>
                <a:r>
                  <a:rPr kumimoji="0" lang="es-MX" sz="1000" b="1" i="0" u="none"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 y </a:t>
                </a:r>
                <a:r>
                  <a:rPr kumimoji="0" lang="es-MX" sz="1000" b="1" i="1" u="sng" strike="noStrike" kern="1200" cap="none" spc="0" normalizeH="0" baseline="0" noProof="0" dirty="0">
                    <a:ln>
                      <a:noFill/>
                    </a:ln>
                    <a:solidFill>
                      <a:srgbClr val="0D8390">
                        <a:lumMod val="75000"/>
                      </a:srgbClr>
                    </a:solidFill>
                    <a:effectLst/>
                    <a:uLnTx/>
                    <a:uFillTx/>
                    <a:latin typeface="Verdana" panose="020B0604030504040204" pitchFamily="34" charset="0"/>
                    <a:ea typeface="Verdana" panose="020B0604030504040204" pitchFamily="34" charset="0"/>
                    <a:cs typeface="+mn-cs"/>
                  </a:rPr>
                  <a:t>Transferencias Virtuales </a:t>
                </a:r>
              </a:p>
            </p:txBody>
          </p:sp>
          <p:sp>
            <p:nvSpPr>
              <p:cNvPr id="71" name="Oval 70"/>
              <p:cNvSpPr/>
              <p:nvPr/>
            </p:nvSpPr>
            <p:spPr bwMode="gray">
              <a:xfrm>
                <a:off x="4048397" y="4282118"/>
                <a:ext cx="1123683" cy="1123681"/>
              </a:xfrm>
              <a:prstGeom prst="ellipse">
                <a:avLst/>
              </a:prstGeom>
              <a:solidFill>
                <a:schemeClr val="bg1"/>
              </a:solidFill>
              <a:ln w="9525" algn="ctr">
                <a:no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2" name="Oval 71"/>
              <p:cNvSpPr/>
              <p:nvPr/>
            </p:nvSpPr>
            <p:spPr bwMode="gray">
              <a:xfrm>
                <a:off x="4210313" y="4444034"/>
                <a:ext cx="799848" cy="799848"/>
              </a:xfrm>
              <a:prstGeom prst="ellipse">
                <a:avLst/>
              </a:prstGeom>
              <a:solidFill>
                <a:srgbClr val="A0DCFF"/>
              </a:solidFill>
              <a:ln w="9525" algn="ctr">
                <a:solidFill>
                  <a:srgbClr val="012169"/>
                </a:solid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Calibri Light"/>
                    <a:ea typeface="+mn-ea"/>
                    <a:cs typeface="+mn-cs"/>
                  </a:rPr>
                  <a:t>03</a:t>
                </a:r>
              </a:p>
            </p:txBody>
          </p:sp>
          <p:sp>
            <p:nvSpPr>
              <p:cNvPr id="73" name="Block Arc 72"/>
              <p:cNvSpPr/>
              <p:nvPr/>
            </p:nvSpPr>
            <p:spPr bwMode="gray">
              <a:xfrm>
                <a:off x="5170873" y="4084493"/>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74" name="Rounded Rectangle 73"/>
              <p:cNvSpPr/>
              <p:nvPr/>
            </p:nvSpPr>
            <p:spPr bwMode="gray">
              <a:xfrm>
                <a:off x="5983281" y="4477309"/>
                <a:ext cx="2900838"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342900" tIns="66675" rIns="66675" bIns="66675" rtlCol="0" anchor="ctr"/>
              <a:lstStyle/>
              <a:p>
                <a:pPr marL="182563" marR="0" lvl="0" indent="0" algn="l" defTabSz="914400" rtl="0" eaLnBrk="1" fontAlgn="auto" latinLnBrk="0" hangingPunct="1">
                  <a:lnSpc>
                    <a:spcPct val="106000"/>
                  </a:lnSpc>
                  <a:spcBef>
                    <a:spcPts val="0"/>
                  </a:spcBef>
                  <a:spcAft>
                    <a:spcPts val="0"/>
                  </a:spcAft>
                  <a:buClrTx/>
                  <a:buSzTx/>
                  <a:buFontTx/>
                  <a:buNone/>
                  <a:tabLst/>
                  <a:defRPr/>
                </a:pPr>
                <a:r>
                  <a:rPr kumimoji="0" lang="es-MX" sz="9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mn-cs"/>
                  </a:rPr>
                  <a:t>Soporte documental de expedientes electrónicos de Comercio Exterior</a:t>
                </a:r>
              </a:p>
            </p:txBody>
          </p:sp>
          <p:sp>
            <p:nvSpPr>
              <p:cNvPr id="75" name="Oval 74"/>
              <p:cNvSpPr/>
              <p:nvPr/>
            </p:nvSpPr>
            <p:spPr bwMode="gray">
              <a:xfrm>
                <a:off x="5388371" y="4301992"/>
                <a:ext cx="1123683" cy="1123681"/>
              </a:xfrm>
              <a:prstGeom prst="ellipse">
                <a:avLst/>
              </a:prstGeom>
              <a:solidFill>
                <a:schemeClr val="bg1"/>
              </a:solidFill>
              <a:ln w="9525" algn="ctr">
                <a:no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Oval 75"/>
              <p:cNvSpPr/>
              <p:nvPr/>
            </p:nvSpPr>
            <p:spPr bwMode="gray">
              <a:xfrm>
                <a:off x="5550288" y="4463908"/>
                <a:ext cx="799848" cy="799848"/>
              </a:xfrm>
              <a:prstGeom prst="ellipse">
                <a:avLst/>
              </a:prstGeom>
              <a:solidFill>
                <a:srgbClr val="DDEFE8"/>
              </a:solidFill>
              <a:ln w="9525" algn="ctr">
                <a:solidFill>
                  <a:schemeClr val="accent5"/>
                </a:solidFill>
                <a:miter lim="800000"/>
                <a:headEnd/>
                <a:tailEnd/>
              </a:ln>
            </p:spPr>
            <p:txBody>
              <a:bodyPr wrap="non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Calibri Light"/>
                    <a:ea typeface="+mn-ea"/>
                    <a:cs typeface="+mn-cs"/>
                  </a:rPr>
                  <a:t>04</a:t>
                </a:r>
              </a:p>
            </p:txBody>
          </p:sp>
          <p:sp>
            <p:nvSpPr>
              <p:cNvPr id="77" name="Rounded Rectangle 76"/>
              <p:cNvSpPr/>
              <p:nvPr/>
            </p:nvSpPr>
            <p:spPr bwMode="gray">
              <a:xfrm>
                <a:off x="0" y="2262188"/>
                <a:ext cx="2377691" cy="216487"/>
              </a:xfrm>
              <a:prstGeom prst="roundRect">
                <a:avLst>
                  <a:gd name="adj" fmla="val 0"/>
                </a:avLst>
              </a:prstGeom>
              <a:solidFill>
                <a:schemeClr val="accent1"/>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78" name="Block Arc 77"/>
              <p:cNvSpPr/>
              <p:nvPr/>
            </p:nvSpPr>
            <p:spPr bwMode="gray">
              <a:xfrm>
                <a:off x="2047175" y="1820034"/>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79" name="Rounded Rectangle 78"/>
              <p:cNvSpPr/>
              <p:nvPr/>
            </p:nvSpPr>
            <p:spPr bwMode="gray">
              <a:xfrm>
                <a:off x="5901264" y="5876161"/>
                <a:ext cx="3236912" cy="216487"/>
              </a:xfrm>
              <a:prstGeom prst="roundRect">
                <a:avLst>
                  <a:gd name="adj" fmla="val 0"/>
                </a:avLst>
              </a:prstGeom>
              <a:solidFill>
                <a:schemeClr val="accent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0" name="Block Arc 79"/>
              <p:cNvSpPr/>
              <p:nvPr/>
            </p:nvSpPr>
            <p:spPr bwMode="gray">
              <a:xfrm>
                <a:off x="5566697" y="5425792"/>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Freeform 80"/>
              <p:cNvSpPr>
                <a:spLocks noEditPoints="1"/>
              </p:cNvSpPr>
              <p:nvPr/>
            </p:nvSpPr>
            <p:spPr bwMode="auto">
              <a:xfrm>
                <a:off x="5291781" y="1317316"/>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82" name="Freeform 464"/>
              <p:cNvSpPr>
                <a:spLocks noEditPoints="1"/>
              </p:cNvSpPr>
              <p:nvPr/>
            </p:nvSpPr>
            <p:spPr bwMode="auto">
              <a:xfrm>
                <a:off x="321406" y="4776414"/>
                <a:ext cx="338511" cy="135087"/>
              </a:xfrm>
              <a:custGeom>
                <a:avLst/>
                <a:gdLst>
                  <a:gd name="T0" fmla="*/ 309 w 320"/>
                  <a:gd name="T1" fmla="*/ 53 h 128"/>
                  <a:gd name="T2" fmla="*/ 127 w 320"/>
                  <a:gd name="T3" fmla="*/ 53 h 128"/>
                  <a:gd name="T4" fmla="*/ 64 w 320"/>
                  <a:gd name="T5" fmla="*/ 0 h 128"/>
                  <a:gd name="T6" fmla="*/ 0 w 320"/>
                  <a:gd name="T7" fmla="*/ 64 h 128"/>
                  <a:gd name="T8" fmla="*/ 64 w 320"/>
                  <a:gd name="T9" fmla="*/ 128 h 128"/>
                  <a:gd name="T10" fmla="*/ 127 w 320"/>
                  <a:gd name="T11" fmla="*/ 74 h 128"/>
                  <a:gd name="T12" fmla="*/ 256 w 320"/>
                  <a:gd name="T13" fmla="*/ 74 h 128"/>
                  <a:gd name="T14" fmla="*/ 256 w 320"/>
                  <a:gd name="T15" fmla="*/ 96 h 128"/>
                  <a:gd name="T16" fmla="*/ 266 w 320"/>
                  <a:gd name="T17" fmla="*/ 106 h 128"/>
                  <a:gd name="T18" fmla="*/ 277 w 320"/>
                  <a:gd name="T19" fmla="*/ 96 h 128"/>
                  <a:gd name="T20" fmla="*/ 277 w 320"/>
                  <a:gd name="T21" fmla="*/ 74 h 128"/>
                  <a:gd name="T22" fmla="*/ 298 w 320"/>
                  <a:gd name="T23" fmla="*/ 74 h 128"/>
                  <a:gd name="T24" fmla="*/ 298 w 320"/>
                  <a:gd name="T25" fmla="*/ 117 h 128"/>
                  <a:gd name="T26" fmla="*/ 309 w 320"/>
                  <a:gd name="T27" fmla="*/ 128 h 128"/>
                  <a:gd name="T28" fmla="*/ 320 w 320"/>
                  <a:gd name="T29" fmla="*/ 117 h 128"/>
                  <a:gd name="T30" fmla="*/ 320 w 320"/>
                  <a:gd name="T31" fmla="*/ 64 h 128"/>
                  <a:gd name="T32" fmla="*/ 309 w 320"/>
                  <a:gd name="T33" fmla="*/ 53 h 128"/>
                  <a:gd name="T34" fmla="*/ 64 w 320"/>
                  <a:gd name="T35" fmla="*/ 106 h 128"/>
                  <a:gd name="T36" fmla="*/ 21 w 320"/>
                  <a:gd name="T37" fmla="*/ 64 h 128"/>
                  <a:gd name="T38" fmla="*/ 64 w 320"/>
                  <a:gd name="T39" fmla="*/ 21 h 128"/>
                  <a:gd name="T40" fmla="*/ 106 w 320"/>
                  <a:gd name="T41" fmla="*/ 64 h 128"/>
                  <a:gd name="T42" fmla="*/ 64 w 320"/>
                  <a:gd name="T43"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0" h="128">
                    <a:moveTo>
                      <a:pt x="309" y="53"/>
                    </a:moveTo>
                    <a:cubicBezTo>
                      <a:pt x="127" y="53"/>
                      <a:pt x="127" y="53"/>
                      <a:pt x="127" y="53"/>
                    </a:cubicBezTo>
                    <a:cubicBezTo>
                      <a:pt x="122" y="23"/>
                      <a:pt x="95" y="0"/>
                      <a:pt x="64" y="0"/>
                    </a:cubicBezTo>
                    <a:cubicBezTo>
                      <a:pt x="28" y="0"/>
                      <a:pt x="0" y="28"/>
                      <a:pt x="0" y="64"/>
                    </a:cubicBezTo>
                    <a:cubicBezTo>
                      <a:pt x="0" y="99"/>
                      <a:pt x="28" y="128"/>
                      <a:pt x="64" y="128"/>
                    </a:cubicBezTo>
                    <a:cubicBezTo>
                      <a:pt x="95" y="128"/>
                      <a:pt x="122" y="105"/>
                      <a:pt x="127" y="74"/>
                    </a:cubicBezTo>
                    <a:cubicBezTo>
                      <a:pt x="256" y="74"/>
                      <a:pt x="256" y="74"/>
                      <a:pt x="256" y="74"/>
                    </a:cubicBezTo>
                    <a:cubicBezTo>
                      <a:pt x="256" y="96"/>
                      <a:pt x="256" y="96"/>
                      <a:pt x="256" y="96"/>
                    </a:cubicBezTo>
                    <a:cubicBezTo>
                      <a:pt x="256" y="102"/>
                      <a:pt x="260" y="106"/>
                      <a:pt x="266" y="106"/>
                    </a:cubicBezTo>
                    <a:cubicBezTo>
                      <a:pt x="272" y="106"/>
                      <a:pt x="277" y="102"/>
                      <a:pt x="277" y="96"/>
                    </a:cubicBezTo>
                    <a:cubicBezTo>
                      <a:pt x="277" y="74"/>
                      <a:pt x="277" y="74"/>
                      <a:pt x="277" y="74"/>
                    </a:cubicBezTo>
                    <a:cubicBezTo>
                      <a:pt x="298" y="74"/>
                      <a:pt x="298" y="74"/>
                      <a:pt x="298" y="74"/>
                    </a:cubicBezTo>
                    <a:cubicBezTo>
                      <a:pt x="298" y="117"/>
                      <a:pt x="298" y="117"/>
                      <a:pt x="298" y="117"/>
                    </a:cubicBezTo>
                    <a:cubicBezTo>
                      <a:pt x="298" y="123"/>
                      <a:pt x="303" y="128"/>
                      <a:pt x="309" y="128"/>
                    </a:cubicBezTo>
                    <a:cubicBezTo>
                      <a:pt x="315" y="128"/>
                      <a:pt x="320" y="123"/>
                      <a:pt x="320" y="117"/>
                    </a:cubicBezTo>
                    <a:cubicBezTo>
                      <a:pt x="320" y="64"/>
                      <a:pt x="320" y="64"/>
                      <a:pt x="320" y="64"/>
                    </a:cubicBezTo>
                    <a:cubicBezTo>
                      <a:pt x="320" y="58"/>
                      <a:pt x="315" y="53"/>
                      <a:pt x="309" y="53"/>
                    </a:cubicBezTo>
                    <a:close/>
                    <a:moveTo>
                      <a:pt x="64" y="106"/>
                    </a:moveTo>
                    <a:cubicBezTo>
                      <a:pt x="40" y="106"/>
                      <a:pt x="21" y="87"/>
                      <a:pt x="21" y="64"/>
                    </a:cubicBezTo>
                    <a:cubicBezTo>
                      <a:pt x="21" y="40"/>
                      <a:pt x="40" y="21"/>
                      <a:pt x="64" y="21"/>
                    </a:cubicBezTo>
                    <a:cubicBezTo>
                      <a:pt x="87" y="21"/>
                      <a:pt x="106" y="40"/>
                      <a:pt x="106" y="64"/>
                    </a:cubicBezTo>
                    <a:cubicBezTo>
                      <a:pt x="106" y="87"/>
                      <a:pt x="87" y="106"/>
                      <a:pt x="64" y="106"/>
                    </a:cubicBezTo>
                    <a:close/>
                  </a:path>
                </a:pathLst>
              </a:custGeom>
              <a:solidFill>
                <a:srgbClr val="01216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83" name="Freeform 41"/>
              <p:cNvSpPr>
                <a:spLocks noEditPoints="1"/>
              </p:cNvSpPr>
              <p:nvPr/>
            </p:nvSpPr>
            <p:spPr bwMode="auto">
              <a:xfrm>
                <a:off x="7938843" y="3991955"/>
                <a:ext cx="341689" cy="340100"/>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84" name="Freeform 872"/>
              <p:cNvSpPr>
                <a:spLocks noEditPoints="1"/>
              </p:cNvSpPr>
              <p:nvPr/>
            </p:nvSpPr>
            <p:spPr bwMode="auto">
              <a:xfrm>
                <a:off x="6583339" y="2637130"/>
                <a:ext cx="292423" cy="327386"/>
              </a:xfrm>
              <a:custGeom>
                <a:avLst/>
                <a:gdLst>
                  <a:gd name="T0" fmla="*/ 267 w 277"/>
                  <a:gd name="T1" fmla="*/ 11 h 310"/>
                  <a:gd name="T2" fmla="*/ 149 w 277"/>
                  <a:gd name="T3" fmla="*/ 11 h 310"/>
                  <a:gd name="T4" fmla="*/ 139 w 277"/>
                  <a:gd name="T5" fmla="*/ 0 h 310"/>
                  <a:gd name="T6" fmla="*/ 128 w 277"/>
                  <a:gd name="T7" fmla="*/ 11 h 310"/>
                  <a:gd name="T8" fmla="*/ 11 w 277"/>
                  <a:gd name="T9" fmla="*/ 11 h 310"/>
                  <a:gd name="T10" fmla="*/ 0 w 277"/>
                  <a:gd name="T11" fmla="*/ 22 h 310"/>
                  <a:gd name="T12" fmla="*/ 0 w 277"/>
                  <a:gd name="T13" fmla="*/ 214 h 310"/>
                  <a:gd name="T14" fmla="*/ 11 w 277"/>
                  <a:gd name="T15" fmla="*/ 224 h 310"/>
                  <a:gd name="T16" fmla="*/ 81 w 277"/>
                  <a:gd name="T17" fmla="*/ 224 h 310"/>
                  <a:gd name="T18" fmla="*/ 54 w 277"/>
                  <a:gd name="T19" fmla="*/ 295 h 310"/>
                  <a:gd name="T20" fmla="*/ 60 w 277"/>
                  <a:gd name="T21" fmla="*/ 309 h 310"/>
                  <a:gd name="T22" fmla="*/ 64 w 277"/>
                  <a:gd name="T23" fmla="*/ 310 h 310"/>
                  <a:gd name="T24" fmla="*/ 74 w 277"/>
                  <a:gd name="T25" fmla="*/ 303 h 310"/>
                  <a:gd name="T26" fmla="*/ 103 w 277"/>
                  <a:gd name="T27" fmla="*/ 224 h 310"/>
                  <a:gd name="T28" fmla="*/ 128 w 277"/>
                  <a:gd name="T29" fmla="*/ 224 h 310"/>
                  <a:gd name="T30" fmla="*/ 128 w 277"/>
                  <a:gd name="T31" fmla="*/ 267 h 310"/>
                  <a:gd name="T32" fmla="*/ 139 w 277"/>
                  <a:gd name="T33" fmla="*/ 278 h 310"/>
                  <a:gd name="T34" fmla="*/ 149 w 277"/>
                  <a:gd name="T35" fmla="*/ 267 h 310"/>
                  <a:gd name="T36" fmla="*/ 149 w 277"/>
                  <a:gd name="T37" fmla="*/ 224 h 310"/>
                  <a:gd name="T38" fmla="*/ 174 w 277"/>
                  <a:gd name="T39" fmla="*/ 224 h 310"/>
                  <a:gd name="T40" fmla="*/ 203 w 277"/>
                  <a:gd name="T41" fmla="*/ 303 h 310"/>
                  <a:gd name="T42" fmla="*/ 213 w 277"/>
                  <a:gd name="T43" fmla="*/ 310 h 310"/>
                  <a:gd name="T44" fmla="*/ 217 w 277"/>
                  <a:gd name="T45" fmla="*/ 309 h 310"/>
                  <a:gd name="T46" fmla="*/ 223 w 277"/>
                  <a:gd name="T47" fmla="*/ 295 h 310"/>
                  <a:gd name="T48" fmla="*/ 197 w 277"/>
                  <a:gd name="T49" fmla="*/ 224 h 310"/>
                  <a:gd name="T50" fmla="*/ 267 w 277"/>
                  <a:gd name="T51" fmla="*/ 224 h 310"/>
                  <a:gd name="T52" fmla="*/ 277 w 277"/>
                  <a:gd name="T53" fmla="*/ 214 h 310"/>
                  <a:gd name="T54" fmla="*/ 277 w 277"/>
                  <a:gd name="T55" fmla="*/ 22 h 310"/>
                  <a:gd name="T56" fmla="*/ 267 w 277"/>
                  <a:gd name="T57" fmla="*/ 11 h 310"/>
                  <a:gd name="T58" fmla="*/ 256 w 277"/>
                  <a:gd name="T59" fmla="*/ 203 h 310"/>
                  <a:gd name="T60" fmla="*/ 21 w 277"/>
                  <a:gd name="T61" fmla="*/ 203 h 310"/>
                  <a:gd name="T62" fmla="*/ 21 w 277"/>
                  <a:gd name="T63" fmla="*/ 32 h 310"/>
                  <a:gd name="T64" fmla="*/ 256 w 277"/>
                  <a:gd name="T65" fmla="*/ 32 h 310"/>
                  <a:gd name="T66" fmla="*/ 256 w 277"/>
                  <a:gd name="T67" fmla="*/ 20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310">
                    <a:moveTo>
                      <a:pt x="267" y="11"/>
                    </a:moveTo>
                    <a:cubicBezTo>
                      <a:pt x="149" y="11"/>
                      <a:pt x="149" y="11"/>
                      <a:pt x="149" y="11"/>
                    </a:cubicBezTo>
                    <a:cubicBezTo>
                      <a:pt x="149" y="5"/>
                      <a:pt x="145" y="0"/>
                      <a:pt x="139" y="0"/>
                    </a:cubicBezTo>
                    <a:cubicBezTo>
                      <a:pt x="133" y="0"/>
                      <a:pt x="128" y="5"/>
                      <a:pt x="128" y="11"/>
                    </a:cubicBezTo>
                    <a:cubicBezTo>
                      <a:pt x="11" y="11"/>
                      <a:pt x="11" y="11"/>
                      <a:pt x="11" y="11"/>
                    </a:cubicBezTo>
                    <a:cubicBezTo>
                      <a:pt x="5" y="11"/>
                      <a:pt x="0" y="16"/>
                      <a:pt x="0" y="22"/>
                    </a:cubicBezTo>
                    <a:cubicBezTo>
                      <a:pt x="0" y="214"/>
                      <a:pt x="0" y="214"/>
                      <a:pt x="0" y="214"/>
                    </a:cubicBezTo>
                    <a:cubicBezTo>
                      <a:pt x="0" y="220"/>
                      <a:pt x="5" y="224"/>
                      <a:pt x="11" y="224"/>
                    </a:cubicBezTo>
                    <a:cubicBezTo>
                      <a:pt x="81" y="224"/>
                      <a:pt x="81" y="224"/>
                      <a:pt x="81" y="224"/>
                    </a:cubicBezTo>
                    <a:cubicBezTo>
                      <a:pt x="54" y="295"/>
                      <a:pt x="54" y="295"/>
                      <a:pt x="54" y="295"/>
                    </a:cubicBezTo>
                    <a:cubicBezTo>
                      <a:pt x="52" y="301"/>
                      <a:pt x="55" y="307"/>
                      <a:pt x="60" y="309"/>
                    </a:cubicBezTo>
                    <a:cubicBezTo>
                      <a:pt x="61" y="309"/>
                      <a:pt x="63" y="310"/>
                      <a:pt x="64" y="310"/>
                    </a:cubicBezTo>
                    <a:cubicBezTo>
                      <a:pt x="68" y="310"/>
                      <a:pt x="72" y="307"/>
                      <a:pt x="74" y="303"/>
                    </a:cubicBezTo>
                    <a:cubicBezTo>
                      <a:pt x="103" y="224"/>
                      <a:pt x="103" y="224"/>
                      <a:pt x="103" y="224"/>
                    </a:cubicBezTo>
                    <a:cubicBezTo>
                      <a:pt x="128" y="224"/>
                      <a:pt x="128" y="224"/>
                      <a:pt x="128" y="224"/>
                    </a:cubicBezTo>
                    <a:cubicBezTo>
                      <a:pt x="128" y="267"/>
                      <a:pt x="128" y="267"/>
                      <a:pt x="128" y="267"/>
                    </a:cubicBezTo>
                    <a:cubicBezTo>
                      <a:pt x="128" y="273"/>
                      <a:pt x="133" y="278"/>
                      <a:pt x="139" y="278"/>
                    </a:cubicBezTo>
                    <a:cubicBezTo>
                      <a:pt x="145" y="278"/>
                      <a:pt x="149" y="273"/>
                      <a:pt x="149" y="267"/>
                    </a:cubicBezTo>
                    <a:cubicBezTo>
                      <a:pt x="149" y="224"/>
                      <a:pt x="149" y="224"/>
                      <a:pt x="149" y="224"/>
                    </a:cubicBezTo>
                    <a:cubicBezTo>
                      <a:pt x="174" y="224"/>
                      <a:pt x="174" y="224"/>
                      <a:pt x="174" y="224"/>
                    </a:cubicBezTo>
                    <a:cubicBezTo>
                      <a:pt x="203" y="303"/>
                      <a:pt x="203" y="303"/>
                      <a:pt x="203" y="303"/>
                    </a:cubicBezTo>
                    <a:cubicBezTo>
                      <a:pt x="205" y="307"/>
                      <a:pt x="209" y="310"/>
                      <a:pt x="213" y="310"/>
                    </a:cubicBezTo>
                    <a:cubicBezTo>
                      <a:pt x="215" y="310"/>
                      <a:pt x="216" y="309"/>
                      <a:pt x="217" y="309"/>
                    </a:cubicBezTo>
                    <a:cubicBezTo>
                      <a:pt x="223" y="307"/>
                      <a:pt x="225" y="301"/>
                      <a:pt x="223" y="295"/>
                    </a:cubicBezTo>
                    <a:cubicBezTo>
                      <a:pt x="197" y="224"/>
                      <a:pt x="197" y="224"/>
                      <a:pt x="197" y="224"/>
                    </a:cubicBezTo>
                    <a:cubicBezTo>
                      <a:pt x="267" y="224"/>
                      <a:pt x="267" y="224"/>
                      <a:pt x="267" y="224"/>
                    </a:cubicBezTo>
                    <a:cubicBezTo>
                      <a:pt x="273" y="224"/>
                      <a:pt x="277" y="220"/>
                      <a:pt x="277" y="214"/>
                    </a:cubicBezTo>
                    <a:cubicBezTo>
                      <a:pt x="277" y="22"/>
                      <a:pt x="277" y="22"/>
                      <a:pt x="277" y="22"/>
                    </a:cubicBezTo>
                    <a:cubicBezTo>
                      <a:pt x="277" y="16"/>
                      <a:pt x="273" y="11"/>
                      <a:pt x="267" y="11"/>
                    </a:cubicBezTo>
                    <a:close/>
                    <a:moveTo>
                      <a:pt x="256" y="203"/>
                    </a:moveTo>
                    <a:cubicBezTo>
                      <a:pt x="21" y="203"/>
                      <a:pt x="21" y="203"/>
                      <a:pt x="21" y="203"/>
                    </a:cubicBezTo>
                    <a:cubicBezTo>
                      <a:pt x="21" y="32"/>
                      <a:pt x="21" y="32"/>
                      <a:pt x="21" y="32"/>
                    </a:cubicBezTo>
                    <a:cubicBezTo>
                      <a:pt x="256" y="32"/>
                      <a:pt x="256" y="32"/>
                      <a:pt x="256" y="32"/>
                    </a:cubicBezTo>
                    <a:lnTo>
                      <a:pt x="256" y="203"/>
                    </a:lnTo>
                    <a:close/>
                  </a:path>
                </a:pathLst>
              </a:custGeom>
              <a:solidFill>
                <a:srgbClr val="009A4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85" name="Isosceles Triangle 84"/>
              <p:cNvSpPr/>
              <p:nvPr/>
            </p:nvSpPr>
            <p:spPr bwMode="gray">
              <a:xfrm>
                <a:off x="6627074" y="2995260"/>
                <a:ext cx="204952" cy="70944"/>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6" name="Isosceles Triangle 85"/>
              <p:cNvSpPr/>
              <p:nvPr/>
            </p:nvSpPr>
            <p:spPr bwMode="gray">
              <a:xfrm>
                <a:off x="8075580" y="4358435"/>
                <a:ext cx="204952" cy="70944"/>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7" name="Isosceles Triangle 86"/>
              <p:cNvSpPr/>
              <p:nvPr/>
            </p:nvSpPr>
            <p:spPr bwMode="gray">
              <a:xfrm rot="16200000">
                <a:off x="727977" y="4808486"/>
                <a:ext cx="204952" cy="70944"/>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8" name="Isosceles Triangle 87"/>
              <p:cNvSpPr/>
              <p:nvPr/>
            </p:nvSpPr>
            <p:spPr bwMode="gray">
              <a:xfrm>
                <a:off x="850551" y="2995260"/>
                <a:ext cx="204952" cy="70944"/>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89" name="Isosceles Triangle 88"/>
              <p:cNvSpPr/>
              <p:nvPr/>
            </p:nvSpPr>
            <p:spPr bwMode="gray">
              <a:xfrm>
                <a:off x="5366843" y="1638167"/>
                <a:ext cx="204952" cy="70944"/>
              </a:xfrm>
              <a:prstGeom prst="triangle">
                <a:avLst/>
              </a:prstGeom>
              <a:solidFill>
                <a:srgbClr val="A7A8AA"/>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90" name="Freeform 433"/>
              <p:cNvSpPr>
                <a:spLocks noEditPoints="1"/>
              </p:cNvSpPr>
              <p:nvPr/>
            </p:nvSpPr>
            <p:spPr bwMode="auto">
              <a:xfrm>
                <a:off x="748851" y="2538341"/>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91" name="Arc 90"/>
              <p:cNvSpPr/>
              <p:nvPr/>
            </p:nvSpPr>
            <p:spPr bwMode="gray">
              <a:xfrm>
                <a:off x="2400288" y="2665379"/>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92" name="Arc 91"/>
              <p:cNvSpPr/>
              <p:nvPr/>
            </p:nvSpPr>
            <p:spPr bwMode="gray">
              <a:xfrm>
                <a:off x="5090730" y="3992988"/>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93" name="Arc 92"/>
              <p:cNvSpPr/>
              <p:nvPr/>
            </p:nvSpPr>
            <p:spPr bwMode="gray">
              <a:xfrm>
                <a:off x="2417292" y="1287390"/>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sp>
            <p:nvSpPr>
              <p:cNvPr id="94" name="Arc 93"/>
              <p:cNvSpPr/>
              <p:nvPr/>
            </p:nvSpPr>
            <p:spPr bwMode="gray">
              <a:xfrm>
                <a:off x="3752030" y="4009203"/>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95" name="Straight Connector 94"/>
              <p:cNvCxnSpPr/>
              <p:nvPr/>
            </p:nvCxnSpPr>
            <p:spPr>
              <a:xfrm>
                <a:off x="6512054" y="5756308"/>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228294" y="2563570"/>
                <a:ext cx="1149397" cy="0"/>
              </a:xfrm>
              <a:prstGeom prst="line">
                <a:avLst/>
              </a:prstGeom>
              <a:noFill/>
              <a:ln w="12700" algn="ctr">
                <a:solidFill>
                  <a:schemeClr val="tx1">
                    <a:lumMod val="65000"/>
                    <a:lumOff val="35000"/>
                  </a:schemeClr>
                </a:solidFill>
                <a:prstDash val="dash"/>
                <a:miter lim="800000"/>
                <a:headEnd/>
                <a:tailEnd/>
              </a:ln>
            </p:spPr>
          </p:cxnSp>
        </p:grpSp>
        <p:grpSp>
          <p:nvGrpSpPr>
            <p:cNvPr id="97" name="Group 902">
              <a:extLst>
                <a:ext uri="{FF2B5EF4-FFF2-40B4-BE49-F238E27FC236}">
                  <a16:creationId xmlns:a16="http://schemas.microsoft.com/office/drawing/2014/main" id="{44E0D1E3-AF68-4BD1-B099-C7BE6EDF0AD0}"/>
                </a:ext>
              </a:extLst>
            </p:cNvPr>
            <p:cNvGrpSpPr>
              <a:grpSpLocks noChangeAspect="1"/>
            </p:cNvGrpSpPr>
            <p:nvPr/>
          </p:nvGrpSpPr>
          <p:grpSpPr bwMode="auto">
            <a:xfrm>
              <a:off x="2900126" y="1719515"/>
              <a:ext cx="737655" cy="735491"/>
              <a:chOff x="3456" y="3471"/>
              <a:chExt cx="341" cy="340"/>
            </a:xfrm>
            <a:solidFill>
              <a:schemeClr val="accent1"/>
            </a:solidFill>
          </p:grpSpPr>
          <p:sp>
            <p:nvSpPr>
              <p:cNvPr id="98" name="Freeform 903">
                <a:extLst>
                  <a:ext uri="{FF2B5EF4-FFF2-40B4-BE49-F238E27FC236}">
                    <a16:creationId xmlns:a16="http://schemas.microsoft.com/office/drawing/2014/main" id="{4B5C1C1A-DA13-453C-B1ED-287988BCD61E}"/>
                  </a:ext>
                </a:extLst>
              </p:cNvPr>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9" name="Freeform 904">
                <a:extLst>
                  <a:ext uri="{FF2B5EF4-FFF2-40B4-BE49-F238E27FC236}">
                    <a16:creationId xmlns:a16="http://schemas.microsoft.com/office/drawing/2014/main" id="{A40077A8-9E29-41EA-8743-3C925A4C51C9}"/>
                  </a:ext>
                </a:extLst>
              </p:cNvPr>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Calibri Light"/>
                  <a:ea typeface="+mn-ea"/>
                  <a:cs typeface="+mn-cs"/>
                </a:endParaRPr>
              </a:p>
            </p:txBody>
          </p:sp>
        </p:grpSp>
      </p:grpSp>
      <p:sp>
        <p:nvSpPr>
          <p:cNvPr id="122" name="Freeform 54">
            <a:extLst>
              <a:ext uri="{FF2B5EF4-FFF2-40B4-BE49-F238E27FC236}">
                <a16:creationId xmlns:a16="http://schemas.microsoft.com/office/drawing/2014/main" id="{DE0EF347-D103-4C4E-A0A4-BD2FE5B095FF}"/>
              </a:ext>
            </a:extLst>
          </p:cNvPr>
          <p:cNvSpPr>
            <a:spLocks noEditPoints="1"/>
          </p:cNvSpPr>
          <p:nvPr/>
        </p:nvSpPr>
        <p:spPr bwMode="auto">
          <a:xfrm>
            <a:off x="1147211" y="5337038"/>
            <a:ext cx="463222" cy="46541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chemeClr val="accent1"/>
          </a:solidFill>
          <a:ln>
            <a:solidFill>
              <a:schemeClr val="accent1">
                <a:lumMod val="20000"/>
                <a:lumOff val="8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Light"/>
              <a:ea typeface="+mn-ea"/>
              <a:cs typeface="+mn-cs"/>
            </a:endParaRPr>
          </a:p>
        </p:txBody>
      </p:sp>
      <p:sp>
        <p:nvSpPr>
          <p:cNvPr id="123" name="Hexagon 58">
            <a:extLst>
              <a:ext uri="{FF2B5EF4-FFF2-40B4-BE49-F238E27FC236}">
                <a16:creationId xmlns:a16="http://schemas.microsoft.com/office/drawing/2014/main" id="{4756334F-4805-44ED-AAC1-318B70ABA3FE}"/>
              </a:ext>
            </a:extLst>
          </p:cNvPr>
          <p:cNvSpPr/>
          <p:nvPr/>
        </p:nvSpPr>
        <p:spPr bwMode="gray">
          <a:xfrm rot="16200000">
            <a:off x="1246246" y="5641773"/>
            <a:ext cx="282885" cy="113153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5" name="Group 4"/>
          <p:cNvGrpSpPr/>
          <p:nvPr/>
        </p:nvGrpSpPr>
        <p:grpSpPr>
          <a:xfrm>
            <a:off x="2629288" y="5200014"/>
            <a:ext cx="2139306" cy="988704"/>
            <a:chOff x="7873358" y="978253"/>
            <a:chExt cx="1097803" cy="507361"/>
          </a:xfrm>
        </p:grpSpPr>
        <p:sp>
          <p:nvSpPr>
            <p:cNvPr id="125" name="Rectangle 124">
              <a:extLst>
                <a:ext uri="{FF2B5EF4-FFF2-40B4-BE49-F238E27FC236}">
                  <a16:creationId xmlns:a16="http://schemas.microsoft.com/office/drawing/2014/main" id="{FF36E524-1298-445B-81CC-5F5266C44617}"/>
                </a:ext>
              </a:extLst>
            </p:cNvPr>
            <p:cNvSpPr/>
            <p:nvPr/>
          </p:nvSpPr>
          <p:spPr bwMode="gray">
            <a:xfrm>
              <a:off x="7873358" y="978253"/>
              <a:ext cx="1097803" cy="494752"/>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mn-cs"/>
                </a:rPr>
                <a:t>Beneficios de una Carta invitación</a:t>
              </a:r>
            </a:p>
            <a:p>
              <a:pPr marL="190738" marR="0" lvl="0" indent="-171450" algn="l" defTabSz="6858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portunidad de autocorregirse</a:t>
              </a:r>
            </a:p>
            <a:p>
              <a:pPr marL="190738" marR="0" lvl="0" indent="-171450" algn="l" defTabSz="685800" rtl="0" eaLnBrk="1" fontAlgn="auto" latinLnBrk="0" hangingPunct="1">
                <a:lnSpc>
                  <a:spcPct val="100000"/>
                </a:lnSpc>
                <a:spcBef>
                  <a:spcPts val="338"/>
                </a:spcBef>
                <a:spcAft>
                  <a:spcPts val="0"/>
                </a:spcAft>
                <a:buClrTx/>
                <a:buSzTx/>
                <a:buFont typeface="Arial" panose="020B0604020202020204" pitchFamily="34" charset="0"/>
                <a:buChar char="•"/>
                <a:tabLst/>
                <a:defRPr/>
              </a:pPr>
              <a:endParaRPr kumimoji="0" lang="es-MX" sz="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190738" marR="0" lvl="0" indent="-171450" algn="l" defTabSz="6858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vitar Multas y sanciones que la autoridad pueda imponer derivado de las irregularidades detectadas</a:t>
              </a:r>
            </a:p>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800" b="1" i="0" u="none" strike="noStrike" kern="1200" cap="none" spc="0" normalizeH="0" baseline="0" noProof="0" dirty="0">
                <a:ln>
                  <a:noFill/>
                </a:ln>
                <a:solidFill>
                  <a:srgbClr val="86BC25">
                    <a:lumMod val="75000"/>
                  </a:srgbClr>
                </a:solidFill>
                <a:effectLst/>
                <a:uLnTx/>
                <a:uFillTx/>
                <a:latin typeface="Verdana" panose="020B0604030504040204" pitchFamily="34" charset="0"/>
                <a:ea typeface="Verdana" panose="020B0604030504040204" pitchFamily="34" charset="0"/>
                <a:cs typeface="+mn-cs"/>
              </a:endParaRPr>
            </a:p>
          </p:txBody>
        </p:sp>
        <p:sp>
          <p:nvSpPr>
            <p:cNvPr id="126" name="Rectangle 125">
              <a:extLst>
                <a:ext uri="{FF2B5EF4-FFF2-40B4-BE49-F238E27FC236}">
                  <a16:creationId xmlns:a16="http://schemas.microsoft.com/office/drawing/2014/main" id="{875A85C2-DD85-4D2D-9BAB-86FD318B6471}"/>
                </a:ext>
              </a:extLst>
            </p:cNvPr>
            <p:cNvSpPr/>
            <p:nvPr/>
          </p:nvSpPr>
          <p:spPr bwMode="gray">
            <a:xfrm>
              <a:off x="7945456" y="1459228"/>
              <a:ext cx="953607" cy="26386"/>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121" name="Title 3"/>
          <p:cNvSpPr txBox="1">
            <a:spLocks/>
          </p:cNvSpPr>
          <p:nvPr/>
        </p:nvSpPr>
        <p:spPr bwMode="gray">
          <a:xfrm>
            <a:off x="501650" y="317500"/>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Carta invitación</a:t>
            </a:r>
            <a:endParaRPr kumimoji="0" lang="es-MX" altLang="es-MX" sz="1800" b="1" i="0" u="none" strike="noStrike" kern="1200" cap="none" spc="0" normalizeH="0" baseline="0" noProof="0" dirty="0">
              <a:ln>
                <a:noFill/>
              </a:ln>
              <a:solidFill>
                <a:srgbClr val="575757"/>
              </a:solidFill>
              <a:effectLst/>
              <a:uLnTx/>
              <a:uFillTx/>
              <a:latin typeface="Calibri Light"/>
              <a:ea typeface="+mj-ea"/>
              <a:cs typeface="Calibri Light" panose="020F0302020204030204" pitchFamily="34" charset="0"/>
            </a:endParaRPr>
          </a:p>
        </p:txBody>
      </p:sp>
      <p:sp>
        <p:nvSpPr>
          <p:cNvPr id="124" name="Rectangle 123">
            <a:extLst>
              <a:ext uri="{FF2B5EF4-FFF2-40B4-BE49-F238E27FC236}">
                <a16:creationId xmlns:a16="http://schemas.microsoft.com/office/drawing/2014/main" id="{C49A5036-E926-4337-8BE2-D62FB4D508A3}"/>
              </a:ext>
            </a:extLst>
          </p:cNvPr>
          <p:cNvSpPr/>
          <p:nvPr/>
        </p:nvSpPr>
        <p:spPr>
          <a:xfrm>
            <a:off x="535104" y="6329886"/>
            <a:ext cx="2700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7388108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B86663B-E10C-4023-A4C3-02D2F6902FF7}"/>
              </a:ext>
            </a:extLst>
          </p:cNvPr>
          <p:cNvSpPr/>
          <p:nvPr/>
        </p:nvSpPr>
        <p:spPr bwMode="gray">
          <a:xfrm>
            <a:off x="535104" y="6339212"/>
            <a:ext cx="11188700" cy="30788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MX"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89" name="Group 88"/>
          <p:cNvGrpSpPr/>
          <p:nvPr/>
        </p:nvGrpSpPr>
        <p:grpSpPr>
          <a:xfrm>
            <a:off x="10544368" y="133472"/>
            <a:ext cx="1097803" cy="1199742"/>
            <a:chOff x="774459" y="2132409"/>
            <a:chExt cx="1944823" cy="2491327"/>
          </a:xfrm>
        </p:grpSpPr>
        <p:grpSp>
          <p:nvGrpSpPr>
            <p:cNvPr id="90" name="Group 489">
              <a:extLst>
                <a:ext uri="{FF2B5EF4-FFF2-40B4-BE49-F238E27FC236}">
                  <a16:creationId xmlns:a16="http://schemas.microsoft.com/office/drawing/2014/main" id="{D3121BA0-0F11-4198-88D1-A6370549F208}"/>
                </a:ext>
              </a:extLst>
            </p:cNvPr>
            <p:cNvGrpSpPr>
              <a:grpSpLocks noChangeAspect="1"/>
            </p:cNvGrpSpPr>
            <p:nvPr/>
          </p:nvGrpSpPr>
          <p:grpSpPr bwMode="auto">
            <a:xfrm>
              <a:off x="1514663" y="2591717"/>
              <a:ext cx="464416" cy="460074"/>
              <a:chOff x="2920" y="2264"/>
              <a:chExt cx="340" cy="340"/>
            </a:xfrm>
            <a:solidFill>
              <a:schemeClr val="accent5"/>
            </a:solidFill>
          </p:grpSpPr>
          <p:sp>
            <p:nvSpPr>
              <p:cNvPr id="104" name="Freeform 490">
                <a:extLst>
                  <a:ext uri="{FF2B5EF4-FFF2-40B4-BE49-F238E27FC236}">
                    <a16:creationId xmlns:a16="http://schemas.microsoft.com/office/drawing/2014/main" id="{BCD3175F-EFA7-4CCD-B2B4-292A9995CE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5" name="Freeform 491">
                <a:extLst>
                  <a:ext uri="{FF2B5EF4-FFF2-40B4-BE49-F238E27FC236}">
                    <a16:creationId xmlns:a16="http://schemas.microsoft.com/office/drawing/2014/main" id="{6ECCB2DF-9D22-4747-B6A3-A4D303E1E941}"/>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06" name="Freeform 492">
                <a:extLst>
                  <a:ext uri="{FF2B5EF4-FFF2-40B4-BE49-F238E27FC236}">
                    <a16:creationId xmlns:a16="http://schemas.microsoft.com/office/drawing/2014/main" id="{2F58D71E-0903-4B02-AAE8-E67ED6247C6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style>
              <a:lnRef idx="2">
                <a:schemeClr val="accent2"/>
              </a:lnRef>
              <a:fillRef idx="1">
                <a:schemeClr val="lt1"/>
              </a:fillRef>
              <a:effectRef idx="0">
                <a:schemeClr val="accent2"/>
              </a:effectRef>
              <a:fontRef idx="minor">
                <a:schemeClr val="dk1"/>
              </a:fontRef>
            </p:style>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91" name="Group 90">
              <a:extLst>
                <a:ext uri="{FF2B5EF4-FFF2-40B4-BE49-F238E27FC236}">
                  <a16:creationId xmlns:a16="http://schemas.microsoft.com/office/drawing/2014/main" id="{648D6542-F5A6-4271-A321-4012662AA23B}"/>
                </a:ext>
              </a:extLst>
            </p:cNvPr>
            <p:cNvGrpSpPr/>
            <p:nvPr/>
          </p:nvGrpSpPr>
          <p:grpSpPr>
            <a:xfrm>
              <a:off x="774459" y="2132409"/>
              <a:ext cx="1944823" cy="358453"/>
              <a:chOff x="413228" y="1371600"/>
              <a:chExt cx="1947702" cy="476173"/>
            </a:xfrm>
          </p:grpSpPr>
          <p:sp>
            <p:nvSpPr>
              <p:cNvPr id="101" name="Right Triangle 49">
                <a:extLst>
                  <a:ext uri="{FF2B5EF4-FFF2-40B4-BE49-F238E27FC236}">
                    <a16:creationId xmlns:a16="http://schemas.microsoft.com/office/drawing/2014/main" id="{29868CD8-0A6F-49B7-84C9-1CC24AF9900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2" name="Right Triangle 49">
                <a:extLst>
                  <a:ext uri="{FF2B5EF4-FFF2-40B4-BE49-F238E27FC236}">
                    <a16:creationId xmlns:a16="http://schemas.microsoft.com/office/drawing/2014/main" id="{AD495C6B-75E6-4804-92F2-9B7BF9C4E44B}"/>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chemeClr val="accent5">
                  <a:lumMod val="50000"/>
                </a:scheme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03" name="Round Same Side Corner Rectangle 43">
                <a:extLst>
                  <a:ext uri="{FF2B5EF4-FFF2-40B4-BE49-F238E27FC236}">
                    <a16:creationId xmlns:a16="http://schemas.microsoft.com/office/drawing/2014/main" id="{061E7905-79A6-499A-8D5D-704DFF1259AB}"/>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chemeClr val="accent1"/>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8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rPr>
                  <a:t>Fundamento</a:t>
                </a:r>
              </a:p>
            </p:txBody>
          </p:sp>
        </p:grpSp>
        <p:grpSp>
          <p:nvGrpSpPr>
            <p:cNvPr id="92" name="Group 91">
              <a:extLst>
                <a:ext uri="{FF2B5EF4-FFF2-40B4-BE49-F238E27FC236}">
                  <a16:creationId xmlns:a16="http://schemas.microsoft.com/office/drawing/2014/main" id="{DFD3E7B2-3428-4824-A54D-B24C483AB07C}"/>
                </a:ext>
              </a:extLst>
            </p:cNvPr>
            <p:cNvGrpSpPr/>
            <p:nvPr/>
          </p:nvGrpSpPr>
          <p:grpSpPr>
            <a:xfrm>
              <a:off x="774459" y="3570175"/>
              <a:ext cx="1944823" cy="1053561"/>
              <a:chOff x="582909" y="4047068"/>
              <a:chExt cx="2642778" cy="1686277"/>
            </a:xfrm>
          </p:grpSpPr>
          <p:sp>
            <p:nvSpPr>
              <p:cNvPr id="99" name="Rectangle 98">
                <a:extLst>
                  <a:ext uri="{FF2B5EF4-FFF2-40B4-BE49-F238E27FC236}">
                    <a16:creationId xmlns:a16="http://schemas.microsoft.com/office/drawing/2014/main" id="{FF36E524-1298-445B-81CC-5F5266C44617}"/>
                  </a:ext>
                </a:extLst>
              </p:cNvPr>
              <p:cNvSpPr/>
              <p:nvPr/>
            </p:nvSpPr>
            <p:spPr bwMode="gray">
              <a:xfrm>
                <a:off x="582909" y="4047068"/>
                <a:ext cx="2642778" cy="1644370"/>
              </a:xfrm>
              <a:prstGeom prst="rect">
                <a:avLst/>
              </a:prstGeom>
              <a:solidFill>
                <a:schemeClr val="bg1">
                  <a:lumMod val="95000"/>
                </a:scheme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l Artículo 42 y 48 del Código Fiscal de la Federación (CFF)</a:t>
                </a:r>
                <a:endParaRPr kumimoji="0" lang="en-US" sz="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00" name="Rectangle 99">
                <a:extLst>
                  <a:ext uri="{FF2B5EF4-FFF2-40B4-BE49-F238E27FC236}">
                    <a16:creationId xmlns:a16="http://schemas.microsoft.com/office/drawing/2014/main" id="{875A85C2-DD85-4D2D-9BAB-86FD318B6471}"/>
                  </a:ext>
                </a:extLst>
              </p:cNvPr>
              <p:cNvSpPr/>
              <p:nvPr/>
            </p:nvSpPr>
            <p:spPr bwMode="gray">
              <a:xfrm>
                <a:off x="756473" y="5645648"/>
                <a:ext cx="2295650" cy="87697"/>
              </a:xfrm>
              <a:prstGeom prst="rect">
                <a:avLst/>
              </a:prstGeom>
              <a:solidFill>
                <a:schemeClr val="accent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93" name="Group 92">
              <a:extLst>
                <a:ext uri="{FF2B5EF4-FFF2-40B4-BE49-F238E27FC236}">
                  <a16:creationId xmlns:a16="http://schemas.microsoft.com/office/drawing/2014/main" id="{D1192240-DB18-4602-BC96-F713F51F5EA2}"/>
                </a:ext>
              </a:extLst>
            </p:cNvPr>
            <p:cNvGrpSpPr/>
            <p:nvPr/>
          </p:nvGrpSpPr>
          <p:grpSpPr>
            <a:xfrm>
              <a:off x="1427950" y="2490862"/>
              <a:ext cx="637841" cy="1054731"/>
              <a:chOff x="757805" y="1635343"/>
              <a:chExt cx="1185062" cy="2012973"/>
            </a:xfrm>
          </p:grpSpPr>
          <p:sp>
            <p:nvSpPr>
              <p:cNvPr id="94" name="Freeform 36">
                <a:extLst>
                  <a:ext uri="{FF2B5EF4-FFF2-40B4-BE49-F238E27FC236}">
                    <a16:creationId xmlns:a16="http://schemas.microsoft.com/office/drawing/2014/main" id="{68DB2047-3620-45A5-8E31-F5A368E64683}"/>
                  </a:ext>
                </a:extLst>
              </p:cNvPr>
              <p:cNvSpPr/>
              <p:nvPr/>
            </p:nvSpPr>
            <p:spPr bwMode="gray">
              <a:xfrm>
                <a:off x="757805" y="1635343"/>
                <a:ext cx="1185062" cy="1921248"/>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95" name="Round Same Side Corner Rectangle 37">
                <a:extLst>
                  <a:ext uri="{FF2B5EF4-FFF2-40B4-BE49-F238E27FC236}">
                    <a16:creationId xmlns:a16="http://schemas.microsoft.com/office/drawing/2014/main" id="{226606D2-0E15-4F08-959B-39AC659D24D8}"/>
                  </a:ext>
                </a:extLst>
              </p:cNvPr>
              <p:cNvSpPr/>
              <p:nvPr/>
            </p:nvSpPr>
            <p:spPr bwMode="gray">
              <a:xfrm>
                <a:off x="1289779" y="3495046"/>
                <a:ext cx="116350" cy="108039"/>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6" name="Round Same Side Corner Rectangle 38">
                <a:extLst>
                  <a:ext uri="{FF2B5EF4-FFF2-40B4-BE49-F238E27FC236}">
                    <a16:creationId xmlns:a16="http://schemas.microsoft.com/office/drawing/2014/main" id="{1A9107EB-116E-43C6-8BF0-1B951A4E8FBE}"/>
                  </a:ext>
                </a:extLst>
              </p:cNvPr>
              <p:cNvSpPr/>
              <p:nvPr/>
            </p:nvSpPr>
            <p:spPr bwMode="gray">
              <a:xfrm flipV="1">
                <a:off x="1312850"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7" name="Round Same Side Corner Rectangle 39">
                <a:extLst>
                  <a:ext uri="{FF2B5EF4-FFF2-40B4-BE49-F238E27FC236}">
                    <a16:creationId xmlns:a16="http://schemas.microsoft.com/office/drawing/2014/main" id="{E5978045-D442-4BBC-85F5-15BAD92B52C6}"/>
                  </a:ext>
                </a:extLst>
              </p:cNvPr>
              <p:cNvSpPr/>
              <p:nvPr/>
            </p:nvSpPr>
            <p:spPr bwMode="gray">
              <a:xfrm flipV="1">
                <a:off x="1362714" y="3603085"/>
                <a:ext cx="21108" cy="45231"/>
              </a:xfrm>
              <a:prstGeom prst="round2SameRect">
                <a:avLst>
                  <a:gd name="adj1" fmla="val 50000"/>
                  <a:gd name="adj2" fmla="val 0"/>
                </a:avLst>
              </a:prstGeom>
              <a:solidFill>
                <a:schemeClr val="accent3"/>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98" name="Oval 97">
                <a:extLst>
                  <a:ext uri="{FF2B5EF4-FFF2-40B4-BE49-F238E27FC236}">
                    <a16:creationId xmlns:a16="http://schemas.microsoft.com/office/drawing/2014/main" id="{AAA32C12-EC01-4C5A-A527-B7D8D8AE00DB}"/>
                  </a:ext>
                </a:extLst>
              </p:cNvPr>
              <p:cNvSpPr/>
              <p:nvPr/>
            </p:nvSpPr>
            <p:spPr bwMode="gray">
              <a:xfrm>
                <a:off x="1329954" y="3531065"/>
                <a:ext cx="36000" cy="36000"/>
              </a:xfrm>
              <a:prstGeom prst="ellipse">
                <a:avLst/>
              </a:prstGeom>
              <a:solidFill>
                <a:schemeClr val="bg1"/>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1200" cap="none" spc="0" normalizeH="0" baseline="0" noProof="0" dirty="0">
                  <a:ln>
                    <a:noFill/>
                  </a:ln>
                  <a:solidFill>
                    <a:prstClr val="white"/>
                  </a:solidFill>
                  <a:effectLst/>
                  <a:uLnTx/>
                  <a:uFillTx/>
                  <a:latin typeface="Calibri Light"/>
                  <a:ea typeface="+mn-ea"/>
                  <a:cs typeface="+mn-cs"/>
                </a:endParaRPr>
              </a:p>
            </p:txBody>
          </p:sp>
        </p:grpSp>
      </p:grpSp>
      <p:sp>
        <p:nvSpPr>
          <p:cNvPr id="116" name="Title 3"/>
          <p:cNvSpPr txBox="1">
            <a:spLocks/>
          </p:cNvSpPr>
          <p:nvPr/>
        </p:nvSpPr>
        <p:spPr bwMode="gray">
          <a:xfrm>
            <a:off x="501650" y="317500"/>
            <a:ext cx="111887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ts val="0"/>
              </a:spcBef>
              <a:spcAft>
                <a:spcPts val="1000"/>
              </a:spcAft>
              <a:buClrTx/>
              <a:buSzPct val="100000"/>
              <a:buFontTx/>
              <a:buNone/>
              <a:tabLst/>
              <a:defRPr/>
            </a:pPr>
            <a:r>
              <a:rPr kumimoji="0" lang="es-MX" altLang="es-MX" sz="2100" b="1"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Visitas Domiciliarias / Revisiones de Gabinete</a:t>
            </a:r>
            <a:endParaRPr kumimoji="0" lang="es-MX" altLang="es-MX" sz="1800" b="1" i="0" u="none" strike="noStrike" kern="1200" cap="none" spc="0" normalizeH="0" baseline="0" noProof="0" dirty="0">
              <a:ln>
                <a:noFill/>
              </a:ln>
              <a:solidFill>
                <a:srgbClr val="575757"/>
              </a:solidFill>
              <a:effectLst/>
              <a:uLnTx/>
              <a:uFillTx/>
              <a:latin typeface="Calibri Light"/>
              <a:ea typeface="+mj-ea"/>
              <a:cs typeface="Calibri Light" panose="020F0302020204030204" pitchFamily="34" charset="0"/>
            </a:endParaRPr>
          </a:p>
        </p:txBody>
      </p:sp>
      <p:sp>
        <p:nvSpPr>
          <p:cNvPr id="171" name="Rectangle 170">
            <a:extLst>
              <a:ext uri="{FF2B5EF4-FFF2-40B4-BE49-F238E27FC236}">
                <a16:creationId xmlns:a16="http://schemas.microsoft.com/office/drawing/2014/main" id="{5A381CDA-A377-4E65-A3F7-D3FB87FAE6CC}"/>
              </a:ext>
            </a:extLst>
          </p:cNvPr>
          <p:cNvSpPr/>
          <p:nvPr/>
        </p:nvSpPr>
        <p:spPr bwMode="gray">
          <a:xfrm>
            <a:off x="655774" y="3576990"/>
            <a:ext cx="2588559" cy="2436152"/>
          </a:xfrm>
          <a:prstGeom prst="rect">
            <a:avLst/>
          </a:prstGeom>
          <a:solidFill>
            <a:srgbClr val="046A38"/>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Conciliación entre registros contables y Declaración Anual contra Importaciones realizadas.</a:t>
            </a:r>
          </a:p>
        </p:txBody>
      </p:sp>
      <p:sp>
        <p:nvSpPr>
          <p:cNvPr id="172" name="Rectangle 171">
            <a:extLst>
              <a:ext uri="{FF2B5EF4-FFF2-40B4-BE49-F238E27FC236}">
                <a16:creationId xmlns:a16="http://schemas.microsoft.com/office/drawing/2014/main" id="{113F6E9A-1397-4349-A45E-C1CACA89029F}"/>
              </a:ext>
            </a:extLst>
          </p:cNvPr>
          <p:cNvSpPr/>
          <p:nvPr/>
        </p:nvSpPr>
        <p:spPr bwMode="gray">
          <a:xfrm>
            <a:off x="6152873" y="3608388"/>
            <a:ext cx="2588559" cy="2436152"/>
          </a:xfrm>
          <a:prstGeom prst="rect">
            <a:avLst/>
          </a:prstGeom>
          <a:solidFill>
            <a:srgbClr val="046A38"/>
          </a:solidFill>
          <a:ln w="19050" algn="ctr">
            <a:noFill/>
            <a:miter lim="800000"/>
            <a:headEnd/>
            <a:tailEnd/>
          </a:ln>
        </p:spPr>
        <p:txBody>
          <a:bodyPr wrap="square" lIns="144000" tIns="216000" rIns="20250" bIns="20250" rtlCol="0" anchor="t"/>
          <a:lstStyle/>
          <a:p>
            <a:pPr marL="176213" marR="0" lvl="0" indent="-157163" algn="l" defTabSz="9144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Cumplimiento de RRNA.</a:t>
            </a:r>
          </a:p>
          <a:p>
            <a:pPr marL="176213" marR="0" lvl="0" indent="-157163" algn="l" defTabSz="9144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Cumplimiento de Incrementables (Seguro, flete, regalías, entre otros).</a:t>
            </a:r>
          </a:p>
          <a:p>
            <a:pPr marL="176213" marR="0" lvl="0" indent="-157163" algn="l" defTabSz="9144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Incorrecta clasificación arancelaria.</a:t>
            </a:r>
          </a:p>
          <a:p>
            <a:pPr marL="176213" marR="0" lvl="0" indent="-157163" algn="l" defTabSz="914400"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Vencimiento de importaciones temporales.</a:t>
            </a:r>
          </a:p>
        </p:txBody>
      </p:sp>
      <p:grpSp>
        <p:nvGrpSpPr>
          <p:cNvPr id="173" name="Group 489">
            <a:extLst>
              <a:ext uri="{FF2B5EF4-FFF2-40B4-BE49-F238E27FC236}">
                <a16:creationId xmlns:a16="http://schemas.microsoft.com/office/drawing/2014/main" id="{0A9A8A29-E073-4051-BC1F-5486E4F42546}"/>
              </a:ext>
            </a:extLst>
          </p:cNvPr>
          <p:cNvGrpSpPr>
            <a:grpSpLocks noChangeAspect="1"/>
          </p:cNvGrpSpPr>
          <p:nvPr/>
        </p:nvGrpSpPr>
        <p:grpSpPr bwMode="auto">
          <a:xfrm>
            <a:off x="1640985" y="2224367"/>
            <a:ext cx="618138" cy="549138"/>
            <a:chOff x="2920" y="2264"/>
            <a:chExt cx="340" cy="340"/>
          </a:xfrm>
          <a:solidFill>
            <a:srgbClr val="0D8390"/>
          </a:solidFill>
        </p:grpSpPr>
        <p:sp>
          <p:nvSpPr>
            <p:cNvPr id="174" name="Freeform 490">
              <a:extLst>
                <a:ext uri="{FF2B5EF4-FFF2-40B4-BE49-F238E27FC236}">
                  <a16:creationId xmlns:a16="http://schemas.microsoft.com/office/drawing/2014/main" id="{3E05BBA1-5419-4CDF-BB0C-916273457A1C}"/>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75" name="Freeform 491">
              <a:extLst>
                <a:ext uri="{FF2B5EF4-FFF2-40B4-BE49-F238E27FC236}">
                  <a16:creationId xmlns:a16="http://schemas.microsoft.com/office/drawing/2014/main" id="{5C4C3473-4D68-4454-824C-4622FC6505CE}"/>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76" name="Freeform 492">
              <a:extLst>
                <a:ext uri="{FF2B5EF4-FFF2-40B4-BE49-F238E27FC236}">
                  <a16:creationId xmlns:a16="http://schemas.microsoft.com/office/drawing/2014/main" id="{5F503906-A867-4632-8017-04AE23BFBE4D}"/>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177" name="Group 176">
            <a:extLst>
              <a:ext uri="{FF2B5EF4-FFF2-40B4-BE49-F238E27FC236}">
                <a16:creationId xmlns:a16="http://schemas.microsoft.com/office/drawing/2014/main" id="{2930F5FA-6640-4E73-9109-08EC75616E67}"/>
              </a:ext>
            </a:extLst>
          </p:cNvPr>
          <p:cNvGrpSpPr/>
          <p:nvPr/>
        </p:nvGrpSpPr>
        <p:grpSpPr>
          <a:xfrm>
            <a:off x="655774" y="1676143"/>
            <a:ext cx="2588559" cy="427845"/>
            <a:chOff x="413228" y="1371600"/>
            <a:chExt cx="1947702" cy="476173"/>
          </a:xfrm>
        </p:grpSpPr>
        <p:sp>
          <p:nvSpPr>
            <p:cNvPr id="178" name="Right Triangle 49">
              <a:extLst>
                <a:ext uri="{FF2B5EF4-FFF2-40B4-BE49-F238E27FC236}">
                  <a16:creationId xmlns:a16="http://schemas.microsoft.com/office/drawing/2014/main" id="{3C5B8EA4-D0DE-4133-A5CC-4C1B14C77734}"/>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ts val="12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79" name="Right Triangle 49">
              <a:extLst>
                <a:ext uri="{FF2B5EF4-FFF2-40B4-BE49-F238E27FC236}">
                  <a16:creationId xmlns:a16="http://schemas.microsoft.com/office/drawing/2014/main" id="{23CA86A9-2177-4AB2-BCCE-AFB029F1C92E}"/>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ts val="12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80" name="Round Same Side Corner Rectangle 43">
              <a:extLst>
                <a:ext uri="{FF2B5EF4-FFF2-40B4-BE49-F238E27FC236}">
                  <a16:creationId xmlns:a16="http://schemas.microsoft.com/office/drawing/2014/main" id="{703C4BC8-8C20-4ACD-8277-82C55202DB41}"/>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s-MX" sz="1200" b="1" i="0" u="none" strike="noStrike" kern="0" cap="none" spc="0" normalizeH="0" baseline="0" noProof="0" dirty="0">
                  <a:ln>
                    <a:noFill/>
                  </a:ln>
                  <a:solidFill>
                    <a:prstClr val="white"/>
                  </a:solidFill>
                  <a:effectLst/>
                  <a:uLnTx/>
                  <a:uFillTx/>
                  <a:latin typeface="Calibri Light"/>
                  <a:ea typeface="Verdana" panose="020B0604030504040204" pitchFamily="34" charset="0"/>
                  <a:cs typeface="Calibri" panose="020F0502020204030204" pitchFamily="34" charset="0"/>
                </a:rPr>
                <a:t>Declaración Anual vs Compras</a:t>
              </a:r>
              <a:br>
                <a:rPr kumimoji="0" lang="es-MX" sz="1200" b="1" i="0" u="none" strike="noStrike" kern="0" cap="none" spc="0" normalizeH="0" baseline="0" noProof="0" dirty="0">
                  <a:ln>
                    <a:noFill/>
                  </a:ln>
                  <a:solidFill>
                    <a:prstClr val="white"/>
                  </a:solidFill>
                  <a:effectLst/>
                  <a:uLnTx/>
                  <a:uFillTx/>
                  <a:latin typeface="Calibri Light"/>
                  <a:ea typeface="Verdana" panose="020B0604030504040204" pitchFamily="34" charset="0"/>
                  <a:cs typeface="Calibri" panose="020F0502020204030204" pitchFamily="34" charset="0"/>
                </a:rPr>
              </a:br>
              <a:r>
                <a:rPr kumimoji="0" lang="es-MX" sz="1200" b="1" i="0" u="none" strike="noStrike" kern="0" cap="none" spc="0" normalizeH="0" baseline="0" noProof="0" dirty="0">
                  <a:ln>
                    <a:noFill/>
                  </a:ln>
                  <a:solidFill>
                    <a:prstClr val="white"/>
                  </a:solidFill>
                  <a:effectLst/>
                  <a:uLnTx/>
                  <a:uFillTx/>
                  <a:latin typeface="Calibri Light"/>
                  <a:ea typeface="Verdana" panose="020B0604030504040204" pitchFamily="34" charset="0"/>
                  <a:cs typeface="Calibri" panose="020F0502020204030204" pitchFamily="34" charset="0"/>
                </a:rPr>
                <a:t>de importación</a:t>
              </a:r>
            </a:p>
          </p:txBody>
        </p:sp>
      </p:grpSp>
      <p:sp>
        <p:nvSpPr>
          <p:cNvPr id="181" name="Rectangle 180">
            <a:extLst>
              <a:ext uri="{FF2B5EF4-FFF2-40B4-BE49-F238E27FC236}">
                <a16:creationId xmlns:a16="http://schemas.microsoft.com/office/drawing/2014/main" id="{F6A7BC4F-1C31-4F80-B352-1BD7CF6FB805}"/>
              </a:ext>
            </a:extLst>
          </p:cNvPr>
          <p:cNvSpPr/>
          <p:nvPr/>
        </p:nvSpPr>
        <p:spPr bwMode="gray">
          <a:xfrm>
            <a:off x="825778" y="6018996"/>
            <a:ext cx="2248553" cy="65398"/>
          </a:xfrm>
          <a:prstGeom prst="rect">
            <a:avLst/>
          </a:prstGeom>
          <a:solidFill>
            <a:srgbClr val="86BC25"/>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82" name="Group 181">
            <a:extLst>
              <a:ext uri="{FF2B5EF4-FFF2-40B4-BE49-F238E27FC236}">
                <a16:creationId xmlns:a16="http://schemas.microsoft.com/office/drawing/2014/main" id="{12CFDDEA-79B3-4842-BA8C-04E7C0CEF622}"/>
              </a:ext>
            </a:extLst>
          </p:cNvPr>
          <p:cNvGrpSpPr/>
          <p:nvPr/>
        </p:nvGrpSpPr>
        <p:grpSpPr>
          <a:xfrm>
            <a:off x="1599240" y="2158604"/>
            <a:ext cx="701625" cy="1204296"/>
            <a:chOff x="860641" y="1722673"/>
            <a:chExt cx="979391" cy="1925643"/>
          </a:xfrm>
        </p:grpSpPr>
        <p:sp>
          <p:nvSpPr>
            <p:cNvPr id="183" name="Freeform 89">
              <a:extLst>
                <a:ext uri="{FF2B5EF4-FFF2-40B4-BE49-F238E27FC236}">
                  <a16:creationId xmlns:a16="http://schemas.microsoft.com/office/drawing/2014/main" id="{2F73D731-3C67-41F6-8337-19EE307A38B5}"/>
                </a:ext>
              </a:extLst>
            </p:cNvPr>
            <p:cNvSpPr/>
            <p:nvPr/>
          </p:nvSpPr>
          <p:spPr bwMode="gray">
            <a:xfrm>
              <a:off x="860641" y="1722673"/>
              <a:ext cx="979391" cy="1746590"/>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84" name="Round Same Side Corner Rectangle 90">
              <a:extLst>
                <a:ext uri="{FF2B5EF4-FFF2-40B4-BE49-F238E27FC236}">
                  <a16:creationId xmlns:a16="http://schemas.microsoft.com/office/drawing/2014/main" id="{DC5B6C93-261A-4A69-B45B-80C38B4DAD3B}"/>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85" name="Round Same Side Corner Rectangle 91">
              <a:extLst>
                <a:ext uri="{FF2B5EF4-FFF2-40B4-BE49-F238E27FC236}">
                  <a16:creationId xmlns:a16="http://schemas.microsoft.com/office/drawing/2014/main" id="{D6CD3810-F3B0-42CA-A51D-ED962ED2C642}"/>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86" name="Round Same Side Corner Rectangle 92">
              <a:extLst>
                <a:ext uri="{FF2B5EF4-FFF2-40B4-BE49-F238E27FC236}">
                  <a16:creationId xmlns:a16="http://schemas.microsoft.com/office/drawing/2014/main" id="{AEEE4705-34A1-40F5-AFCE-FB710BC5E478}"/>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87" name="Oval 186">
              <a:extLst>
                <a:ext uri="{FF2B5EF4-FFF2-40B4-BE49-F238E27FC236}">
                  <a16:creationId xmlns:a16="http://schemas.microsoft.com/office/drawing/2014/main" id="{7958822C-21C5-4487-BB8F-D2B08AFB7758}"/>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grpSp>
        <p:nvGrpSpPr>
          <p:cNvPr id="188" name="Group 574">
            <a:extLst>
              <a:ext uri="{FF2B5EF4-FFF2-40B4-BE49-F238E27FC236}">
                <a16:creationId xmlns:a16="http://schemas.microsoft.com/office/drawing/2014/main" id="{EDD05300-073D-45AB-A98B-BD45E50F0646}"/>
              </a:ext>
            </a:extLst>
          </p:cNvPr>
          <p:cNvGrpSpPr>
            <a:grpSpLocks noChangeAspect="1"/>
          </p:cNvGrpSpPr>
          <p:nvPr/>
        </p:nvGrpSpPr>
        <p:grpSpPr bwMode="auto">
          <a:xfrm>
            <a:off x="7141870" y="2255765"/>
            <a:ext cx="610563" cy="549138"/>
            <a:chOff x="1921" y="1949"/>
            <a:chExt cx="340" cy="341"/>
          </a:xfrm>
          <a:solidFill>
            <a:srgbClr val="0D8390"/>
          </a:solidFill>
        </p:grpSpPr>
        <p:sp>
          <p:nvSpPr>
            <p:cNvPr id="189" name="Freeform 575">
              <a:extLst>
                <a:ext uri="{FF2B5EF4-FFF2-40B4-BE49-F238E27FC236}">
                  <a16:creationId xmlns:a16="http://schemas.microsoft.com/office/drawing/2014/main" id="{ACB4CF2B-7500-4F4D-9720-7407D1A7CA93}"/>
                </a:ext>
              </a:extLst>
            </p:cNvPr>
            <p:cNvSpPr>
              <a:spLocks noEditPoints="1"/>
            </p:cNvSpPr>
            <p:nvPr/>
          </p:nvSpPr>
          <p:spPr bwMode="auto">
            <a:xfrm>
              <a:off x="1921" y="194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0" name="Freeform 576">
              <a:extLst>
                <a:ext uri="{FF2B5EF4-FFF2-40B4-BE49-F238E27FC236}">
                  <a16:creationId xmlns:a16="http://schemas.microsoft.com/office/drawing/2014/main" id="{43CE38DD-19B1-4DBB-808B-EB10F30F89C1}"/>
                </a:ext>
              </a:extLst>
            </p:cNvPr>
            <p:cNvSpPr>
              <a:spLocks noEditPoints="1"/>
            </p:cNvSpPr>
            <p:nvPr/>
          </p:nvSpPr>
          <p:spPr bwMode="auto">
            <a:xfrm>
              <a:off x="1985" y="2041"/>
              <a:ext cx="212" cy="15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grpSp>
      <p:sp>
        <p:nvSpPr>
          <p:cNvPr id="191" name="Right Triangle 49">
            <a:extLst>
              <a:ext uri="{FF2B5EF4-FFF2-40B4-BE49-F238E27FC236}">
                <a16:creationId xmlns:a16="http://schemas.microsoft.com/office/drawing/2014/main" id="{F3A9A33D-1593-4618-895B-66FE4746ACF7}"/>
              </a:ext>
            </a:extLst>
          </p:cNvPr>
          <p:cNvSpPr/>
          <p:nvPr/>
        </p:nvSpPr>
        <p:spPr bwMode="gray">
          <a:xfrm flipH="1" flipV="1">
            <a:off x="6258059" y="2057361"/>
            <a:ext cx="391792" cy="78025"/>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92" name="Right Triangle 49">
            <a:extLst>
              <a:ext uri="{FF2B5EF4-FFF2-40B4-BE49-F238E27FC236}">
                <a16:creationId xmlns:a16="http://schemas.microsoft.com/office/drawing/2014/main" id="{8D1BEFC9-969A-47FC-955D-839588E418C4}"/>
              </a:ext>
            </a:extLst>
          </p:cNvPr>
          <p:cNvSpPr/>
          <p:nvPr/>
        </p:nvSpPr>
        <p:spPr bwMode="gray">
          <a:xfrm flipV="1">
            <a:off x="8230730" y="2057361"/>
            <a:ext cx="391792" cy="78025"/>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93" name="Round Same Side Corner Rectangle 43">
            <a:extLst>
              <a:ext uri="{FF2B5EF4-FFF2-40B4-BE49-F238E27FC236}">
                <a16:creationId xmlns:a16="http://schemas.microsoft.com/office/drawing/2014/main" id="{20077DBA-F03E-4A80-83F0-1A884BADBD25}"/>
              </a:ext>
            </a:extLst>
          </p:cNvPr>
          <p:cNvSpPr/>
          <p:nvPr/>
        </p:nvSpPr>
        <p:spPr bwMode="gray">
          <a:xfrm>
            <a:off x="6152873" y="1707541"/>
            <a:ext cx="2588559" cy="349820"/>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s-MX" sz="1200" b="1" i="0" u="none" strike="noStrike" kern="0" cap="none" spc="0" normalizeH="0" baseline="0" noProof="0" dirty="0">
                <a:ln>
                  <a:noFill/>
                </a:ln>
                <a:solidFill>
                  <a:prstClr val="white"/>
                </a:solidFill>
                <a:effectLst/>
                <a:uLnTx/>
                <a:uFillTx/>
                <a:latin typeface="Calibri Light"/>
                <a:ea typeface="Verdana" panose="020B0604030504040204" pitchFamily="34" charset="0"/>
                <a:cs typeface="Calibri" panose="020F0502020204030204" pitchFamily="34" charset="0"/>
              </a:rPr>
              <a:t>Expediente de Comercio Exterior</a:t>
            </a:r>
          </a:p>
        </p:txBody>
      </p:sp>
      <p:sp>
        <p:nvSpPr>
          <p:cNvPr id="194" name="Rectangle 193">
            <a:extLst>
              <a:ext uri="{FF2B5EF4-FFF2-40B4-BE49-F238E27FC236}">
                <a16:creationId xmlns:a16="http://schemas.microsoft.com/office/drawing/2014/main" id="{771B620C-E7EA-43CF-B196-5549DA718CFA}"/>
              </a:ext>
            </a:extLst>
          </p:cNvPr>
          <p:cNvSpPr/>
          <p:nvPr/>
        </p:nvSpPr>
        <p:spPr bwMode="gray">
          <a:xfrm>
            <a:off x="6322877" y="6050394"/>
            <a:ext cx="2248553" cy="65398"/>
          </a:xfrm>
          <a:prstGeom prst="rect">
            <a:avLst/>
          </a:prstGeom>
          <a:solidFill>
            <a:srgbClr val="86BC25"/>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195" name="Group 194">
            <a:extLst>
              <a:ext uri="{FF2B5EF4-FFF2-40B4-BE49-F238E27FC236}">
                <a16:creationId xmlns:a16="http://schemas.microsoft.com/office/drawing/2014/main" id="{889988EA-8983-43DB-902B-D6D9E581E881}"/>
              </a:ext>
            </a:extLst>
          </p:cNvPr>
          <p:cNvGrpSpPr/>
          <p:nvPr/>
        </p:nvGrpSpPr>
        <p:grpSpPr>
          <a:xfrm>
            <a:off x="7096339" y="2190002"/>
            <a:ext cx="701625" cy="1204296"/>
            <a:chOff x="860641" y="1722673"/>
            <a:chExt cx="979391" cy="1925643"/>
          </a:xfrm>
        </p:grpSpPr>
        <p:sp>
          <p:nvSpPr>
            <p:cNvPr id="196" name="Freeform 36">
              <a:extLst>
                <a:ext uri="{FF2B5EF4-FFF2-40B4-BE49-F238E27FC236}">
                  <a16:creationId xmlns:a16="http://schemas.microsoft.com/office/drawing/2014/main" id="{F5DBA927-6178-4AAB-BAF5-B58BA10F489D}"/>
                </a:ext>
              </a:extLst>
            </p:cNvPr>
            <p:cNvSpPr/>
            <p:nvPr/>
          </p:nvSpPr>
          <p:spPr bwMode="gray">
            <a:xfrm>
              <a:off x="860641" y="1722673"/>
              <a:ext cx="979391" cy="1746590"/>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197" name="Round Same Side Corner Rectangle 37">
              <a:extLst>
                <a:ext uri="{FF2B5EF4-FFF2-40B4-BE49-F238E27FC236}">
                  <a16:creationId xmlns:a16="http://schemas.microsoft.com/office/drawing/2014/main" id="{8AD73DD8-A66A-462D-B0A8-6DBC637E2EFE}"/>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98" name="Round Same Side Corner Rectangle 38">
              <a:extLst>
                <a:ext uri="{FF2B5EF4-FFF2-40B4-BE49-F238E27FC236}">
                  <a16:creationId xmlns:a16="http://schemas.microsoft.com/office/drawing/2014/main" id="{A15AA702-297A-4049-BE1A-CEE9D85F5DFE}"/>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199" name="Round Same Side Corner Rectangle 39">
              <a:extLst>
                <a:ext uri="{FF2B5EF4-FFF2-40B4-BE49-F238E27FC236}">
                  <a16:creationId xmlns:a16="http://schemas.microsoft.com/office/drawing/2014/main" id="{352C392A-E509-4AF5-A11F-848BFFABBDDC}"/>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00" name="Oval 199">
              <a:extLst>
                <a:ext uri="{FF2B5EF4-FFF2-40B4-BE49-F238E27FC236}">
                  <a16:creationId xmlns:a16="http://schemas.microsoft.com/office/drawing/2014/main" id="{E952BA67-15A2-4E07-B9B9-6A7BDDA2AD04}"/>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grpSp>
        <p:nvGrpSpPr>
          <p:cNvPr id="201" name="Group 200">
            <a:extLst>
              <a:ext uri="{FF2B5EF4-FFF2-40B4-BE49-F238E27FC236}">
                <a16:creationId xmlns:a16="http://schemas.microsoft.com/office/drawing/2014/main" id="{0A647D9E-BD03-4453-897F-89A9839B7A0E}"/>
              </a:ext>
            </a:extLst>
          </p:cNvPr>
          <p:cNvGrpSpPr/>
          <p:nvPr/>
        </p:nvGrpSpPr>
        <p:grpSpPr>
          <a:xfrm rot="5400000">
            <a:off x="9894765" y="2139575"/>
            <a:ext cx="1131539" cy="1425560"/>
            <a:chOff x="9012109" y="2421251"/>
            <a:chExt cx="1131539" cy="1425560"/>
          </a:xfrm>
        </p:grpSpPr>
        <p:sp>
          <p:nvSpPr>
            <p:cNvPr id="202" name="Hexagon 10">
              <a:extLst>
                <a:ext uri="{FF2B5EF4-FFF2-40B4-BE49-F238E27FC236}">
                  <a16:creationId xmlns:a16="http://schemas.microsoft.com/office/drawing/2014/main" id="{4D067334-F1D3-417E-8B89-2FE0430098BB}"/>
                </a:ext>
              </a:extLst>
            </p:cNvPr>
            <p:cNvSpPr/>
            <p:nvPr/>
          </p:nvSpPr>
          <p:spPr bwMode="gray">
            <a:xfrm rot="5400000">
              <a:off x="8935031" y="2506024"/>
              <a:ext cx="1285695" cy="1116150"/>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86BC25"/>
              </a:solidFill>
              <a:miter lim="800000"/>
              <a:headEnd type="triangle" w="lg" len="lg"/>
              <a:tailEnd type="oval"/>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Calibri Light"/>
                <a:ea typeface="+mn-ea"/>
                <a:cs typeface="+mn-cs"/>
              </a:endParaRPr>
            </a:p>
          </p:txBody>
        </p:sp>
        <p:sp>
          <p:nvSpPr>
            <p:cNvPr id="203" name="Hexagon 202">
              <a:extLst>
                <a:ext uri="{FF2B5EF4-FFF2-40B4-BE49-F238E27FC236}">
                  <a16:creationId xmlns:a16="http://schemas.microsoft.com/office/drawing/2014/main" id="{AF693CA7-D8C8-4B55-9446-0E42E9CEA000}"/>
                </a:ext>
              </a:extLst>
            </p:cNvPr>
            <p:cNvSpPr/>
            <p:nvPr/>
          </p:nvSpPr>
          <p:spPr bwMode="gray">
            <a:xfrm rot="16200000">
              <a:off x="9031055" y="2600953"/>
              <a:ext cx="1084781" cy="935156"/>
            </a:xfrm>
            <a:prstGeom prst="hexagon">
              <a:avLst/>
            </a:prstGeom>
            <a:solidFill>
              <a:srgbClr val="86BC25">
                <a:lumMod val="20000"/>
                <a:lumOff val="80000"/>
              </a:srgbClr>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Calibri Light"/>
                <a:ea typeface="+mn-ea"/>
                <a:cs typeface="+mn-cs"/>
              </a:endParaRPr>
            </a:p>
          </p:txBody>
        </p:sp>
        <p:sp>
          <p:nvSpPr>
            <p:cNvPr id="204" name="Freeform 54">
              <a:extLst>
                <a:ext uri="{FF2B5EF4-FFF2-40B4-BE49-F238E27FC236}">
                  <a16:creationId xmlns:a16="http://schemas.microsoft.com/office/drawing/2014/main" id="{08AF062D-D9A7-4FB4-AB21-109A46C02805}"/>
                </a:ext>
              </a:extLst>
            </p:cNvPr>
            <p:cNvSpPr>
              <a:spLocks noEditPoints="1"/>
            </p:cNvSpPr>
            <p:nvPr/>
          </p:nvSpPr>
          <p:spPr bwMode="auto">
            <a:xfrm>
              <a:off x="9337401" y="2834864"/>
              <a:ext cx="463222" cy="465410"/>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solidFill>
              <a:srgbClr val="86BC25"/>
            </a:solidFill>
            <a:ln>
              <a:solidFill>
                <a:srgbClr val="86BC25">
                  <a:lumMod val="20000"/>
                  <a:lumOff val="80000"/>
                </a:srgb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Calibri Light"/>
                <a:ea typeface="+mn-ea"/>
                <a:cs typeface="+mn-cs"/>
              </a:endParaRPr>
            </a:p>
          </p:txBody>
        </p:sp>
        <p:sp>
          <p:nvSpPr>
            <p:cNvPr id="205" name="Hexagon 58">
              <a:extLst>
                <a:ext uri="{FF2B5EF4-FFF2-40B4-BE49-F238E27FC236}">
                  <a16:creationId xmlns:a16="http://schemas.microsoft.com/office/drawing/2014/main" id="{8AE42648-A6DC-4AE2-8AFA-E2CAAB3B312F}"/>
                </a:ext>
              </a:extLst>
            </p:cNvPr>
            <p:cNvSpPr/>
            <p:nvPr/>
          </p:nvSpPr>
          <p:spPr bwMode="gray">
            <a:xfrm rot="16200000">
              <a:off x="9436436" y="3139599"/>
              <a:ext cx="282885" cy="1131539"/>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0" cap="none" spc="0" normalizeH="0" baseline="0" noProof="0">
                <a:ln>
                  <a:noFill/>
                </a:ln>
                <a:solidFill>
                  <a:prstClr val="white"/>
                </a:solidFill>
                <a:effectLst/>
                <a:uLnTx/>
                <a:uFillTx/>
                <a:latin typeface="Calibri Light"/>
                <a:ea typeface="+mn-ea"/>
                <a:cs typeface="+mn-cs"/>
              </a:endParaRPr>
            </a:p>
          </p:txBody>
        </p:sp>
      </p:grpSp>
      <p:sp>
        <p:nvSpPr>
          <p:cNvPr id="206" name="Rectangle 205">
            <a:extLst>
              <a:ext uri="{FF2B5EF4-FFF2-40B4-BE49-F238E27FC236}">
                <a16:creationId xmlns:a16="http://schemas.microsoft.com/office/drawing/2014/main" id="{52A2717F-D26F-4261-B50E-494D6C133215}"/>
              </a:ext>
            </a:extLst>
          </p:cNvPr>
          <p:cNvSpPr/>
          <p:nvPr/>
        </p:nvSpPr>
        <p:spPr bwMode="gray">
          <a:xfrm>
            <a:off x="9305844" y="3608388"/>
            <a:ext cx="2309381" cy="2459903"/>
          </a:xfrm>
          <a:prstGeom prst="rect">
            <a:avLst/>
          </a:prstGeom>
          <a:solidFill>
            <a:sysClr val="window" lastClr="FFFFFF">
              <a:lumMod val="95000"/>
            </a:sysClr>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1" i="0" u="none" strike="noStrike" kern="0" cap="none" spc="0" normalizeH="0" baseline="0" noProof="0" dirty="0">
                <a:ln>
                  <a:noFill/>
                </a:ln>
                <a:solidFill>
                  <a:srgbClr val="86BC25">
                    <a:lumMod val="75000"/>
                  </a:srgbClr>
                </a:solidFill>
                <a:effectLst/>
                <a:uLnTx/>
                <a:uFillTx/>
                <a:latin typeface="Calibri Light"/>
                <a:ea typeface="Verdana" panose="020B0604030504040204" pitchFamily="34" charset="0"/>
                <a:cs typeface="+mn-cs"/>
              </a:rPr>
              <a:t>Programación de Auditoría</a:t>
            </a:r>
          </a:p>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400" b="1" i="0" u="none" strike="noStrike" kern="0" cap="none" spc="0" normalizeH="0" baseline="0" noProof="0" dirty="0">
              <a:ln>
                <a:noFill/>
              </a:ln>
              <a:solidFill>
                <a:srgbClr val="86BC25">
                  <a:lumMod val="75000"/>
                </a:srgbClr>
              </a:solidFill>
              <a:effectLst/>
              <a:uLnTx/>
              <a:uFillTx/>
              <a:latin typeface="Calibri Light"/>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También en aquellos casos</a:t>
            </a:r>
            <a:b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b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en los que no se atendieran las cartas invitación</a:t>
            </a:r>
            <a:b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b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o se subsanaran</a:t>
            </a:r>
            <a:b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b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las irregularidades</a:t>
            </a:r>
            <a:b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b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detectadas por</a:t>
            </a:r>
            <a:b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br>
            <a:r>
              <a:rPr kumimoji="0" lang="es-MX" sz="1400" b="1" i="0" u="none" strike="noStrike" kern="0" cap="none" spc="0" normalizeH="0" baseline="0" noProof="0" dirty="0">
                <a:ln>
                  <a:noFill/>
                </a:ln>
                <a:solidFill>
                  <a:prstClr val="black"/>
                </a:solidFill>
                <a:effectLst/>
                <a:uLnTx/>
                <a:uFillTx/>
                <a:latin typeface="Calibri Light"/>
                <a:ea typeface="Verdana" panose="020B0604030504040204" pitchFamily="34" charset="0"/>
                <a:cs typeface="+mn-cs"/>
              </a:rPr>
              <a:t>la Autoridad.</a:t>
            </a:r>
          </a:p>
        </p:txBody>
      </p:sp>
      <p:sp>
        <p:nvSpPr>
          <p:cNvPr id="207" name="Rectangle 206">
            <a:extLst>
              <a:ext uri="{FF2B5EF4-FFF2-40B4-BE49-F238E27FC236}">
                <a16:creationId xmlns:a16="http://schemas.microsoft.com/office/drawing/2014/main" id="{7703020B-4239-4A79-B88C-0C176AF7D466}"/>
              </a:ext>
            </a:extLst>
          </p:cNvPr>
          <p:cNvSpPr/>
          <p:nvPr/>
        </p:nvSpPr>
        <p:spPr bwMode="gray">
          <a:xfrm>
            <a:off x="9457512" y="6048809"/>
            <a:ext cx="2006045" cy="64800"/>
          </a:xfrm>
          <a:prstGeom prst="rect">
            <a:avLst/>
          </a:prstGeom>
          <a:solidFill>
            <a:srgbClr val="86BC25"/>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08" name="Rectangle 207">
            <a:extLst>
              <a:ext uri="{FF2B5EF4-FFF2-40B4-BE49-F238E27FC236}">
                <a16:creationId xmlns:a16="http://schemas.microsoft.com/office/drawing/2014/main" id="{9D92A1E1-7031-43B0-9F5B-57043596A834}"/>
              </a:ext>
            </a:extLst>
          </p:cNvPr>
          <p:cNvSpPr/>
          <p:nvPr/>
        </p:nvSpPr>
        <p:spPr bwMode="gray">
          <a:xfrm>
            <a:off x="3377463" y="3608388"/>
            <a:ext cx="2588559" cy="2436152"/>
          </a:xfrm>
          <a:prstGeom prst="rect">
            <a:avLst/>
          </a:prstGeom>
          <a:solidFill>
            <a:srgbClr val="046A38"/>
          </a:solidFill>
          <a:ln w="19050" algn="ctr">
            <a:noFill/>
            <a:miter lim="800000"/>
            <a:headEnd/>
            <a:tailEnd/>
          </a:ln>
        </p:spPr>
        <p:txBody>
          <a:bodyPr wrap="square" lIns="30375" tIns="30375" rIns="20250" bIns="20250" rtlCol="0" anchor="t"/>
          <a:lstStyle/>
          <a:p>
            <a:pPr marL="19288" marR="0" lvl="0" indent="0" algn="ctr" defTabSz="685800" rtl="0" eaLnBrk="1" fontAlgn="auto" latinLnBrk="0" hangingPunct="1">
              <a:lnSpc>
                <a:spcPct val="100000"/>
              </a:lnSpc>
              <a:spcBef>
                <a:spcPts val="338"/>
              </a:spcBef>
              <a:spcAft>
                <a:spcPts val="0"/>
              </a:spcAft>
              <a:buClrTx/>
              <a:buSzTx/>
              <a:buFontTx/>
              <a:buNone/>
              <a:tabLst/>
              <a:defRPr/>
            </a:pPr>
            <a:endPar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endParaRP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Auditorias por incrementables en seguros y fletes, conforme a INCOTERMS</a:t>
            </a: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INCOTERMS e incrementables como datos </a:t>
            </a:r>
            <a:r>
              <a:rPr kumimoji="0" lang="es-MX" sz="1400" b="0" i="0" u="none" strike="noStrike" kern="0" cap="none" spc="0" normalizeH="0" baseline="0" noProof="0" dirty="0" err="1">
                <a:ln>
                  <a:noFill/>
                </a:ln>
                <a:solidFill>
                  <a:prstClr val="white"/>
                </a:solidFill>
                <a:effectLst/>
                <a:uLnTx/>
                <a:uFillTx/>
                <a:latin typeface="Calibri Light"/>
                <a:ea typeface="Verdana" panose="020B0604030504040204" pitchFamily="34" charset="0"/>
                <a:cs typeface="+mn-cs"/>
              </a:rPr>
              <a:t>multables</a:t>
            </a: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 </a:t>
            </a:r>
          </a:p>
          <a:p>
            <a:pPr marL="19288" marR="0" lvl="0" indent="0" algn="ctr" defTabSz="685800" rtl="0" eaLnBrk="1" fontAlgn="auto" latinLnBrk="0" hangingPunct="1">
              <a:lnSpc>
                <a:spcPct val="100000"/>
              </a:lnSpc>
              <a:spcBef>
                <a:spcPts val="338"/>
              </a:spcBef>
              <a:spcAft>
                <a:spcPts val="0"/>
              </a:spcAft>
              <a:buClrTx/>
              <a:buSzTx/>
              <a:buFontTx/>
              <a:buNone/>
              <a:tabLst/>
              <a:defRPr/>
            </a:pPr>
            <a:r>
              <a:rPr kumimoji="0" lang="es-MX" sz="1400" b="0" i="0" u="none" strike="noStrike" kern="0" cap="none" spc="0" normalizeH="0" baseline="0" noProof="0" dirty="0">
                <a:ln>
                  <a:noFill/>
                </a:ln>
                <a:solidFill>
                  <a:prstClr val="white"/>
                </a:solidFill>
                <a:effectLst/>
                <a:uLnTx/>
                <a:uFillTx/>
                <a:latin typeface="Calibri Light"/>
                <a:ea typeface="Verdana" panose="020B0604030504040204" pitchFamily="34" charset="0"/>
                <a:cs typeface="+mn-cs"/>
              </a:rPr>
              <a:t>Multa del Art. 200, al no poderse determinar el valor en aduana $69,310 a $92,420</a:t>
            </a:r>
          </a:p>
        </p:txBody>
      </p:sp>
      <p:grpSp>
        <p:nvGrpSpPr>
          <p:cNvPr id="209" name="Group 489">
            <a:extLst>
              <a:ext uri="{FF2B5EF4-FFF2-40B4-BE49-F238E27FC236}">
                <a16:creationId xmlns:a16="http://schemas.microsoft.com/office/drawing/2014/main" id="{0EEE8ACB-8022-43EF-AE3D-8D645D09A7B3}"/>
              </a:ext>
            </a:extLst>
          </p:cNvPr>
          <p:cNvGrpSpPr>
            <a:grpSpLocks noChangeAspect="1"/>
          </p:cNvGrpSpPr>
          <p:nvPr/>
        </p:nvGrpSpPr>
        <p:grpSpPr bwMode="auto">
          <a:xfrm>
            <a:off x="4362674" y="2255765"/>
            <a:ext cx="618138" cy="549138"/>
            <a:chOff x="2920" y="2264"/>
            <a:chExt cx="340" cy="340"/>
          </a:xfrm>
          <a:solidFill>
            <a:srgbClr val="0D8390"/>
          </a:solidFill>
        </p:grpSpPr>
        <p:sp>
          <p:nvSpPr>
            <p:cNvPr id="210" name="Freeform 490">
              <a:extLst>
                <a:ext uri="{FF2B5EF4-FFF2-40B4-BE49-F238E27FC236}">
                  <a16:creationId xmlns:a16="http://schemas.microsoft.com/office/drawing/2014/main" id="{652F9D8A-240E-4372-A040-1DF12FE7CD5E}"/>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11" name="Freeform 491">
              <a:extLst>
                <a:ext uri="{FF2B5EF4-FFF2-40B4-BE49-F238E27FC236}">
                  <a16:creationId xmlns:a16="http://schemas.microsoft.com/office/drawing/2014/main" id="{FF87C72E-8035-457E-A4B0-5C73BA32A483}"/>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12" name="Freeform 492">
              <a:extLst>
                <a:ext uri="{FF2B5EF4-FFF2-40B4-BE49-F238E27FC236}">
                  <a16:creationId xmlns:a16="http://schemas.microsoft.com/office/drawing/2014/main" id="{AD39E4AC-54FE-4DCA-AD5C-F24D259E0D97}"/>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26890D"/>
            </a:solidFill>
            <a:ln w="25400" cap="flat" cmpd="sng" algn="ctr">
              <a:noFill/>
              <a:prstDash val="solid"/>
            </a:ln>
            <a:effectLst/>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825" b="0" i="0" u="none" strike="noStrike" kern="0" cap="none" spc="0" normalizeH="0" baseline="0" noProof="0" dirty="0">
                <a:ln>
                  <a:noFill/>
                </a:ln>
                <a:solidFill>
                  <a:prstClr val="black"/>
                </a:solidFill>
                <a:effectLst/>
                <a:uLnTx/>
                <a:uFillTx/>
                <a:latin typeface="Calibri Light"/>
                <a:ea typeface="+mn-ea"/>
                <a:cs typeface="+mn-cs"/>
              </a:endParaRPr>
            </a:p>
          </p:txBody>
        </p:sp>
      </p:grpSp>
      <p:grpSp>
        <p:nvGrpSpPr>
          <p:cNvPr id="213" name="Group 212">
            <a:extLst>
              <a:ext uri="{FF2B5EF4-FFF2-40B4-BE49-F238E27FC236}">
                <a16:creationId xmlns:a16="http://schemas.microsoft.com/office/drawing/2014/main" id="{AAAF411F-E16D-4269-A773-A31675E179E1}"/>
              </a:ext>
            </a:extLst>
          </p:cNvPr>
          <p:cNvGrpSpPr/>
          <p:nvPr/>
        </p:nvGrpSpPr>
        <p:grpSpPr>
          <a:xfrm>
            <a:off x="3377463" y="1707541"/>
            <a:ext cx="2588559" cy="427845"/>
            <a:chOff x="413228" y="1371600"/>
            <a:chExt cx="1947702" cy="476173"/>
          </a:xfrm>
        </p:grpSpPr>
        <p:sp>
          <p:nvSpPr>
            <p:cNvPr id="214" name="Right Triangle 49">
              <a:extLst>
                <a:ext uri="{FF2B5EF4-FFF2-40B4-BE49-F238E27FC236}">
                  <a16:creationId xmlns:a16="http://schemas.microsoft.com/office/drawing/2014/main" id="{5D01A7B8-FDCC-46CB-AA63-1A2C145838E2}"/>
                </a:ext>
              </a:extLst>
            </p:cNvPr>
            <p:cNvSpPr/>
            <p:nvPr/>
          </p:nvSpPr>
          <p:spPr bwMode="gray">
            <a:xfrm flipH="1" flipV="1">
              <a:off x="492373"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ts val="12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15" name="Right Triangle 49">
              <a:extLst>
                <a:ext uri="{FF2B5EF4-FFF2-40B4-BE49-F238E27FC236}">
                  <a16:creationId xmlns:a16="http://schemas.microsoft.com/office/drawing/2014/main" id="{1534BE34-596C-49DB-82EC-72C010CC9710}"/>
                </a:ext>
              </a:extLst>
            </p:cNvPr>
            <p:cNvSpPr/>
            <p:nvPr/>
          </p:nvSpPr>
          <p:spPr bwMode="gray">
            <a:xfrm flipV="1">
              <a:off x="1976664" y="1760934"/>
              <a:ext cx="294795" cy="86839"/>
            </a:xfrm>
            <a:custGeom>
              <a:avLst/>
              <a:gdLst>
                <a:gd name="connsiteX0" fmla="*/ 0 w 253605"/>
                <a:gd name="connsiteY0" fmla="*/ 102317 h 102317"/>
                <a:gd name="connsiteX1" fmla="*/ 0 w 253605"/>
                <a:gd name="connsiteY1" fmla="*/ 0 h 102317"/>
                <a:gd name="connsiteX2" fmla="*/ 253605 w 253605"/>
                <a:gd name="connsiteY2" fmla="*/ 102317 h 102317"/>
                <a:gd name="connsiteX3" fmla="*/ 0 w 253605"/>
                <a:gd name="connsiteY3" fmla="*/ 102317 h 102317"/>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42862 w 296467"/>
                <a:gd name="connsiteY0" fmla="*/ 92792 h 92792"/>
                <a:gd name="connsiteX1" fmla="*/ 0 w 296467"/>
                <a:gd name="connsiteY1" fmla="*/ 0 h 92792"/>
                <a:gd name="connsiteX2" fmla="*/ 296467 w 296467"/>
                <a:gd name="connsiteY2" fmla="*/ 92792 h 92792"/>
                <a:gd name="connsiteX3" fmla="*/ 42862 w 296467"/>
                <a:gd name="connsiteY3" fmla="*/ 92792 h 92792"/>
                <a:gd name="connsiteX0" fmla="*/ 52387 w 305992"/>
                <a:gd name="connsiteY0" fmla="*/ 86839 h 86839"/>
                <a:gd name="connsiteX1" fmla="*/ 0 w 305992"/>
                <a:gd name="connsiteY1" fmla="*/ 0 h 86839"/>
                <a:gd name="connsiteX2" fmla="*/ 305992 w 305992"/>
                <a:gd name="connsiteY2" fmla="*/ 86839 h 86839"/>
                <a:gd name="connsiteX3" fmla="*/ 52387 w 305992"/>
                <a:gd name="connsiteY3" fmla="*/ 86839 h 86839"/>
              </a:gdLst>
              <a:ahLst/>
              <a:cxnLst>
                <a:cxn ang="0">
                  <a:pos x="connsiteX0" y="connsiteY0"/>
                </a:cxn>
                <a:cxn ang="0">
                  <a:pos x="connsiteX1" y="connsiteY1"/>
                </a:cxn>
                <a:cxn ang="0">
                  <a:pos x="connsiteX2" y="connsiteY2"/>
                </a:cxn>
                <a:cxn ang="0">
                  <a:pos x="connsiteX3" y="connsiteY3"/>
                </a:cxn>
              </a:cxnLst>
              <a:rect l="l" t="t" r="r" b="b"/>
              <a:pathLst>
                <a:path w="305992" h="86839">
                  <a:moveTo>
                    <a:pt x="52387" y="86839"/>
                  </a:moveTo>
                  <a:lnTo>
                    <a:pt x="0" y="0"/>
                  </a:lnTo>
                  <a:lnTo>
                    <a:pt x="305992" y="86839"/>
                  </a:lnTo>
                  <a:lnTo>
                    <a:pt x="52387" y="86839"/>
                  </a:lnTo>
                  <a:close/>
                </a:path>
              </a:pathLst>
            </a:custGeom>
            <a:solidFill>
              <a:srgbClr val="0D8390">
                <a:lumMod val="50000"/>
              </a:srgbClr>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ts val="12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16" name="Round Same Side Corner Rectangle 43">
              <a:extLst>
                <a:ext uri="{FF2B5EF4-FFF2-40B4-BE49-F238E27FC236}">
                  <a16:creationId xmlns:a16="http://schemas.microsoft.com/office/drawing/2014/main" id="{A026D844-8529-4174-B8BF-A6281A7F28CC}"/>
                </a:ext>
              </a:extLst>
            </p:cNvPr>
            <p:cNvSpPr/>
            <p:nvPr/>
          </p:nvSpPr>
          <p:spPr bwMode="gray">
            <a:xfrm>
              <a:off x="413228" y="1371600"/>
              <a:ext cx="1947702" cy="389334"/>
            </a:xfrm>
            <a:custGeom>
              <a:avLst/>
              <a:gdLst>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105025 w 2105025"/>
                <a:gd name="connsiteY4" fmla="*/ 390526 h 390526"/>
                <a:gd name="connsiteX5" fmla="*/ 2006203 w 2105025"/>
                <a:gd name="connsiteY5" fmla="*/ 389334 h 390526"/>
                <a:gd name="connsiteX6" fmla="*/ 84534 w 2105025"/>
                <a:gd name="connsiteY6" fmla="*/ 389334 h 390526"/>
                <a:gd name="connsiteX7" fmla="*/ 0 w 2105025"/>
                <a:gd name="connsiteY7" fmla="*/ 390526 h 390526"/>
                <a:gd name="connsiteX8" fmla="*/ 0 w 2105025"/>
                <a:gd name="connsiteY8" fmla="*/ 390526 h 390526"/>
                <a:gd name="connsiteX9" fmla="*/ 0 w 2105025"/>
                <a:gd name="connsiteY9" fmla="*/ 61035 h 390526"/>
                <a:gd name="connsiteX10" fmla="*/ 61035 w 2105025"/>
                <a:gd name="connsiteY10" fmla="*/ 0 h 390526"/>
                <a:gd name="connsiteX0" fmla="*/ 61035 w 2105025"/>
                <a:gd name="connsiteY0" fmla="*/ 0 h 390526"/>
                <a:gd name="connsiteX1" fmla="*/ 2043990 w 2105025"/>
                <a:gd name="connsiteY1" fmla="*/ 0 h 390526"/>
                <a:gd name="connsiteX2" fmla="*/ 2105025 w 2105025"/>
                <a:gd name="connsiteY2" fmla="*/ 61035 h 390526"/>
                <a:gd name="connsiteX3" fmla="*/ 2105025 w 2105025"/>
                <a:gd name="connsiteY3" fmla="*/ 390526 h 390526"/>
                <a:gd name="connsiteX4" fmla="*/ 2006203 w 2105025"/>
                <a:gd name="connsiteY4" fmla="*/ 389334 h 390526"/>
                <a:gd name="connsiteX5" fmla="*/ 84534 w 2105025"/>
                <a:gd name="connsiteY5" fmla="*/ 389334 h 390526"/>
                <a:gd name="connsiteX6" fmla="*/ 0 w 2105025"/>
                <a:gd name="connsiteY6" fmla="*/ 390526 h 390526"/>
                <a:gd name="connsiteX7" fmla="*/ 0 w 2105025"/>
                <a:gd name="connsiteY7" fmla="*/ 390526 h 390526"/>
                <a:gd name="connsiteX8" fmla="*/ 0 w 2105025"/>
                <a:gd name="connsiteY8" fmla="*/ 61035 h 390526"/>
                <a:gd name="connsiteX9" fmla="*/ 61035 w 2105025"/>
                <a:gd name="connsiteY9"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390526 h 390526"/>
                <a:gd name="connsiteX7" fmla="*/ 0 w 2105025"/>
                <a:gd name="connsiteY7" fmla="*/ 61035 h 390526"/>
                <a:gd name="connsiteX8" fmla="*/ 61035 w 2105025"/>
                <a:gd name="connsiteY8" fmla="*/ 0 h 390526"/>
                <a:gd name="connsiteX0" fmla="*/ 61035 w 2105025"/>
                <a:gd name="connsiteY0" fmla="*/ 0 h 390526"/>
                <a:gd name="connsiteX1" fmla="*/ 2043990 w 2105025"/>
                <a:gd name="connsiteY1" fmla="*/ 0 h 390526"/>
                <a:gd name="connsiteX2" fmla="*/ 2105025 w 2105025"/>
                <a:gd name="connsiteY2" fmla="*/ 61035 h 390526"/>
                <a:gd name="connsiteX3" fmla="*/ 2006203 w 2105025"/>
                <a:gd name="connsiteY3" fmla="*/ 389334 h 390526"/>
                <a:gd name="connsiteX4" fmla="*/ 84534 w 2105025"/>
                <a:gd name="connsiteY4" fmla="*/ 389334 h 390526"/>
                <a:gd name="connsiteX5" fmla="*/ 0 w 2105025"/>
                <a:gd name="connsiteY5" fmla="*/ 390526 h 390526"/>
                <a:gd name="connsiteX6" fmla="*/ 0 w 2105025"/>
                <a:gd name="connsiteY6" fmla="*/ 61035 h 390526"/>
                <a:gd name="connsiteX7" fmla="*/ 61035 w 2105025"/>
                <a:gd name="connsiteY7" fmla="*/ 0 h 390526"/>
                <a:gd name="connsiteX0" fmla="*/ 61035 w 2105025"/>
                <a:gd name="connsiteY0" fmla="*/ 0 h 389334"/>
                <a:gd name="connsiteX1" fmla="*/ 2043990 w 2105025"/>
                <a:gd name="connsiteY1" fmla="*/ 0 h 389334"/>
                <a:gd name="connsiteX2" fmla="*/ 2105025 w 2105025"/>
                <a:gd name="connsiteY2" fmla="*/ 61035 h 389334"/>
                <a:gd name="connsiteX3" fmla="*/ 2006203 w 2105025"/>
                <a:gd name="connsiteY3" fmla="*/ 389334 h 389334"/>
                <a:gd name="connsiteX4" fmla="*/ 84534 w 2105025"/>
                <a:gd name="connsiteY4" fmla="*/ 389334 h 389334"/>
                <a:gd name="connsiteX5" fmla="*/ 0 w 2105025"/>
                <a:gd name="connsiteY5" fmla="*/ 61035 h 389334"/>
                <a:gd name="connsiteX6" fmla="*/ 61035 w 2105025"/>
                <a:gd name="connsiteY6" fmla="*/ 0 h 38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025" h="389334">
                  <a:moveTo>
                    <a:pt x="61035" y="0"/>
                  </a:moveTo>
                  <a:lnTo>
                    <a:pt x="2043990" y="0"/>
                  </a:lnTo>
                  <a:cubicBezTo>
                    <a:pt x="2077699" y="0"/>
                    <a:pt x="2105025" y="27326"/>
                    <a:pt x="2105025" y="61035"/>
                  </a:cubicBezTo>
                  <a:lnTo>
                    <a:pt x="2006203" y="389334"/>
                  </a:lnTo>
                  <a:lnTo>
                    <a:pt x="84534" y="389334"/>
                  </a:lnTo>
                  <a:lnTo>
                    <a:pt x="0" y="61035"/>
                  </a:lnTo>
                  <a:cubicBezTo>
                    <a:pt x="0" y="27326"/>
                    <a:pt x="27326" y="0"/>
                    <a:pt x="61035" y="0"/>
                  </a:cubicBezTo>
                  <a:close/>
                </a:path>
              </a:pathLst>
            </a:custGeom>
            <a:solidFill>
              <a:srgbClr val="86BC25"/>
            </a:solidFill>
            <a:ln w="19050" algn="ctr">
              <a:noFill/>
              <a:miter lim="800000"/>
              <a:headEnd/>
              <a:tailEnd/>
            </a:ln>
          </p:spPr>
          <p:txBody>
            <a:bodyPr wrap="square" lIns="50006" tIns="50006" rIns="50006" bIns="6075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s-MX" sz="1200" b="1" i="0" u="none" strike="noStrike" kern="0" cap="none" spc="0" normalizeH="0" baseline="0" noProof="0" dirty="0">
                  <a:ln>
                    <a:noFill/>
                  </a:ln>
                  <a:solidFill>
                    <a:prstClr val="white"/>
                  </a:solidFill>
                  <a:effectLst/>
                  <a:uLnTx/>
                  <a:uFillTx/>
                  <a:latin typeface="Calibri Light"/>
                  <a:ea typeface="Verdana" panose="020B0604030504040204" pitchFamily="34" charset="0"/>
                  <a:cs typeface="Calibri" panose="020F0502020204030204" pitchFamily="34" charset="0"/>
                </a:rPr>
                <a:t>Valoración aduanera</a:t>
              </a:r>
            </a:p>
          </p:txBody>
        </p:sp>
      </p:grpSp>
      <p:sp>
        <p:nvSpPr>
          <p:cNvPr id="217" name="Rectangle 216">
            <a:extLst>
              <a:ext uri="{FF2B5EF4-FFF2-40B4-BE49-F238E27FC236}">
                <a16:creationId xmlns:a16="http://schemas.microsoft.com/office/drawing/2014/main" id="{78283459-5624-4456-B4E4-DDE08548F77C}"/>
              </a:ext>
            </a:extLst>
          </p:cNvPr>
          <p:cNvSpPr/>
          <p:nvPr/>
        </p:nvSpPr>
        <p:spPr bwMode="gray">
          <a:xfrm>
            <a:off x="3547467" y="6050394"/>
            <a:ext cx="2248553" cy="65398"/>
          </a:xfrm>
          <a:prstGeom prst="rect">
            <a:avLst/>
          </a:prstGeom>
          <a:solidFill>
            <a:srgbClr val="86BC25"/>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nvGrpSpPr>
          <p:cNvPr id="218" name="Group 217">
            <a:extLst>
              <a:ext uri="{FF2B5EF4-FFF2-40B4-BE49-F238E27FC236}">
                <a16:creationId xmlns:a16="http://schemas.microsoft.com/office/drawing/2014/main" id="{9F3CDED8-32F3-43B9-B3B4-9E2E01059168}"/>
              </a:ext>
            </a:extLst>
          </p:cNvPr>
          <p:cNvGrpSpPr/>
          <p:nvPr/>
        </p:nvGrpSpPr>
        <p:grpSpPr>
          <a:xfrm>
            <a:off x="4320929" y="2190002"/>
            <a:ext cx="701625" cy="1204296"/>
            <a:chOff x="860641" y="1722673"/>
            <a:chExt cx="979391" cy="1925643"/>
          </a:xfrm>
        </p:grpSpPr>
        <p:sp>
          <p:nvSpPr>
            <p:cNvPr id="219" name="Freeform 68">
              <a:extLst>
                <a:ext uri="{FF2B5EF4-FFF2-40B4-BE49-F238E27FC236}">
                  <a16:creationId xmlns:a16="http://schemas.microsoft.com/office/drawing/2014/main" id="{10E6F6F1-14A6-4E92-99E4-A739EB90B6FA}"/>
                </a:ext>
              </a:extLst>
            </p:cNvPr>
            <p:cNvSpPr/>
            <p:nvPr/>
          </p:nvSpPr>
          <p:spPr bwMode="gray">
            <a:xfrm>
              <a:off x="860641" y="1722673"/>
              <a:ext cx="979391" cy="1746590"/>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rgbClr val="86BC25"/>
              </a:solidFill>
              <a:miter lim="800000"/>
              <a:headEnd type="none" w="sm" len="sm"/>
              <a:tailEnd type="oval" w="sm" len="sm"/>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black"/>
                </a:solidFill>
                <a:effectLst/>
                <a:uLnTx/>
                <a:uFillTx/>
                <a:latin typeface="Calibri Light"/>
                <a:ea typeface="+mn-ea"/>
                <a:cs typeface="+mn-cs"/>
              </a:endParaRPr>
            </a:p>
          </p:txBody>
        </p:sp>
        <p:sp>
          <p:nvSpPr>
            <p:cNvPr id="220" name="Round Same Side Corner Rectangle 69">
              <a:extLst>
                <a:ext uri="{FF2B5EF4-FFF2-40B4-BE49-F238E27FC236}">
                  <a16:creationId xmlns:a16="http://schemas.microsoft.com/office/drawing/2014/main" id="{AF1A8F3A-38AD-4457-8079-088CF57B5F28}"/>
                </a:ext>
              </a:extLst>
            </p:cNvPr>
            <p:cNvSpPr/>
            <p:nvPr/>
          </p:nvSpPr>
          <p:spPr bwMode="gray">
            <a:xfrm>
              <a:off x="1289779" y="3495046"/>
              <a:ext cx="116350" cy="108039"/>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21" name="Round Same Side Corner Rectangle 70">
              <a:extLst>
                <a:ext uri="{FF2B5EF4-FFF2-40B4-BE49-F238E27FC236}">
                  <a16:creationId xmlns:a16="http://schemas.microsoft.com/office/drawing/2014/main" id="{18A7D5F4-BD51-45DC-ADCE-6B0FDEF6F3F4}"/>
                </a:ext>
              </a:extLst>
            </p:cNvPr>
            <p:cNvSpPr/>
            <p:nvPr/>
          </p:nvSpPr>
          <p:spPr bwMode="gray">
            <a:xfrm flipV="1">
              <a:off x="1312850"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22" name="Round Same Side Corner Rectangle 71">
              <a:extLst>
                <a:ext uri="{FF2B5EF4-FFF2-40B4-BE49-F238E27FC236}">
                  <a16:creationId xmlns:a16="http://schemas.microsoft.com/office/drawing/2014/main" id="{42145FBA-6A8E-401A-ABC6-77AB7CBFBCF9}"/>
                </a:ext>
              </a:extLst>
            </p:cNvPr>
            <p:cNvSpPr/>
            <p:nvPr/>
          </p:nvSpPr>
          <p:spPr bwMode="gray">
            <a:xfrm flipV="1">
              <a:off x="1362714" y="3603085"/>
              <a:ext cx="21108" cy="45231"/>
            </a:xfrm>
            <a:prstGeom prst="round2SameRect">
              <a:avLst>
                <a:gd name="adj1" fmla="val 50000"/>
                <a:gd name="adj2" fmla="val 0"/>
              </a:avLst>
            </a:prstGeom>
            <a:solidFill>
              <a:srgbClr val="26890D"/>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sp>
          <p:nvSpPr>
            <p:cNvPr id="223" name="Oval 222">
              <a:extLst>
                <a:ext uri="{FF2B5EF4-FFF2-40B4-BE49-F238E27FC236}">
                  <a16:creationId xmlns:a16="http://schemas.microsoft.com/office/drawing/2014/main" id="{BF7CB78A-77D8-4286-AAB1-807A4F44DD5D}"/>
                </a:ext>
              </a:extLst>
            </p:cNvPr>
            <p:cNvSpPr/>
            <p:nvPr/>
          </p:nvSpPr>
          <p:spPr bwMode="gray">
            <a:xfrm>
              <a:off x="1329954" y="3531065"/>
              <a:ext cx="36000" cy="36000"/>
            </a:xfrm>
            <a:prstGeom prst="ellipse">
              <a:avLst/>
            </a:prstGeom>
            <a:solidFill>
              <a:sysClr val="window" lastClr="FFFFFF"/>
            </a:solidFill>
            <a:ln w="19050" algn="ctr">
              <a:noFill/>
              <a:miter lim="800000"/>
              <a:headEnd/>
              <a:tailEnd/>
            </a:ln>
          </p:spPr>
          <p:txBody>
            <a:bodyPr wrap="square" lIns="50006" tIns="50006" rIns="50006" bIns="50006"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825" b="0" i="0" u="none" strike="noStrike" kern="0" cap="none" spc="0" normalizeH="0" baseline="0" noProof="0" dirty="0">
                <a:ln>
                  <a:noFill/>
                </a:ln>
                <a:solidFill>
                  <a:prstClr val="white"/>
                </a:solidFill>
                <a:effectLst/>
                <a:uLnTx/>
                <a:uFillTx/>
                <a:latin typeface="Calibri Light"/>
                <a:ea typeface="+mn-ea"/>
                <a:cs typeface="+mn-cs"/>
              </a:endParaRPr>
            </a:p>
          </p:txBody>
        </p:sp>
      </p:grpSp>
      <p:sp>
        <p:nvSpPr>
          <p:cNvPr id="224" name="Rectangle 223">
            <a:extLst>
              <a:ext uri="{FF2B5EF4-FFF2-40B4-BE49-F238E27FC236}">
                <a16:creationId xmlns:a16="http://schemas.microsoft.com/office/drawing/2014/main" id="{62B1E258-0E1E-48B2-80E2-4A6B3AF70F23}"/>
              </a:ext>
            </a:extLst>
          </p:cNvPr>
          <p:cNvSpPr/>
          <p:nvPr/>
        </p:nvSpPr>
        <p:spPr>
          <a:xfrm>
            <a:off x="535104" y="6329886"/>
            <a:ext cx="2700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rPr>
              <a:t>© </a:t>
            </a:r>
            <a:r>
              <a:rPr kumimoji="0" lang="es-MX" sz="1000" b="0" i="0" u="none" strike="noStrike" kern="1200" cap="none" spc="-20" normalizeH="0" baseline="0" noProof="0" dirty="0">
                <a:ln>
                  <a:noFill/>
                </a:ln>
                <a:solidFill>
                  <a:prstClr val="black"/>
                </a:solidFill>
                <a:effectLst/>
                <a:uLnTx/>
                <a:uFillTx/>
                <a:latin typeface="Calibri Light"/>
                <a:ea typeface="Calibri" panose="020F0502020204030204" pitchFamily="34" charset="0"/>
                <a:cs typeface="+mn-cs"/>
              </a:rPr>
              <a:t>2022 Deloitte Impuestos y Servicios Legales, S.C.</a:t>
            </a:r>
            <a:endParaRPr kumimoji="0" lang="es-MX" sz="1000" b="0" i="0" u="none" strike="noStrike" kern="1200" cap="none" spc="0" normalizeH="0" baseline="0" noProof="0" dirty="0">
              <a:ln>
                <a:noFill/>
              </a:ln>
              <a:solidFill>
                <a:prstClr val="black"/>
              </a:solidFill>
              <a:effectLst/>
              <a:uLnTx/>
              <a:uFillTx/>
              <a:latin typeface="Calibri Light"/>
              <a:ea typeface="Calibri" panose="020F0502020204030204" pitchFamily="34" charset="0"/>
              <a:cs typeface="+mn-cs"/>
            </a:endParaRPr>
          </a:p>
        </p:txBody>
      </p:sp>
    </p:spTree>
    <p:extLst>
      <p:ext uri="{BB962C8B-B14F-4D97-AF65-F5344CB8AC3E}">
        <p14:creationId xmlns:p14="http://schemas.microsoft.com/office/powerpoint/2010/main" val="10962178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10.xml><?xml version="1.0" encoding="utf-8"?>
<a:theme xmlns:a="http://schemas.openxmlformats.org/drawingml/2006/main" name="13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3.xml><?xml version="1.0" encoding="utf-8"?>
<a:theme xmlns:a="http://schemas.openxmlformats.org/drawingml/2006/main" name="1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4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5.xml><?xml version="1.0" encoding="utf-8"?>
<a:theme xmlns:a="http://schemas.openxmlformats.org/drawingml/2006/main" name="9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6.xml><?xml version="1.0" encoding="utf-8"?>
<a:theme xmlns:a="http://schemas.openxmlformats.org/drawingml/2006/main" name="10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7.xml><?xml version="1.0" encoding="utf-8"?>
<a:theme xmlns:a="http://schemas.openxmlformats.org/drawingml/2006/main" name="1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8.xml><?xml version="1.0" encoding="utf-8"?>
<a:theme xmlns:a="http://schemas.openxmlformats.org/drawingml/2006/main" name="7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9.xml><?xml version="1.0" encoding="utf-8"?>
<a:theme xmlns:a="http://schemas.openxmlformats.org/drawingml/2006/main" name="12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BA05E49B-70B5-4FEC-89D5-F69F52BE5B81}">
  <ds:schemaRefs>
    <ds:schemaRef ds:uri="8ee28f6f-733e-446a-845c-015b8614e1f7"/>
    <ds:schemaRef ds:uri="http://purl.org/dc/dcmitype/"/>
    <ds:schemaRef ds:uri="http://www.w3.org/XML/1998/namespace"/>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8f1e2369-70da-40d7-b978-99d0855b91b8"/>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13724</TotalTime>
  <Words>8254</Words>
  <Application>Microsoft Office PowerPoint</Application>
  <PresentationFormat>Panorámica</PresentationFormat>
  <Paragraphs>662</Paragraphs>
  <Slides>54</Slides>
  <Notes>32</Notes>
  <HiddenSlides>0</HiddenSlides>
  <MMClips>0</MMClips>
  <ScaleCrop>false</ScaleCrop>
  <HeadingPairs>
    <vt:vector size="8" baseType="variant">
      <vt:variant>
        <vt:lpstr>Fuentes usadas</vt:lpstr>
      </vt:variant>
      <vt:variant>
        <vt:i4>6</vt:i4>
      </vt:variant>
      <vt:variant>
        <vt:lpstr>Tema</vt:lpstr>
      </vt:variant>
      <vt:variant>
        <vt:i4>10</vt:i4>
      </vt:variant>
      <vt:variant>
        <vt:lpstr>Servidores OLE incrustados</vt:lpstr>
      </vt:variant>
      <vt:variant>
        <vt:i4>1</vt:i4>
      </vt:variant>
      <vt:variant>
        <vt:lpstr>Títulos de diapositiva</vt:lpstr>
      </vt:variant>
      <vt:variant>
        <vt:i4>54</vt:i4>
      </vt:variant>
    </vt:vector>
  </HeadingPairs>
  <TitlesOfParts>
    <vt:vector size="71" baseType="lpstr">
      <vt:lpstr>Arial</vt:lpstr>
      <vt:lpstr>Calibri</vt:lpstr>
      <vt:lpstr>Calibri Light</vt:lpstr>
      <vt:lpstr>Verdana</vt:lpstr>
      <vt:lpstr>Wingdings</vt:lpstr>
      <vt:lpstr>Wingdings 2</vt:lpstr>
      <vt:lpstr>Deloitte Brand Theme</vt:lpstr>
      <vt:lpstr>2_Deloitte Brand Theme</vt:lpstr>
      <vt:lpstr>1_Deloitte Brand Theme</vt:lpstr>
      <vt:lpstr>4_Deloitte Brand Theme</vt:lpstr>
      <vt:lpstr>9_Deloitte Brand Theme</vt:lpstr>
      <vt:lpstr>10_Deloitte Brand Theme</vt:lpstr>
      <vt:lpstr>11_Deloitte Brand Theme</vt:lpstr>
      <vt:lpstr>7_Deloitte Brand Theme</vt:lpstr>
      <vt:lpstr>12_Deloitte Brand Theme</vt:lpstr>
      <vt:lpstr>13_Deloitte Brand Theme</vt:lpstr>
      <vt:lpstr>think-cell Slide</vt:lpstr>
      <vt:lpstr>Actualidades Aduaneras para Compañías Mineras</vt:lpstr>
      <vt:lpstr>Contenido</vt:lpstr>
      <vt:lpstr>Novedades en materia de  Comercio Exterior</vt:lpstr>
      <vt:lpstr>Novedades en materia de Comercio Exterior</vt:lpstr>
      <vt:lpstr>Novedades en materia de Comercio Exterior</vt:lpstr>
      <vt:lpstr>Novedades en materia de Comercio Exterior</vt:lpstr>
      <vt:lpstr>Tendencias en facultades de comprobación de comercio exterior</vt:lpstr>
      <vt:lpstr>Presentación de PowerPoint</vt:lpstr>
      <vt:lpstr>Presentación de PowerPoint</vt:lpstr>
      <vt:lpstr>Presentación de PowerPoint</vt:lpstr>
      <vt:lpstr>Presentación de PowerPoint</vt:lpstr>
      <vt:lpstr>Causales de Suspensión </vt:lpstr>
      <vt:lpstr>Verificación de origen</vt:lpstr>
      <vt:lpstr>Principales Modificaciones en Materia Regulatoria</vt:lpstr>
      <vt:lpstr>Principales reformas a las Reglas y  Criterios de Carácter General en  Materia de Comercio Exterior por  Secretaría de Economía. </vt:lpstr>
      <vt:lpstr>Comparación</vt:lpstr>
      <vt:lpstr>Comparación</vt:lpstr>
      <vt:lpstr>Comparación</vt:lpstr>
      <vt:lpstr>Comparación</vt:lpstr>
      <vt:lpstr>Presentación de PowerPoint</vt:lpstr>
      <vt:lpstr>Despacho por Lugar Distinto al Autorizado (LDA)</vt:lpstr>
      <vt:lpstr>Principales Modificaciones en Materia Regulatoria </vt:lpstr>
      <vt:lpstr>Principales Modificaciones en Materia Regulatoria </vt:lpstr>
      <vt:lpstr>Principales Modificaciones en Materia Regulatoria </vt:lpstr>
      <vt:lpstr>Complemento Carta Porte </vt:lpstr>
      <vt:lpstr>Presentación de PowerPoint</vt:lpstr>
      <vt:lpstr>Presentación de PowerPoint</vt:lpstr>
      <vt:lpstr>Complemento Carta Porte del CFDI</vt:lpstr>
      <vt:lpstr>Complemento Carta Porte del CFDI</vt:lpstr>
      <vt:lpstr>Complemento Carta Porte del CFDI </vt:lpstr>
      <vt:lpstr>Complemento Carta Porte del CFDI </vt:lpstr>
      <vt:lpstr>Manifestación de Valor  Electrónica </vt:lpstr>
      <vt:lpstr>Principales Modificaciones en Materia Regulatoria </vt:lpstr>
      <vt:lpstr>Principales Modificaciones en Materia Regulatoria </vt:lpstr>
      <vt:lpstr>Principales Modificaciones en Materia Regulatoria </vt:lpstr>
      <vt:lpstr>Empresa Cumplida de  Comercio Exterio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guntas y respuestas </vt:lpstr>
      <vt:lpstr>Muchas Gracias!!</vt:lpstr>
      <vt:lpstr>Presentación de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Schulfer, Gretchen</dc:creator>
  <cp:lastModifiedBy>Sistemas CAMIMEX</cp:lastModifiedBy>
  <cp:revision>355</cp:revision>
  <cp:lastPrinted>2014-06-25T02:16:22Z</cp:lastPrinted>
  <dcterms:created xsi:type="dcterms:W3CDTF">2020-03-02T22:28:28Z</dcterms:created>
  <dcterms:modified xsi:type="dcterms:W3CDTF">2022-11-10T01:5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0-15T15:18:3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b052d9e-b3cb-4125-bfb8-70ed8899b8a9</vt:lpwstr>
  </property>
  <property fmtid="{D5CDD505-2E9C-101B-9397-08002B2CF9AE}" pid="9" name="MSIP_Label_ea60d57e-af5b-4752-ac57-3e4f28ca11dc_ContentBits">
    <vt:lpwstr>0</vt:lpwstr>
  </property>
</Properties>
</file>